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2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4"/>
    <p:sldMasterId id="2147483798" r:id="rId5"/>
    <p:sldMasterId id="2147483813" r:id="rId6"/>
    <p:sldMasterId id="2147483825" r:id="rId7"/>
    <p:sldMasterId id="2147483833" r:id="rId8"/>
    <p:sldMasterId id="2147483842" r:id="rId9"/>
    <p:sldMasterId id="2147483862" r:id="rId10"/>
  </p:sldMasterIdLst>
  <p:notesMasterIdLst>
    <p:notesMasterId r:id="rId19"/>
  </p:notesMasterIdLst>
  <p:handoutMasterIdLst>
    <p:handoutMasterId r:id="rId20"/>
  </p:handoutMasterIdLst>
  <p:sldIdLst>
    <p:sldId id="311" r:id="rId11"/>
    <p:sldId id="483" r:id="rId12"/>
    <p:sldId id="486" r:id="rId13"/>
    <p:sldId id="487" r:id="rId14"/>
    <p:sldId id="484" r:id="rId15"/>
    <p:sldId id="485" r:id="rId16"/>
    <p:sldId id="488" r:id="rId17"/>
    <p:sldId id="454" r:id="rId18"/>
  </p:sldIdLst>
  <p:sldSz cx="9144000" cy="5143500" type="screen16x9"/>
  <p:notesSz cx="6985000" cy="9283700"/>
  <p:custDataLst>
    <p:tags r:id="rId21"/>
  </p:custDataLst>
  <p:defaultTextStyle>
    <a:defPPr>
      <a:defRPr lang="en-GB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 userDrawn="1">
          <p15:clr>
            <a:srgbClr val="A4A3A4"/>
          </p15:clr>
        </p15:guide>
        <p15:guide id="2" pos="220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4192"/>
    <a:srgbClr val="000000"/>
    <a:srgbClr val="68717A"/>
    <a:srgbClr val="A8BB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587" autoAdjust="0"/>
    <p:restoredTop sz="86408" autoAdjust="0"/>
  </p:normalViewPr>
  <p:slideViewPr>
    <p:cSldViewPr snapToGrid="0">
      <p:cViewPr varScale="1">
        <p:scale>
          <a:sx n="71" d="100"/>
          <a:sy n="71" d="100"/>
        </p:scale>
        <p:origin x="461" y="4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7" d="100"/>
          <a:sy n="97" d="100"/>
        </p:scale>
        <p:origin x="3570" y="96"/>
      </p:cViewPr>
      <p:guideLst>
        <p:guide orient="horz" pos="2924"/>
        <p:guide pos="220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6551" y="0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3A1A956-FBA6-4D44-9717-88B588F88EA2}" type="datetimeFigureOut">
              <a:rPr lang="en-US"/>
              <a:pPr>
                <a:defRPr/>
              </a:pPr>
              <a:t>5/1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6551" y="8817904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EB7DA75-3119-461F-BBD9-15CADFA283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59862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1" y="0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2CF6B7E-5EE0-4686-A335-20EF82FA6D28}" type="datetimeFigureOut">
              <a:rPr lang="en-US"/>
              <a:pPr>
                <a:defRPr/>
              </a:pPr>
              <a:t>5/1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60" tIns="46480" rIns="92960" bIns="4648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wrap="square" lIns="92960" tIns="46480" rIns="92960" bIns="464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1" y="8817904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6C2616F-011D-47B3-A2C1-4E16F11993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99247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dirty="0">
              <a:ea typeface="ヒラギノ角ゴ Pro W3"/>
              <a:cs typeface="ヒラギノ角ゴ Pro W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CF1E334-DD0D-44F1-B379-F6C65B92AF59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0548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21" Type="http://schemas.openxmlformats.org/officeDocument/2006/relationships/slideMaster" Target="../slideMasters/slideMaster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8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7.emf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417513" y="536399"/>
            <a:ext cx="8229600" cy="3024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53169876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95952636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9458060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200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84978196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597502756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120158726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537792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 bwMode="auto">
          <a:xfrm>
            <a:off x="1611313" y="4795567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124191"/>
                </a:solidFill>
                <a:latin typeface="Nokia Pure Text Light"/>
                <a:cs typeface="Arial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865919892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22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222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417513" y="63500"/>
            <a:ext cx="71596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en-US" sz="1400">
                <a:solidFill>
                  <a:srgbClr val="808080"/>
                </a:solidFill>
                <a:latin typeface="Nokia Pure Text Light" panose="020B0304040602060303" pitchFamily="34" charset="0"/>
              </a:rPr>
              <a:t>TRACKER</a:t>
            </a:r>
          </a:p>
        </p:txBody>
      </p:sp>
      <p:sp>
        <p:nvSpPr>
          <p:cNvPr id="5" name="McK 3. Unit of measure" hidden="1"/>
          <p:cNvSpPr txBox="1">
            <a:spLocks noChangeArrowheads="1"/>
          </p:cNvSpPr>
          <p:nvPr/>
        </p:nvSpPr>
        <p:spPr bwMode="auto">
          <a:xfrm>
            <a:off x="417513" y="555625"/>
            <a:ext cx="8229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Nokia Pure Text Light"/>
                <a:ea typeface="ＭＳ Ｐゴシック"/>
              </a:rPr>
              <a:t>Unit of measure</a:t>
            </a:r>
          </a:p>
        </p:txBody>
      </p:sp>
      <p:grpSp>
        <p:nvGrpSpPr>
          <p:cNvPr id="6" name="McK Slide Elements" hidden="1"/>
          <p:cNvGrpSpPr>
            <a:grpSpLocks/>
          </p:cNvGrpSpPr>
          <p:nvPr/>
        </p:nvGrpSpPr>
        <p:grpSpPr bwMode="auto">
          <a:xfrm>
            <a:off x="417513" y="4270375"/>
            <a:ext cx="8229600" cy="334963"/>
            <a:chOff x="417513" y="4270533"/>
            <a:chExt cx="8229600" cy="334937"/>
          </a:xfrm>
        </p:grpSpPr>
        <p:sp>
          <p:nvSpPr>
            <p:cNvPr id="7" name="McK 4. Footnote"/>
            <p:cNvSpPr txBox="1">
              <a:spLocks noChangeArrowheads="1"/>
            </p:cNvSpPr>
            <p:nvPr/>
          </p:nvSpPr>
          <p:spPr bwMode="auto">
            <a:xfrm>
              <a:off x="417513" y="4270533"/>
              <a:ext cx="8229600" cy="1539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7950" indent="-107950">
                <a:defRPr/>
              </a:pPr>
              <a:r>
                <a:rPr lang="en-US" sz="1000" dirty="0">
                  <a:solidFill>
                    <a:srgbClr val="124191"/>
                  </a:solidFill>
                  <a:latin typeface="Nokia Pure Text Light"/>
                  <a:ea typeface="ＭＳ Ｐゴシック"/>
                </a:rPr>
                <a:t>1 Footnote</a:t>
              </a:r>
            </a:p>
          </p:txBody>
        </p:sp>
        <p:sp>
          <p:nvSpPr>
            <p:cNvPr id="8" name="McK 5. Source"/>
            <p:cNvSpPr>
              <a:spLocks noChangeArrowheads="1"/>
            </p:cNvSpPr>
            <p:nvPr/>
          </p:nvSpPr>
          <p:spPr bwMode="auto">
            <a:xfrm>
              <a:off x="417513" y="4451494"/>
              <a:ext cx="8229600" cy="1539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57200" indent="-4572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r>
                <a:rPr lang="en-US" altLang="en-US" sz="10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Source: Source</a:t>
              </a:r>
            </a:p>
          </p:txBody>
        </p:sp>
      </p:grp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2376488" y="1398588"/>
            <a:ext cx="4391025" cy="512762"/>
            <a:chOff x="915" y="609"/>
            <a:chExt cx="2686" cy="421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r>
                <a:rPr lang="en-US" altLang="en-US" b="1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Title</a:t>
              </a:r>
            </a:p>
            <a:p>
              <a:pPr>
                <a:defRPr/>
              </a:pPr>
              <a:r>
                <a:rPr lang="en-US" altLang="en-US">
                  <a:solidFill>
                    <a:srgbClr val="808080"/>
                  </a:solidFill>
                  <a:latin typeface="Nokia Pure Text Light" panose="020B0304040602060303" pitchFamily="34" charset="0"/>
                </a:rPr>
                <a:t>Unit of measure</a:t>
              </a:r>
            </a:p>
          </p:txBody>
        </p:sp>
      </p:grpSp>
      <p:pic>
        <p:nvPicPr>
          <p:cNvPr id="12" name="Picture 1"/>
          <p:cNvPicPr>
            <a:picLocks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438" y="4672013"/>
            <a:ext cx="701675" cy="11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23"/>
          <p:cNvSpPr txBox="1">
            <a:spLocks noChangeArrowheads="1"/>
          </p:cNvSpPr>
          <p:nvPr/>
        </p:nvSpPr>
        <p:spPr bwMode="auto">
          <a:xfrm>
            <a:off x="1439863" y="4692650"/>
            <a:ext cx="6078537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pt-BR" altLang="en-US" sz="800" dirty="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© Nokia 2017            </a:t>
            </a:r>
            <a:endParaRPr lang="en-GB" altLang="en-US" sz="800" dirty="0">
              <a:solidFill>
                <a:srgbClr val="124191"/>
              </a:solidFill>
              <a:latin typeface="Nokia Pure Text Light" panose="020B0304040602060303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24"/>
          <p:cNvSpPr txBox="1">
            <a:spLocks noChangeArrowheads="1"/>
          </p:cNvSpPr>
          <p:nvPr/>
        </p:nvSpPr>
        <p:spPr bwMode="auto">
          <a:xfrm>
            <a:off x="417513" y="4837113"/>
            <a:ext cx="607853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en-US" sz="800" dirty="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Nokia</a:t>
            </a:r>
            <a:r>
              <a:rPr lang="en-GB" altLang="en-US" sz="800" baseline="0" dirty="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 internal use</a:t>
            </a:r>
            <a:endParaRPr lang="en-GB" altLang="en-US" sz="800" dirty="0">
              <a:solidFill>
                <a:srgbClr val="124191"/>
              </a:solidFill>
              <a:latin typeface="Nokia Pure Text Light" panose="020B0304040602060303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7883525" y="322263"/>
            <a:ext cx="763588" cy="996950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575550" y="322263"/>
            <a:ext cx="1071563" cy="730250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124191"/>
                </a:solidFill>
                <a:latin typeface="Nokia Pure Text Light"/>
                <a:ea typeface="ＭＳ Ｐゴシック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124191"/>
                </a:solidFill>
                <a:latin typeface="Nokia Pure Text Light"/>
                <a:ea typeface="ＭＳ Ｐゴシック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124191"/>
                </a:solidFill>
                <a:latin typeface="Nokia Pure Text Light"/>
                <a:ea typeface="ＭＳ Ｐゴシック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732713" y="322263"/>
            <a:ext cx="914400" cy="212725"/>
            <a:chOff x="7826359" y="285750"/>
            <a:chExt cx="914416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826359" y="285750"/>
              <a:ext cx="914416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808080"/>
                  </a:solidFill>
                  <a:latin typeface="Nokia Pure Text Light" panose="020B0304040602060303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826359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826359" y="498116"/>
              <a:ext cx="914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LegendMoons" hidden="1"/>
          <p:cNvGrpSpPr>
            <a:grpSpLocks/>
          </p:cNvGrpSpPr>
          <p:nvPr/>
        </p:nvGrpSpPr>
        <p:grpSpPr bwMode="auto">
          <a:xfrm>
            <a:off x="7816850" y="322263"/>
            <a:ext cx="830263" cy="1308100"/>
            <a:chOff x="6655594" y="273840"/>
            <a:chExt cx="830430" cy="1306516"/>
          </a:xfrm>
        </p:grpSpPr>
        <p:grpSp>
          <p:nvGrpSpPr>
            <p:cNvPr id="36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4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55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grpSp>
          <p:nvGrpSpPr>
            <p:cNvPr id="37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2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53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grpSp>
          <p:nvGrpSpPr>
            <p:cNvPr id="38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grpSp>
          <p:nvGrpSpPr>
            <p:cNvPr id="39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8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49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6976334" y="286525"/>
              <a:ext cx="509690" cy="183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6976334" y="560829"/>
              <a:ext cx="509690" cy="1855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6976334" y="835134"/>
              <a:ext cx="509690" cy="1855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auto">
            <a:xfrm>
              <a:off x="6976334" y="1107854"/>
              <a:ext cx="509690" cy="183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auto">
            <a:xfrm>
              <a:off x="6976334" y="1383744"/>
              <a:ext cx="509690" cy="183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grpSp>
          <p:nvGrpSpPr>
            <p:cNvPr id="45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6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47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</p:grpSp>
      <p:grpSp>
        <p:nvGrpSpPr>
          <p:cNvPr id="56" name="McK Moon" hidden="1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7872413" y="360363"/>
            <a:ext cx="209550" cy="209550"/>
            <a:chOff x="1600" y="1600"/>
            <a:chExt cx="160" cy="160"/>
          </a:xfrm>
        </p:grpSpPr>
        <p:sp>
          <p:nvSpPr>
            <p:cNvPr id="57" name="Oval 90"/>
            <p:cNvSpPr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124191"/>
                </a:solidFill>
                <a:ea typeface="ＭＳ Ｐゴシック"/>
              </a:endParaRPr>
            </a:p>
          </p:txBody>
        </p:sp>
        <p:sp>
          <p:nvSpPr>
            <p:cNvPr id="58" name="Arc 91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124191"/>
                </a:solidFill>
                <a:ea typeface="ＭＳ Ｐゴシック"/>
              </a:endParaRPr>
            </a:p>
          </p:txBody>
        </p:sp>
      </p:grpSp>
      <p:sp>
        <p:nvSpPr>
          <p:cNvPr id="59" name="TextBox 77"/>
          <p:cNvSpPr txBox="1">
            <a:spLocks noChangeArrowheads="1"/>
          </p:cNvSpPr>
          <p:nvPr userDrawn="1"/>
        </p:nvSpPr>
        <p:spPr bwMode="auto">
          <a:xfrm>
            <a:off x="417513" y="4976813"/>
            <a:ext cx="856773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en-US" sz="80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The proposed transaction is subject to approval by Nokia’s shareholders, completion of relevant works council consultations, receipt of regulatory approvals and other customary conditions.</a:t>
            </a:r>
          </a:p>
        </p:txBody>
      </p:sp>
      <p:sp>
        <p:nvSpPr>
          <p:cNvPr id="60" name="Slide Number"/>
          <p:cNvSpPr txBox="1">
            <a:spLocks/>
          </p:cNvSpPr>
          <p:nvPr userDrawn="1"/>
        </p:nvSpPr>
        <p:spPr bwMode="auto">
          <a:xfrm>
            <a:off x="417513" y="4692650"/>
            <a:ext cx="117475" cy="12382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AA0FF432-A781-4EE0-9364-1D65851F86D1}" type="slidenum">
              <a:rPr lang="en-US" sz="800" smtClean="0">
                <a:solidFill>
                  <a:srgbClr val="124191"/>
                </a:solidFill>
                <a:ea typeface="ＭＳ Ｐゴシック"/>
              </a:rPr>
              <a:pPr>
                <a:defRPr/>
              </a:pPr>
              <a:t>‹#›</a:t>
            </a:fld>
            <a:endParaRPr lang="en-US" sz="800" dirty="0">
              <a:solidFill>
                <a:srgbClr val="124191"/>
              </a:solidFill>
              <a:ea typeface="ＭＳ Ｐゴシック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1" name="Date Placeholder 3"/>
          <p:cNvSpPr>
            <a:spLocks noGrp="1"/>
          </p:cNvSpPr>
          <p:nvPr>
            <p:ph type="dt" sz="half" idx="10"/>
          </p:nvPr>
        </p:nvSpPr>
        <p:spPr>
          <a:xfrm>
            <a:off x="722313" y="4692650"/>
            <a:ext cx="512762" cy="123825"/>
          </a:xfrm>
          <a:prstGeom prst="rect">
            <a:avLst/>
          </a:prstGeom>
        </p:spPr>
        <p:txBody>
          <a:bodyPr/>
          <a:lstStyle>
            <a:lvl1pPr>
              <a:defRPr lang="en-US" sz="800">
                <a:latin typeface="+mn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dirty="0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831305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600" y="288000"/>
            <a:ext cx="8244000" cy="22536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03097485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1D9599-6980-4011-8D9E-61D4CF48A4F3}" type="slidenum">
              <a:rPr lang="zh-CN" altLang="en-US"/>
              <a:pPr>
                <a:defRPr/>
              </a:pPr>
              <a:t>‹#›</a:t>
            </a:fld>
            <a:r>
              <a:rPr lang="en-US" altLang="zh-CN"/>
              <a:t> | </a:t>
            </a:r>
            <a:r>
              <a:rPr lang="fr-FR" altLang="zh-CN"/>
              <a:t>Presentation Title | Month 2006 </a:t>
            </a: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918396638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65443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8151225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30394593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38307188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8489722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NAM15_BBE_title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8518" cy="5143500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360566" y="288182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Nokia Pure Headline Light"/>
                <a:cs typeface="Nokia Pure Headline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327881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611431" y="0"/>
            <a:ext cx="4536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A8BBC0"/>
              </a:solidFill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4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8"/>
          <p:cNvSpPr>
            <a:spLocks noGrp="1"/>
          </p:cNvSpPr>
          <p:nvPr>
            <p:ph sz="quarter" idx="13"/>
          </p:nvPr>
        </p:nvSpPr>
        <p:spPr>
          <a:xfrm>
            <a:off x="535214" y="1070370"/>
            <a:ext cx="3719286" cy="3320201"/>
          </a:xfrm>
        </p:spPr>
        <p:txBody>
          <a:bodyPr/>
          <a:lstStyle>
            <a:lvl1pPr marL="0" indent="0">
              <a:buFont typeface="Arial"/>
              <a:buNone/>
              <a:defRPr sz="3200">
                <a:solidFill>
                  <a:srgbClr val="124191"/>
                </a:solidFill>
                <a:latin typeface="+mj-lt"/>
              </a:defRPr>
            </a:lvl1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35214" y="288178"/>
            <a:ext cx="3737429" cy="337751"/>
          </a:xfrm>
        </p:spPr>
        <p:txBody>
          <a:bodyPr/>
          <a:lstStyle>
            <a:lvl1pPr>
              <a:defRPr/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361213" y="1133474"/>
            <a:ext cx="3165929" cy="32752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en-US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432000" y="4789325"/>
            <a:ext cx="6080400" cy="122400"/>
          </a:xfrm>
        </p:spPr>
        <p:txBody>
          <a:bodyPr/>
          <a:lstStyle/>
          <a:p>
            <a:pPr algn="l"/>
            <a:r>
              <a:rPr lang="en-US" noProof="0">
                <a:solidFill>
                  <a:schemeClr val="bg2"/>
                </a:solidFill>
                <a:cs typeface="Arial" charset="0"/>
              </a:rPr>
              <a:t>NGMN Conference</a:t>
            </a:r>
            <a:endParaRPr lang="en-US" noProof="0" dirty="0">
              <a:solidFill>
                <a:schemeClr val="bg2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3464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702606"/>
          </a:xfrm>
        </p:spPr>
        <p:txBody>
          <a:bodyPr/>
          <a:lstStyle>
            <a:lvl1pPr>
              <a:defRPr sz="6600" b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6210604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72540619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76651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37" name="Rechteck 36"/>
          <p:cNvSpPr/>
          <p:nvPr userDrawn="1"/>
        </p:nvSpPr>
        <p:spPr bwMode="auto">
          <a:xfrm flipV="1">
            <a:off x="827584" y="4047914"/>
            <a:ext cx="6192341" cy="360000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" name="Rechteck 5"/>
          <p:cNvSpPr/>
          <p:nvPr userDrawn="1"/>
        </p:nvSpPr>
        <p:spPr bwMode="auto">
          <a:xfrm flipV="1">
            <a:off x="431800" y="4047914"/>
            <a:ext cx="360000" cy="360000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10" name="TextBox 5"/>
          <p:cNvSpPr txBox="1"/>
          <p:nvPr/>
        </p:nvSpPr>
        <p:spPr>
          <a:xfrm>
            <a:off x="6338448" y="4263913"/>
            <a:ext cx="609816" cy="144001"/>
          </a:xfrm>
          <a:prstGeom prst="rect">
            <a:avLst/>
          </a:prstGeom>
          <a:noFill/>
        </p:spPr>
        <p:txBody>
          <a:bodyPr wrap="square" lIns="0" tIns="36000" rIns="0" bIns="0" rtlCol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 years</a:t>
            </a:r>
          </a:p>
        </p:txBody>
      </p:sp>
      <p:sp>
        <p:nvSpPr>
          <p:cNvPr id="11" name="Rechteck 97"/>
          <p:cNvSpPr/>
          <p:nvPr/>
        </p:nvSpPr>
        <p:spPr>
          <a:xfrm>
            <a:off x="2176871" y="4263913"/>
            <a:ext cx="609816" cy="144575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0 Mbps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2" name="Rechteck 97"/>
          <p:cNvSpPr/>
          <p:nvPr/>
        </p:nvSpPr>
        <p:spPr>
          <a:xfrm>
            <a:off x="4575468" y="4263913"/>
            <a:ext cx="609816" cy="144001"/>
          </a:xfrm>
          <a:prstGeom prst="rect">
            <a:avLst/>
          </a:prstGeom>
          <a:noFill/>
        </p:spPr>
        <p:txBody>
          <a:bodyPr wrap="non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-100 </a:t>
            </a:r>
            <a:r>
              <a:rPr lang="en-US" sz="900" dirty="0">
                <a:solidFill>
                  <a:srgbClr val="98A2AE"/>
                </a:solidFill>
                <a:latin typeface="Nokia Pure Text Light"/>
              </a:rPr>
              <a:t>x</a:t>
            </a:r>
          </a:p>
        </p:txBody>
      </p:sp>
      <p:sp>
        <p:nvSpPr>
          <p:cNvPr id="13" name="Rechteck 97"/>
          <p:cNvSpPr/>
          <p:nvPr/>
        </p:nvSpPr>
        <p:spPr>
          <a:xfrm>
            <a:off x="919055" y="4263913"/>
            <a:ext cx="609816" cy="144575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,000 x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4" name="Rechteck 97"/>
          <p:cNvSpPr/>
          <p:nvPr/>
        </p:nvSpPr>
        <p:spPr>
          <a:xfrm>
            <a:off x="5618368" y="4263913"/>
            <a:ext cx="609816" cy="144001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</a:rPr>
              <a:t>ultra low</a:t>
            </a:r>
          </a:p>
        </p:txBody>
      </p:sp>
      <p:sp>
        <p:nvSpPr>
          <p:cNvPr id="15" name="Rechteck 97"/>
          <p:cNvSpPr/>
          <p:nvPr/>
        </p:nvSpPr>
        <p:spPr>
          <a:xfrm>
            <a:off x="1527066" y="4263913"/>
            <a:ext cx="609816" cy="144575"/>
          </a:xfrm>
          <a:prstGeom prst="rect">
            <a:avLst/>
          </a:prstGeom>
          <a:noFill/>
        </p:spPr>
        <p:txBody>
          <a:bodyPr wrap="none" lIns="0" tIns="36000" rIns="0" bIns="3600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&gt;10 Gbps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6" name="Rechteck 97"/>
          <p:cNvSpPr/>
          <p:nvPr/>
        </p:nvSpPr>
        <p:spPr>
          <a:xfrm>
            <a:off x="3314112" y="4263913"/>
            <a:ext cx="609816" cy="144001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&lt;1 ms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4286535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2951820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19" name="Rad 4"/>
          <p:cNvSpPr>
            <a:spLocks noChangeAspect="1"/>
          </p:cNvSpPr>
          <p:nvPr userDrawn="1"/>
        </p:nvSpPr>
        <p:spPr>
          <a:xfrm flipH="1">
            <a:off x="3732880" y="4080121"/>
            <a:ext cx="208621" cy="163665"/>
          </a:xfrm>
          <a:custGeom>
            <a:avLst/>
            <a:gdLst/>
            <a:ahLst/>
            <a:cxnLst/>
            <a:rect l="l" t="t" r="r" b="b"/>
            <a:pathLst>
              <a:path w="208621" h="163665">
                <a:moveTo>
                  <a:pt x="171579" y="119655"/>
                </a:moveTo>
                <a:lnTo>
                  <a:pt x="163395" y="119655"/>
                </a:lnTo>
                <a:cubicBezTo>
                  <a:pt x="163395" y="129983"/>
                  <a:pt x="155023" y="138355"/>
                  <a:pt x="144696" y="138355"/>
                </a:cubicBezTo>
                <a:cubicBezTo>
                  <a:pt x="134368" y="138355"/>
                  <a:pt x="125996" y="129983"/>
                  <a:pt x="125996" y="119655"/>
                </a:cubicBezTo>
                <a:lnTo>
                  <a:pt x="118018" y="119655"/>
                </a:lnTo>
                <a:lnTo>
                  <a:pt x="118018" y="140464"/>
                </a:lnTo>
                <a:lnTo>
                  <a:pt x="102068" y="140464"/>
                </a:lnTo>
                <a:lnTo>
                  <a:pt x="102068" y="163665"/>
                </a:lnTo>
                <a:lnTo>
                  <a:pt x="187529" y="163665"/>
                </a:lnTo>
                <a:lnTo>
                  <a:pt x="187529" y="140464"/>
                </a:lnTo>
                <a:lnTo>
                  <a:pt x="171579" y="140464"/>
                </a:lnTo>
                <a:close/>
                <a:moveTo>
                  <a:pt x="144694" y="116671"/>
                </a:moveTo>
                <a:cubicBezTo>
                  <a:pt x="143047" y="116671"/>
                  <a:pt x="141711" y="118007"/>
                  <a:pt x="141711" y="119655"/>
                </a:cubicBezTo>
                <a:cubicBezTo>
                  <a:pt x="141711" y="121303"/>
                  <a:pt x="143047" y="122638"/>
                  <a:pt x="144694" y="122638"/>
                </a:cubicBezTo>
                <a:cubicBezTo>
                  <a:pt x="146342" y="122638"/>
                  <a:pt x="147678" y="121303"/>
                  <a:pt x="147678" y="119655"/>
                </a:cubicBezTo>
                <a:cubicBezTo>
                  <a:pt x="147678" y="118007"/>
                  <a:pt x="146342" y="116671"/>
                  <a:pt x="144694" y="116671"/>
                </a:cubicBezTo>
                <a:close/>
                <a:moveTo>
                  <a:pt x="144696" y="110607"/>
                </a:moveTo>
                <a:cubicBezTo>
                  <a:pt x="149693" y="110607"/>
                  <a:pt x="153743" y="114658"/>
                  <a:pt x="153743" y="119655"/>
                </a:cubicBezTo>
                <a:cubicBezTo>
                  <a:pt x="153743" y="124652"/>
                  <a:pt x="149693" y="128703"/>
                  <a:pt x="144696" y="128703"/>
                </a:cubicBezTo>
                <a:cubicBezTo>
                  <a:pt x="139699" y="128703"/>
                  <a:pt x="135648" y="124652"/>
                  <a:pt x="135648" y="119655"/>
                </a:cubicBezTo>
                <a:cubicBezTo>
                  <a:pt x="135648" y="114658"/>
                  <a:pt x="139699" y="110607"/>
                  <a:pt x="144696" y="110607"/>
                </a:cubicBezTo>
                <a:close/>
                <a:moveTo>
                  <a:pt x="176944" y="82323"/>
                </a:moveTo>
                <a:cubicBezTo>
                  <a:pt x="178288" y="84821"/>
                  <a:pt x="180261" y="86925"/>
                  <a:pt x="182649" y="88441"/>
                </a:cubicBezTo>
                <a:lnTo>
                  <a:pt x="160279" y="113203"/>
                </a:lnTo>
                <a:cubicBezTo>
                  <a:pt x="159175" y="110525"/>
                  <a:pt x="157399" y="108195"/>
                  <a:pt x="155080" y="106525"/>
                </a:cubicBezTo>
                <a:close/>
                <a:moveTo>
                  <a:pt x="191748" y="71284"/>
                </a:moveTo>
                <a:cubicBezTo>
                  <a:pt x="190100" y="71284"/>
                  <a:pt x="188764" y="72620"/>
                  <a:pt x="188764" y="74267"/>
                </a:cubicBezTo>
                <a:cubicBezTo>
                  <a:pt x="188764" y="75915"/>
                  <a:pt x="190100" y="77251"/>
                  <a:pt x="191748" y="77251"/>
                </a:cubicBezTo>
                <a:cubicBezTo>
                  <a:pt x="193395" y="77251"/>
                  <a:pt x="194731" y="75915"/>
                  <a:pt x="194731" y="74267"/>
                </a:cubicBezTo>
                <a:cubicBezTo>
                  <a:pt x="194731" y="72620"/>
                  <a:pt x="193395" y="71284"/>
                  <a:pt x="191748" y="71284"/>
                </a:cubicBezTo>
                <a:close/>
                <a:moveTo>
                  <a:pt x="77632" y="69825"/>
                </a:moveTo>
                <a:lnTo>
                  <a:pt x="77632" y="74229"/>
                </a:lnTo>
                <a:lnTo>
                  <a:pt x="74649" y="73929"/>
                </a:lnTo>
                <a:cubicBezTo>
                  <a:pt x="73627" y="73929"/>
                  <a:pt x="72629" y="74029"/>
                  <a:pt x="71665" y="74229"/>
                </a:cubicBezTo>
                <a:lnTo>
                  <a:pt x="71665" y="69825"/>
                </a:lnTo>
                <a:cubicBezTo>
                  <a:pt x="72608" y="70127"/>
                  <a:pt x="73612" y="70264"/>
                  <a:pt x="74649" y="70264"/>
                </a:cubicBezTo>
                <a:cubicBezTo>
                  <a:pt x="75685" y="70264"/>
                  <a:pt x="76689" y="70127"/>
                  <a:pt x="77632" y="69825"/>
                </a:cubicBezTo>
                <a:close/>
                <a:moveTo>
                  <a:pt x="191748" y="65220"/>
                </a:moveTo>
                <a:cubicBezTo>
                  <a:pt x="196745" y="65220"/>
                  <a:pt x="200796" y="69270"/>
                  <a:pt x="200796" y="74267"/>
                </a:cubicBezTo>
                <a:cubicBezTo>
                  <a:pt x="200796" y="79265"/>
                  <a:pt x="196745" y="83315"/>
                  <a:pt x="191748" y="83315"/>
                </a:cubicBezTo>
                <a:cubicBezTo>
                  <a:pt x="186751" y="83315"/>
                  <a:pt x="182700" y="79265"/>
                  <a:pt x="182700" y="74267"/>
                </a:cubicBezTo>
                <a:cubicBezTo>
                  <a:pt x="182700" y="69270"/>
                  <a:pt x="186751" y="65220"/>
                  <a:pt x="191748" y="65220"/>
                </a:cubicBezTo>
                <a:close/>
                <a:moveTo>
                  <a:pt x="74649" y="55756"/>
                </a:moveTo>
                <a:cubicBezTo>
                  <a:pt x="73001" y="55756"/>
                  <a:pt x="71665" y="57092"/>
                  <a:pt x="71665" y="58739"/>
                </a:cubicBezTo>
                <a:cubicBezTo>
                  <a:pt x="71665" y="60387"/>
                  <a:pt x="73001" y="61723"/>
                  <a:pt x="74649" y="61723"/>
                </a:cubicBezTo>
                <a:cubicBezTo>
                  <a:pt x="76296" y="61723"/>
                  <a:pt x="77632" y="60387"/>
                  <a:pt x="77632" y="58739"/>
                </a:cubicBezTo>
                <a:cubicBezTo>
                  <a:pt x="77632" y="57092"/>
                  <a:pt x="76296" y="55756"/>
                  <a:pt x="74649" y="55756"/>
                </a:cubicBezTo>
                <a:close/>
                <a:moveTo>
                  <a:pt x="54459" y="53391"/>
                </a:moveTo>
                <a:cubicBezTo>
                  <a:pt x="52896" y="53865"/>
                  <a:pt x="52801" y="55027"/>
                  <a:pt x="52801" y="56210"/>
                </a:cubicBezTo>
                <a:lnTo>
                  <a:pt x="53046" y="56802"/>
                </a:lnTo>
                <a:close/>
                <a:moveTo>
                  <a:pt x="74649" y="52560"/>
                </a:moveTo>
                <a:cubicBezTo>
                  <a:pt x="78062" y="52560"/>
                  <a:pt x="80828" y="55326"/>
                  <a:pt x="80828" y="58739"/>
                </a:cubicBezTo>
                <a:cubicBezTo>
                  <a:pt x="80828" y="62152"/>
                  <a:pt x="78062" y="64919"/>
                  <a:pt x="74649" y="64919"/>
                </a:cubicBezTo>
                <a:cubicBezTo>
                  <a:pt x="71236" y="64919"/>
                  <a:pt x="68469" y="62152"/>
                  <a:pt x="68469" y="58739"/>
                </a:cubicBezTo>
                <a:cubicBezTo>
                  <a:pt x="68469" y="55326"/>
                  <a:pt x="71236" y="52560"/>
                  <a:pt x="74649" y="52560"/>
                </a:cubicBezTo>
                <a:close/>
                <a:moveTo>
                  <a:pt x="141881" y="39788"/>
                </a:moveTo>
                <a:lnTo>
                  <a:pt x="178672" y="63723"/>
                </a:lnTo>
                <a:cubicBezTo>
                  <a:pt x="177440" y="65187"/>
                  <a:pt x="176471" y="66872"/>
                  <a:pt x="175833" y="68713"/>
                </a:cubicBezTo>
                <a:lnTo>
                  <a:pt x="139021" y="44764"/>
                </a:lnTo>
                <a:cubicBezTo>
                  <a:pt x="140340" y="43370"/>
                  <a:pt x="141287" y="41659"/>
                  <a:pt x="141881" y="39788"/>
                </a:cubicBezTo>
                <a:close/>
                <a:moveTo>
                  <a:pt x="112330" y="37891"/>
                </a:moveTo>
                <a:cubicBezTo>
                  <a:pt x="112507" y="38837"/>
                  <a:pt x="112772" y="39752"/>
                  <a:pt x="113128" y="40622"/>
                </a:cubicBezTo>
                <a:lnTo>
                  <a:pt x="85443" y="55007"/>
                </a:lnTo>
                <a:lnTo>
                  <a:pt x="84119" y="52549"/>
                </a:lnTo>
                <a:close/>
                <a:moveTo>
                  <a:pt x="51018" y="33349"/>
                </a:moveTo>
                <a:cubicBezTo>
                  <a:pt x="46167" y="36361"/>
                  <a:pt x="42578" y="40734"/>
                  <a:pt x="40578" y="46004"/>
                </a:cubicBezTo>
                <a:cubicBezTo>
                  <a:pt x="38676" y="51017"/>
                  <a:pt x="38378" y="56493"/>
                  <a:pt x="39800" y="61738"/>
                </a:cubicBezTo>
                <a:cubicBezTo>
                  <a:pt x="40107" y="62884"/>
                  <a:pt x="41225" y="63455"/>
                  <a:pt x="42377" y="63157"/>
                </a:cubicBezTo>
                <a:cubicBezTo>
                  <a:pt x="43528" y="62859"/>
                  <a:pt x="44227" y="61800"/>
                  <a:pt x="43920" y="60654"/>
                </a:cubicBezTo>
                <a:cubicBezTo>
                  <a:pt x="42773" y="56249"/>
                  <a:pt x="42988" y="51772"/>
                  <a:pt x="44598" y="47530"/>
                </a:cubicBezTo>
                <a:cubicBezTo>
                  <a:pt x="46257" y="43160"/>
                  <a:pt x="49293" y="39459"/>
                  <a:pt x="53382" y="36893"/>
                </a:cubicBezTo>
                <a:cubicBezTo>
                  <a:pt x="53739" y="36735"/>
                  <a:pt x="54064" y="36270"/>
                  <a:pt x="54210" y="35884"/>
                </a:cubicBezTo>
                <a:cubicBezTo>
                  <a:pt x="54454" y="35241"/>
                  <a:pt x="54390" y="34629"/>
                  <a:pt x="54017" y="34046"/>
                </a:cubicBezTo>
                <a:cubicBezTo>
                  <a:pt x="53354" y="33059"/>
                  <a:pt x="52008" y="32695"/>
                  <a:pt x="51018" y="33349"/>
                </a:cubicBezTo>
                <a:close/>
                <a:moveTo>
                  <a:pt x="127378" y="32021"/>
                </a:moveTo>
                <a:cubicBezTo>
                  <a:pt x="125730" y="32021"/>
                  <a:pt x="124394" y="33357"/>
                  <a:pt x="124394" y="35005"/>
                </a:cubicBezTo>
                <a:cubicBezTo>
                  <a:pt x="124394" y="36652"/>
                  <a:pt x="125730" y="37988"/>
                  <a:pt x="127378" y="37988"/>
                </a:cubicBezTo>
                <a:cubicBezTo>
                  <a:pt x="129026" y="37988"/>
                  <a:pt x="130361" y="36652"/>
                  <a:pt x="130361" y="35005"/>
                </a:cubicBezTo>
                <a:cubicBezTo>
                  <a:pt x="130361" y="33357"/>
                  <a:pt x="129026" y="32021"/>
                  <a:pt x="127378" y="32021"/>
                </a:cubicBezTo>
                <a:close/>
                <a:moveTo>
                  <a:pt x="127378" y="26779"/>
                </a:moveTo>
                <a:cubicBezTo>
                  <a:pt x="131921" y="26779"/>
                  <a:pt x="135603" y="30462"/>
                  <a:pt x="135603" y="35005"/>
                </a:cubicBezTo>
                <a:cubicBezTo>
                  <a:pt x="135603" y="39547"/>
                  <a:pt x="131921" y="43230"/>
                  <a:pt x="127378" y="43230"/>
                </a:cubicBezTo>
                <a:cubicBezTo>
                  <a:pt x="122835" y="43230"/>
                  <a:pt x="119153" y="39547"/>
                  <a:pt x="119153" y="35005"/>
                </a:cubicBezTo>
                <a:cubicBezTo>
                  <a:pt x="119153" y="30462"/>
                  <a:pt x="122835" y="26779"/>
                  <a:pt x="127378" y="26779"/>
                </a:cubicBezTo>
                <a:close/>
                <a:moveTo>
                  <a:pt x="127378" y="19665"/>
                </a:moveTo>
                <a:cubicBezTo>
                  <a:pt x="119522" y="19665"/>
                  <a:pt x="113045" y="25571"/>
                  <a:pt x="112221" y="33194"/>
                </a:cubicBezTo>
                <a:lnTo>
                  <a:pt x="81032" y="49400"/>
                </a:lnTo>
                <a:cubicBezTo>
                  <a:pt x="79301" y="47956"/>
                  <a:pt x="77062" y="47215"/>
                  <a:pt x="74649" y="47215"/>
                </a:cubicBezTo>
                <a:cubicBezTo>
                  <a:pt x="68284" y="47215"/>
                  <a:pt x="63124" y="52374"/>
                  <a:pt x="63124" y="58739"/>
                </a:cubicBezTo>
                <a:cubicBezTo>
                  <a:pt x="63124" y="62332"/>
                  <a:pt x="64768" y="65540"/>
                  <a:pt x="67447" y="67528"/>
                </a:cubicBezTo>
                <a:lnTo>
                  <a:pt x="67447" y="75802"/>
                </a:lnTo>
                <a:cubicBezTo>
                  <a:pt x="62590" y="78324"/>
                  <a:pt x="59309" y="83413"/>
                  <a:pt x="59309" y="89268"/>
                </a:cubicBezTo>
                <a:cubicBezTo>
                  <a:pt x="59309" y="96246"/>
                  <a:pt x="63968" y="102135"/>
                  <a:pt x="70364" y="103926"/>
                </a:cubicBezTo>
                <a:lnTo>
                  <a:pt x="67362" y="92904"/>
                </a:lnTo>
                <a:cubicBezTo>
                  <a:pt x="66734" y="91836"/>
                  <a:pt x="66423" y="90588"/>
                  <a:pt x="66423" y="89268"/>
                </a:cubicBezTo>
                <a:cubicBezTo>
                  <a:pt x="66423" y="84726"/>
                  <a:pt x="70106" y="81043"/>
                  <a:pt x="74649" y="81043"/>
                </a:cubicBezTo>
                <a:cubicBezTo>
                  <a:pt x="79191" y="81043"/>
                  <a:pt x="82874" y="84726"/>
                  <a:pt x="82874" y="89268"/>
                </a:cubicBezTo>
                <a:cubicBezTo>
                  <a:pt x="82874" y="90589"/>
                  <a:pt x="82563" y="91837"/>
                  <a:pt x="81934" y="92905"/>
                </a:cubicBezTo>
                <a:lnTo>
                  <a:pt x="78933" y="103926"/>
                </a:lnTo>
                <a:cubicBezTo>
                  <a:pt x="85329" y="102135"/>
                  <a:pt x="89988" y="96246"/>
                  <a:pt x="89988" y="89268"/>
                </a:cubicBezTo>
                <a:cubicBezTo>
                  <a:pt x="89988" y="83413"/>
                  <a:pt x="86707" y="78324"/>
                  <a:pt x="81850" y="75802"/>
                </a:cubicBezTo>
                <a:lnTo>
                  <a:pt x="81850" y="67571"/>
                </a:lnTo>
                <a:cubicBezTo>
                  <a:pt x="84348" y="65689"/>
                  <a:pt x="85938" y="62742"/>
                  <a:pt x="86105" y="59416"/>
                </a:cubicBezTo>
                <a:lnTo>
                  <a:pt x="115366" y="44213"/>
                </a:lnTo>
                <a:cubicBezTo>
                  <a:pt x="118006" y="47989"/>
                  <a:pt x="122417" y="50344"/>
                  <a:pt x="127378" y="50344"/>
                </a:cubicBezTo>
                <a:cubicBezTo>
                  <a:pt x="130516" y="50344"/>
                  <a:pt x="133433" y="49402"/>
                  <a:pt x="135803" y="47703"/>
                </a:cubicBezTo>
                <a:lnTo>
                  <a:pt x="174969" y="73183"/>
                </a:lnTo>
                <a:lnTo>
                  <a:pt x="174874" y="74267"/>
                </a:lnTo>
                <a:cubicBezTo>
                  <a:pt x="174874" y="75491"/>
                  <a:pt x="175005" y="76683"/>
                  <a:pt x="175332" y="77815"/>
                </a:cubicBezTo>
                <a:lnTo>
                  <a:pt x="151371" y="104338"/>
                </a:lnTo>
                <a:cubicBezTo>
                  <a:pt x="149374" y="103282"/>
                  <a:pt x="147093" y="102781"/>
                  <a:pt x="144696" y="102781"/>
                </a:cubicBezTo>
                <a:cubicBezTo>
                  <a:pt x="135377" y="102781"/>
                  <a:pt x="127822" y="110336"/>
                  <a:pt x="127822" y="119655"/>
                </a:cubicBezTo>
                <a:cubicBezTo>
                  <a:pt x="127822" y="128974"/>
                  <a:pt x="135377" y="136528"/>
                  <a:pt x="144696" y="136528"/>
                </a:cubicBezTo>
                <a:cubicBezTo>
                  <a:pt x="154014" y="136528"/>
                  <a:pt x="161569" y="128974"/>
                  <a:pt x="161569" y="119655"/>
                </a:cubicBezTo>
                <a:cubicBezTo>
                  <a:pt x="161569" y="119172"/>
                  <a:pt x="161549" y="118693"/>
                  <a:pt x="161425" y="118227"/>
                </a:cubicBezTo>
                <a:lnTo>
                  <a:pt x="186673" y="90279"/>
                </a:lnTo>
                <a:cubicBezTo>
                  <a:pt x="188257" y="90866"/>
                  <a:pt x="189970" y="91141"/>
                  <a:pt x="191748" y="91141"/>
                </a:cubicBezTo>
                <a:cubicBezTo>
                  <a:pt x="201067" y="91141"/>
                  <a:pt x="208621" y="83586"/>
                  <a:pt x="208621" y="74267"/>
                </a:cubicBezTo>
                <a:cubicBezTo>
                  <a:pt x="208621" y="64948"/>
                  <a:pt x="201067" y="57394"/>
                  <a:pt x="191748" y="57394"/>
                </a:cubicBezTo>
                <a:cubicBezTo>
                  <a:pt x="188006" y="57394"/>
                  <a:pt x="184549" y="58612"/>
                  <a:pt x="181782" y="60714"/>
                </a:cubicBezTo>
                <a:lnTo>
                  <a:pt x="142690" y="35282"/>
                </a:lnTo>
                <a:lnTo>
                  <a:pt x="142718" y="35005"/>
                </a:lnTo>
                <a:cubicBezTo>
                  <a:pt x="142718" y="26533"/>
                  <a:pt x="135850" y="19665"/>
                  <a:pt x="127378" y="19665"/>
                </a:cubicBezTo>
                <a:close/>
                <a:moveTo>
                  <a:pt x="41697" y="17736"/>
                </a:moveTo>
                <a:lnTo>
                  <a:pt x="30624" y="26938"/>
                </a:lnTo>
                <a:lnTo>
                  <a:pt x="23278" y="39441"/>
                </a:lnTo>
                <a:lnTo>
                  <a:pt x="20453" y="53252"/>
                </a:lnTo>
                <a:lnTo>
                  <a:pt x="22340" y="67188"/>
                </a:lnTo>
                <a:cubicBezTo>
                  <a:pt x="22641" y="68338"/>
                  <a:pt x="23882" y="68956"/>
                  <a:pt x="25030" y="68653"/>
                </a:cubicBezTo>
                <a:cubicBezTo>
                  <a:pt x="26099" y="68171"/>
                  <a:pt x="26669" y="67056"/>
                  <a:pt x="26368" y="65907"/>
                </a:cubicBezTo>
                <a:cubicBezTo>
                  <a:pt x="23870" y="57711"/>
                  <a:pt x="24057" y="49055"/>
                  <a:pt x="27148" y="40909"/>
                </a:cubicBezTo>
                <a:cubicBezTo>
                  <a:pt x="30288" y="32635"/>
                  <a:pt x="36168" y="25696"/>
                  <a:pt x="43731" y="21318"/>
                </a:cubicBezTo>
                <a:cubicBezTo>
                  <a:pt x="44266" y="21077"/>
                  <a:pt x="44542" y="20739"/>
                  <a:pt x="44738" y="20221"/>
                </a:cubicBezTo>
                <a:cubicBezTo>
                  <a:pt x="44935" y="19704"/>
                  <a:pt x="44873" y="19089"/>
                  <a:pt x="44504" y="18505"/>
                </a:cubicBezTo>
                <a:cubicBezTo>
                  <a:pt x="44024" y="17436"/>
                  <a:pt x="42685" y="17075"/>
                  <a:pt x="41697" y="17736"/>
                </a:cubicBezTo>
                <a:close/>
                <a:moveTo>
                  <a:pt x="30977" y="331"/>
                </a:moveTo>
                <a:cubicBezTo>
                  <a:pt x="18510" y="7693"/>
                  <a:pt x="9294" y="18648"/>
                  <a:pt x="4157" y="32184"/>
                </a:cubicBezTo>
                <a:cubicBezTo>
                  <a:pt x="-882" y="45462"/>
                  <a:pt x="-1335" y="59595"/>
                  <a:pt x="2767" y="73097"/>
                </a:cubicBezTo>
                <a:cubicBezTo>
                  <a:pt x="3075" y="74246"/>
                  <a:pt x="4327" y="74869"/>
                  <a:pt x="5482" y="74570"/>
                </a:cubicBezTo>
                <a:cubicBezTo>
                  <a:pt x="6507" y="74221"/>
                  <a:pt x="7257" y="73031"/>
                  <a:pt x="6900" y="72011"/>
                </a:cubicBezTo>
                <a:cubicBezTo>
                  <a:pt x="3074" y="59350"/>
                  <a:pt x="3493" y="46090"/>
                  <a:pt x="8190" y="33714"/>
                </a:cubicBezTo>
                <a:cubicBezTo>
                  <a:pt x="12984" y="21081"/>
                  <a:pt x="21647" y="10801"/>
                  <a:pt x="33218" y="3836"/>
                </a:cubicBezTo>
                <a:cubicBezTo>
                  <a:pt x="33576" y="3677"/>
                  <a:pt x="33902" y="3211"/>
                  <a:pt x="34048" y="2824"/>
                </a:cubicBezTo>
                <a:cubicBezTo>
                  <a:pt x="34293" y="2180"/>
                  <a:pt x="34229" y="1565"/>
                  <a:pt x="33855" y="981"/>
                </a:cubicBezTo>
                <a:cubicBezTo>
                  <a:pt x="33319" y="41"/>
                  <a:pt x="31970" y="-324"/>
                  <a:pt x="30977" y="33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2000" rtlCol="0" anchor="ctr">
            <a:noAutofit/>
          </a:bodyPr>
          <a:lstStyle/>
          <a:p>
            <a:pPr>
              <a:spcAft>
                <a:spcPts val="600"/>
              </a:spcAft>
            </a:pPr>
            <a:endParaRPr lang="en-US" sz="1200" dirty="0">
              <a:solidFill>
                <a:srgbClr val="BEC8D2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20" name="Abgerundetes Rechteck 9"/>
          <p:cNvSpPr>
            <a:spLocks noChangeAspect="1"/>
          </p:cNvSpPr>
          <p:nvPr userDrawn="1"/>
        </p:nvSpPr>
        <p:spPr>
          <a:xfrm flipH="1">
            <a:off x="2849762" y="4099786"/>
            <a:ext cx="318082" cy="144016"/>
          </a:xfrm>
          <a:custGeom>
            <a:avLst/>
            <a:gdLst/>
            <a:ahLst/>
            <a:cxnLst/>
            <a:rect l="l" t="t" r="r" b="b"/>
            <a:pathLst>
              <a:path w="318082" h="144016">
                <a:moveTo>
                  <a:pt x="162629" y="80585"/>
                </a:moveTo>
                <a:cubicBezTo>
                  <a:pt x="164338" y="80585"/>
                  <a:pt x="165723" y="81970"/>
                  <a:pt x="165723" y="83679"/>
                </a:cubicBezTo>
                <a:cubicBezTo>
                  <a:pt x="165723" y="85387"/>
                  <a:pt x="164338" y="86772"/>
                  <a:pt x="162629" y="86772"/>
                </a:cubicBezTo>
                <a:cubicBezTo>
                  <a:pt x="160920" y="86772"/>
                  <a:pt x="159535" y="85387"/>
                  <a:pt x="159535" y="83679"/>
                </a:cubicBezTo>
                <a:cubicBezTo>
                  <a:pt x="159535" y="81970"/>
                  <a:pt x="160920" y="80585"/>
                  <a:pt x="162629" y="80585"/>
                </a:cubicBezTo>
                <a:close/>
                <a:moveTo>
                  <a:pt x="162629" y="77491"/>
                </a:moveTo>
                <a:cubicBezTo>
                  <a:pt x="159212" y="77491"/>
                  <a:pt x="156441" y="80261"/>
                  <a:pt x="156441" y="83679"/>
                </a:cubicBezTo>
                <a:cubicBezTo>
                  <a:pt x="156441" y="87096"/>
                  <a:pt x="159212" y="89866"/>
                  <a:pt x="162629" y="89866"/>
                </a:cubicBezTo>
                <a:cubicBezTo>
                  <a:pt x="166046" y="89866"/>
                  <a:pt x="168817" y="87096"/>
                  <a:pt x="168817" y="83679"/>
                </a:cubicBezTo>
                <a:cubicBezTo>
                  <a:pt x="168817" y="80261"/>
                  <a:pt x="166046" y="77491"/>
                  <a:pt x="162629" y="77491"/>
                </a:cubicBezTo>
                <a:close/>
                <a:moveTo>
                  <a:pt x="117847" y="37542"/>
                </a:moveTo>
                <a:lnTo>
                  <a:pt x="19146" y="37542"/>
                </a:lnTo>
                <a:cubicBezTo>
                  <a:pt x="17540" y="37542"/>
                  <a:pt x="16239" y="38844"/>
                  <a:pt x="16239" y="40450"/>
                </a:cubicBezTo>
                <a:lnTo>
                  <a:pt x="16239" y="126907"/>
                </a:lnTo>
                <a:cubicBezTo>
                  <a:pt x="16239" y="128513"/>
                  <a:pt x="17540" y="129815"/>
                  <a:pt x="19146" y="129815"/>
                </a:cubicBezTo>
                <a:lnTo>
                  <a:pt x="150821" y="129815"/>
                </a:lnTo>
                <a:cubicBezTo>
                  <a:pt x="152427" y="129815"/>
                  <a:pt x="153729" y="128513"/>
                  <a:pt x="153729" y="126907"/>
                </a:cubicBezTo>
                <a:lnTo>
                  <a:pt x="153729" y="77417"/>
                </a:lnTo>
                <a:lnTo>
                  <a:pt x="147302" y="77417"/>
                </a:lnTo>
                <a:lnTo>
                  <a:pt x="147302" y="121469"/>
                </a:lnTo>
                <a:cubicBezTo>
                  <a:pt x="147302" y="122476"/>
                  <a:pt x="146486" y="123292"/>
                  <a:pt x="145479" y="123292"/>
                </a:cubicBezTo>
                <a:lnTo>
                  <a:pt x="24230" y="123292"/>
                </a:lnTo>
                <a:cubicBezTo>
                  <a:pt x="23223" y="123292"/>
                  <a:pt x="22407" y="122476"/>
                  <a:pt x="22407" y="121469"/>
                </a:cubicBezTo>
                <a:lnTo>
                  <a:pt x="22407" y="45895"/>
                </a:lnTo>
                <a:cubicBezTo>
                  <a:pt x="22407" y="44888"/>
                  <a:pt x="23223" y="44072"/>
                  <a:pt x="24230" y="44072"/>
                </a:cubicBezTo>
                <a:lnTo>
                  <a:pt x="117847" y="44072"/>
                </a:lnTo>
                <a:close/>
                <a:moveTo>
                  <a:pt x="117847" y="23341"/>
                </a:moveTo>
                <a:lnTo>
                  <a:pt x="20113" y="23341"/>
                </a:lnTo>
                <a:cubicBezTo>
                  <a:pt x="9005" y="23341"/>
                  <a:pt x="0" y="32346"/>
                  <a:pt x="0" y="43454"/>
                </a:cubicBezTo>
                <a:lnTo>
                  <a:pt x="0" y="123903"/>
                </a:lnTo>
                <a:cubicBezTo>
                  <a:pt x="0" y="135011"/>
                  <a:pt x="9005" y="144016"/>
                  <a:pt x="20113" y="144016"/>
                </a:cubicBezTo>
                <a:lnTo>
                  <a:pt x="156959" y="144016"/>
                </a:lnTo>
                <a:cubicBezTo>
                  <a:pt x="168067" y="144016"/>
                  <a:pt x="177072" y="135011"/>
                  <a:pt x="177072" y="123903"/>
                </a:cubicBezTo>
                <a:lnTo>
                  <a:pt x="177072" y="77417"/>
                </a:lnTo>
                <a:lnTo>
                  <a:pt x="170501" y="77417"/>
                </a:lnTo>
                <a:lnTo>
                  <a:pt x="170501" y="123107"/>
                </a:lnTo>
                <a:cubicBezTo>
                  <a:pt x="170501" y="131166"/>
                  <a:pt x="163968" y="137699"/>
                  <a:pt x="155909" y="137699"/>
                </a:cubicBezTo>
                <a:lnTo>
                  <a:pt x="20888" y="137699"/>
                </a:lnTo>
                <a:cubicBezTo>
                  <a:pt x="12829" y="137699"/>
                  <a:pt x="6296" y="131166"/>
                  <a:pt x="6296" y="123107"/>
                </a:cubicBezTo>
                <a:lnTo>
                  <a:pt x="6296" y="44469"/>
                </a:lnTo>
                <a:cubicBezTo>
                  <a:pt x="6296" y="36410"/>
                  <a:pt x="12829" y="29876"/>
                  <a:pt x="20888" y="29876"/>
                </a:cubicBezTo>
                <a:lnTo>
                  <a:pt x="117847" y="29876"/>
                </a:lnTo>
                <a:close/>
                <a:moveTo>
                  <a:pt x="170962" y="12300"/>
                </a:moveTo>
                <a:lnTo>
                  <a:pt x="155547" y="61450"/>
                </a:lnTo>
                <a:lnTo>
                  <a:pt x="149427" y="61450"/>
                </a:lnTo>
                <a:lnTo>
                  <a:pt x="164842" y="12300"/>
                </a:lnTo>
                <a:close/>
                <a:moveTo>
                  <a:pt x="199785" y="12300"/>
                </a:moveTo>
                <a:lnTo>
                  <a:pt x="183784" y="61450"/>
                </a:lnTo>
                <a:lnTo>
                  <a:pt x="163938" y="61450"/>
                </a:lnTo>
                <a:lnTo>
                  <a:pt x="179939" y="12300"/>
                </a:lnTo>
                <a:close/>
                <a:moveTo>
                  <a:pt x="262609" y="12300"/>
                </a:moveTo>
                <a:lnTo>
                  <a:pt x="247195" y="61450"/>
                </a:lnTo>
                <a:lnTo>
                  <a:pt x="241075" y="61450"/>
                </a:lnTo>
                <a:lnTo>
                  <a:pt x="256490" y="12300"/>
                </a:lnTo>
                <a:close/>
                <a:moveTo>
                  <a:pt x="291432" y="12300"/>
                </a:moveTo>
                <a:lnTo>
                  <a:pt x="275432" y="61450"/>
                </a:lnTo>
                <a:lnTo>
                  <a:pt x="255586" y="61450"/>
                </a:lnTo>
                <a:lnTo>
                  <a:pt x="271586" y="12300"/>
                </a:lnTo>
                <a:close/>
                <a:moveTo>
                  <a:pt x="117017" y="9669"/>
                </a:moveTo>
                <a:cubicBezTo>
                  <a:pt x="119480" y="9669"/>
                  <a:pt x="121476" y="11665"/>
                  <a:pt x="121476" y="14127"/>
                </a:cubicBezTo>
                <a:cubicBezTo>
                  <a:pt x="121476" y="16589"/>
                  <a:pt x="119480" y="18585"/>
                  <a:pt x="117017" y="18585"/>
                </a:cubicBezTo>
                <a:cubicBezTo>
                  <a:pt x="114555" y="18585"/>
                  <a:pt x="112559" y="16589"/>
                  <a:pt x="112559" y="14127"/>
                </a:cubicBezTo>
                <a:cubicBezTo>
                  <a:pt x="112559" y="11665"/>
                  <a:pt x="114555" y="9669"/>
                  <a:pt x="117017" y="9669"/>
                </a:cubicBezTo>
                <a:close/>
                <a:moveTo>
                  <a:pt x="316596" y="0"/>
                </a:moveTo>
                <a:lnTo>
                  <a:pt x="293176" y="0"/>
                </a:lnTo>
                <a:lnTo>
                  <a:pt x="195363" y="0"/>
                </a:lnTo>
                <a:lnTo>
                  <a:pt x="108245" y="0"/>
                </a:lnTo>
                <a:cubicBezTo>
                  <a:pt x="106184" y="0"/>
                  <a:pt x="104512" y="1672"/>
                  <a:pt x="104512" y="3733"/>
                </a:cubicBezTo>
                <a:lnTo>
                  <a:pt x="104512" y="18666"/>
                </a:lnTo>
                <a:cubicBezTo>
                  <a:pt x="104512" y="20727"/>
                  <a:pt x="106184" y="22399"/>
                  <a:pt x="108245" y="22399"/>
                </a:cubicBezTo>
                <a:lnTo>
                  <a:pt x="124253" y="22399"/>
                </a:lnTo>
                <a:lnTo>
                  <a:pt x="129163" y="44343"/>
                </a:lnTo>
                <a:lnTo>
                  <a:pt x="132756" y="61294"/>
                </a:lnTo>
                <a:cubicBezTo>
                  <a:pt x="133772" y="66207"/>
                  <a:pt x="138172" y="69806"/>
                  <a:pt x="143413" y="69806"/>
                </a:cubicBezTo>
                <a:lnTo>
                  <a:pt x="186307" y="69806"/>
                </a:lnTo>
                <a:cubicBezTo>
                  <a:pt x="191248" y="69806"/>
                  <a:pt x="195441" y="66607"/>
                  <a:pt x="196548" y="62061"/>
                </a:cubicBezTo>
                <a:lnTo>
                  <a:pt x="211272" y="33216"/>
                </a:lnTo>
                <a:lnTo>
                  <a:pt x="228049" y="66082"/>
                </a:lnTo>
                <a:cubicBezTo>
                  <a:pt x="229733" y="68494"/>
                  <a:pt x="232592" y="69806"/>
                  <a:pt x="235756" y="69806"/>
                </a:cubicBezTo>
                <a:lnTo>
                  <a:pt x="278651" y="69806"/>
                </a:lnTo>
                <a:cubicBezTo>
                  <a:pt x="283526" y="69806"/>
                  <a:pt x="287673" y="66692"/>
                  <a:pt x="289104" y="62306"/>
                </a:cubicBezTo>
                <a:lnTo>
                  <a:pt x="289227" y="62343"/>
                </a:lnTo>
                <a:lnTo>
                  <a:pt x="299790" y="8916"/>
                </a:lnTo>
                <a:lnTo>
                  <a:pt x="316596" y="8916"/>
                </a:lnTo>
                <a:cubicBezTo>
                  <a:pt x="317417" y="8916"/>
                  <a:pt x="318082" y="8251"/>
                  <a:pt x="318082" y="7430"/>
                </a:cubicBezTo>
                <a:lnTo>
                  <a:pt x="318082" y="1486"/>
                </a:lnTo>
                <a:cubicBezTo>
                  <a:pt x="318082" y="665"/>
                  <a:pt x="317417" y="0"/>
                  <a:pt x="31659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A8BBC0"/>
              </a:solidFill>
            </a:endParaRPr>
          </a:p>
        </p:txBody>
      </p:sp>
      <p:sp>
        <p:nvSpPr>
          <p:cNvPr id="21" name="Abgerundetes Rechteck 4"/>
          <p:cNvSpPr>
            <a:spLocks noChangeAspect="1"/>
          </p:cNvSpPr>
          <p:nvPr userDrawn="1"/>
        </p:nvSpPr>
        <p:spPr>
          <a:xfrm>
            <a:off x="4673468" y="4090277"/>
            <a:ext cx="131065" cy="144000"/>
          </a:xfrm>
          <a:custGeom>
            <a:avLst/>
            <a:gdLst/>
            <a:ahLst/>
            <a:cxnLst/>
            <a:rect l="l" t="t" r="r" b="b"/>
            <a:pathLst>
              <a:path w="163119" h="179218">
                <a:moveTo>
                  <a:pt x="19586" y="158111"/>
                </a:moveTo>
                <a:lnTo>
                  <a:pt x="89769" y="158111"/>
                </a:lnTo>
                <a:lnTo>
                  <a:pt x="78620" y="179218"/>
                </a:lnTo>
                <a:lnTo>
                  <a:pt x="30735" y="179218"/>
                </a:lnTo>
                <a:close/>
                <a:moveTo>
                  <a:pt x="53571" y="124356"/>
                </a:moveTo>
                <a:lnTo>
                  <a:pt x="54981" y="124356"/>
                </a:lnTo>
                <a:cubicBezTo>
                  <a:pt x="55175" y="124356"/>
                  <a:pt x="55333" y="124514"/>
                  <a:pt x="55333" y="124709"/>
                </a:cubicBezTo>
                <a:lnTo>
                  <a:pt x="55333" y="131050"/>
                </a:lnTo>
                <a:cubicBezTo>
                  <a:pt x="55333" y="131244"/>
                  <a:pt x="55175" y="131402"/>
                  <a:pt x="54981" y="131402"/>
                </a:cubicBezTo>
                <a:lnTo>
                  <a:pt x="53571" y="131402"/>
                </a:lnTo>
                <a:cubicBezTo>
                  <a:pt x="53377" y="131402"/>
                  <a:pt x="53219" y="131244"/>
                  <a:pt x="53219" y="131050"/>
                </a:cubicBezTo>
                <a:lnTo>
                  <a:pt x="53219" y="124709"/>
                </a:lnTo>
                <a:cubicBezTo>
                  <a:pt x="53219" y="124514"/>
                  <a:pt x="53377" y="124356"/>
                  <a:pt x="53571" y="124356"/>
                </a:cubicBezTo>
                <a:close/>
                <a:moveTo>
                  <a:pt x="78992" y="99927"/>
                </a:moveTo>
                <a:lnTo>
                  <a:pt x="85333" y="99927"/>
                </a:lnTo>
                <a:cubicBezTo>
                  <a:pt x="85527" y="99927"/>
                  <a:pt x="85685" y="100085"/>
                  <a:pt x="85685" y="100280"/>
                </a:cubicBezTo>
                <a:lnTo>
                  <a:pt x="85685" y="101689"/>
                </a:lnTo>
                <a:cubicBezTo>
                  <a:pt x="85685" y="101883"/>
                  <a:pt x="85527" y="102041"/>
                  <a:pt x="85333" y="102041"/>
                </a:cubicBezTo>
                <a:lnTo>
                  <a:pt x="78992" y="102041"/>
                </a:lnTo>
                <a:cubicBezTo>
                  <a:pt x="78797" y="102041"/>
                  <a:pt x="78639" y="101883"/>
                  <a:pt x="78639" y="101689"/>
                </a:cubicBezTo>
                <a:lnTo>
                  <a:pt x="78639" y="100280"/>
                </a:lnTo>
                <a:cubicBezTo>
                  <a:pt x="78639" y="100085"/>
                  <a:pt x="78797" y="99927"/>
                  <a:pt x="78992" y="99927"/>
                </a:cubicBezTo>
                <a:close/>
                <a:moveTo>
                  <a:pt x="23327" y="99927"/>
                </a:moveTo>
                <a:lnTo>
                  <a:pt x="29669" y="99927"/>
                </a:lnTo>
                <a:cubicBezTo>
                  <a:pt x="29863" y="99927"/>
                  <a:pt x="30021" y="100085"/>
                  <a:pt x="30021" y="100280"/>
                </a:cubicBezTo>
                <a:lnTo>
                  <a:pt x="30021" y="101689"/>
                </a:lnTo>
                <a:cubicBezTo>
                  <a:pt x="30021" y="101883"/>
                  <a:pt x="29863" y="102041"/>
                  <a:pt x="29669" y="102041"/>
                </a:cubicBezTo>
                <a:lnTo>
                  <a:pt x="23327" y="102041"/>
                </a:lnTo>
                <a:cubicBezTo>
                  <a:pt x="23133" y="102041"/>
                  <a:pt x="22975" y="101883"/>
                  <a:pt x="22975" y="101689"/>
                </a:cubicBezTo>
                <a:lnTo>
                  <a:pt x="22975" y="100280"/>
                </a:lnTo>
                <a:cubicBezTo>
                  <a:pt x="22975" y="100085"/>
                  <a:pt x="23133" y="99927"/>
                  <a:pt x="23327" y="99927"/>
                </a:cubicBezTo>
                <a:close/>
                <a:moveTo>
                  <a:pt x="77226" y="76960"/>
                </a:moveTo>
                <a:lnTo>
                  <a:pt x="54742" y="104373"/>
                </a:lnTo>
                <a:cubicBezTo>
                  <a:pt x="52271" y="104373"/>
                  <a:pt x="50268" y="102370"/>
                  <a:pt x="50268" y="99899"/>
                </a:cubicBezTo>
                <a:cubicBezTo>
                  <a:pt x="50268" y="98509"/>
                  <a:pt x="50901" y="97268"/>
                  <a:pt x="51991" y="96564"/>
                </a:cubicBezTo>
                <a:close/>
                <a:moveTo>
                  <a:pt x="53571" y="68926"/>
                </a:moveTo>
                <a:lnTo>
                  <a:pt x="54981" y="68926"/>
                </a:lnTo>
                <a:cubicBezTo>
                  <a:pt x="55175" y="68926"/>
                  <a:pt x="55333" y="69084"/>
                  <a:pt x="55333" y="69278"/>
                </a:cubicBezTo>
                <a:lnTo>
                  <a:pt x="55333" y="75619"/>
                </a:lnTo>
                <a:cubicBezTo>
                  <a:pt x="55333" y="75814"/>
                  <a:pt x="55175" y="75972"/>
                  <a:pt x="54981" y="75972"/>
                </a:cubicBezTo>
                <a:lnTo>
                  <a:pt x="53571" y="75972"/>
                </a:lnTo>
                <a:cubicBezTo>
                  <a:pt x="53377" y="75972"/>
                  <a:pt x="53219" y="75814"/>
                  <a:pt x="53219" y="75619"/>
                </a:cubicBezTo>
                <a:lnTo>
                  <a:pt x="53219" y="69278"/>
                </a:lnTo>
                <a:cubicBezTo>
                  <a:pt x="53219" y="69084"/>
                  <a:pt x="53377" y="68926"/>
                  <a:pt x="53571" y="68926"/>
                </a:cubicBezTo>
                <a:close/>
                <a:moveTo>
                  <a:pt x="19223" y="54188"/>
                </a:moveTo>
                <a:cubicBezTo>
                  <a:pt x="12357" y="54188"/>
                  <a:pt x="6791" y="59754"/>
                  <a:pt x="6791" y="66620"/>
                </a:cubicBezTo>
                <a:lnTo>
                  <a:pt x="6791" y="136834"/>
                </a:lnTo>
                <a:cubicBezTo>
                  <a:pt x="6791" y="143700"/>
                  <a:pt x="12357" y="149266"/>
                  <a:pt x="19223" y="149266"/>
                </a:cubicBezTo>
                <a:lnTo>
                  <a:pt x="89437" y="149266"/>
                </a:lnTo>
                <a:cubicBezTo>
                  <a:pt x="96303" y="149266"/>
                  <a:pt x="101869" y="143700"/>
                  <a:pt x="101869" y="136834"/>
                </a:cubicBezTo>
                <a:lnTo>
                  <a:pt x="101869" y="66620"/>
                </a:lnTo>
                <a:cubicBezTo>
                  <a:pt x="101869" y="59754"/>
                  <a:pt x="96303" y="54188"/>
                  <a:pt x="89437" y="54188"/>
                </a:cubicBezTo>
                <a:close/>
                <a:moveTo>
                  <a:pt x="108660" y="53391"/>
                </a:moveTo>
                <a:cubicBezTo>
                  <a:pt x="110223" y="53865"/>
                  <a:pt x="110318" y="55027"/>
                  <a:pt x="110318" y="56210"/>
                </a:cubicBezTo>
                <a:lnTo>
                  <a:pt x="110073" y="56802"/>
                </a:lnTo>
                <a:close/>
                <a:moveTo>
                  <a:pt x="18111" y="47397"/>
                </a:moveTo>
                <a:lnTo>
                  <a:pt x="90550" y="47397"/>
                </a:lnTo>
                <a:cubicBezTo>
                  <a:pt x="100552" y="47397"/>
                  <a:pt x="108660" y="55505"/>
                  <a:pt x="108660" y="65507"/>
                </a:cubicBezTo>
                <a:lnTo>
                  <a:pt x="108660" y="137947"/>
                </a:lnTo>
                <a:cubicBezTo>
                  <a:pt x="108660" y="147949"/>
                  <a:pt x="100552" y="156057"/>
                  <a:pt x="90550" y="156057"/>
                </a:cubicBezTo>
                <a:lnTo>
                  <a:pt x="18111" y="156057"/>
                </a:lnTo>
                <a:cubicBezTo>
                  <a:pt x="8108" y="156057"/>
                  <a:pt x="0" y="147949"/>
                  <a:pt x="0" y="137947"/>
                </a:cubicBezTo>
                <a:lnTo>
                  <a:pt x="0" y="65507"/>
                </a:lnTo>
                <a:cubicBezTo>
                  <a:pt x="0" y="55505"/>
                  <a:pt x="8108" y="47397"/>
                  <a:pt x="18111" y="47397"/>
                </a:cubicBezTo>
                <a:close/>
                <a:moveTo>
                  <a:pt x="112101" y="33349"/>
                </a:moveTo>
                <a:cubicBezTo>
                  <a:pt x="116952" y="36361"/>
                  <a:pt x="120541" y="40734"/>
                  <a:pt x="122541" y="46004"/>
                </a:cubicBezTo>
                <a:cubicBezTo>
                  <a:pt x="124443" y="51017"/>
                  <a:pt x="124741" y="56493"/>
                  <a:pt x="123319" y="61738"/>
                </a:cubicBezTo>
                <a:cubicBezTo>
                  <a:pt x="123012" y="62884"/>
                  <a:pt x="121894" y="63455"/>
                  <a:pt x="120742" y="63157"/>
                </a:cubicBezTo>
                <a:cubicBezTo>
                  <a:pt x="119591" y="62859"/>
                  <a:pt x="118892" y="61800"/>
                  <a:pt x="119199" y="60654"/>
                </a:cubicBezTo>
                <a:cubicBezTo>
                  <a:pt x="120346" y="56249"/>
                  <a:pt x="120131" y="51772"/>
                  <a:pt x="118521" y="47530"/>
                </a:cubicBezTo>
                <a:cubicBezTo>
                  <a:pt x="116862" y="43160"/>
                  <a:pt x="113826" y="39459"/>
                  <a:pt x="109737" y="36893"/>
                </a:cubicBezTo>
                <a:cubicBezTo>
                  <a:pt x="109380" y="36735"/>
                  <a:pt x="109055" y="36270"/>
                  <a:pt x="108909" y="35884"/>
                </a:cubicBezTo>
                <a:cubicBezTo>
                  <a:pt x="108665" y="35241"/>
                  <a:pt x="108729" y="34629"/>
                  <a:pt x="109102" y="34046"/>
                </a:cubicBezTo>
                <a:cubicBezTo>
                  <a:pt x="109765" y="33059"/>
                  <a:pt x="111111" y="32695"/>
                  <a:pt x="112101" y="33349"/>
                </a:cubicBezTo>
                <a:close/>
                <a:moveTo>
                  <a:pt x="30735" y="24384"/>
                </a:moveTo>
                <a:lnTo>
                  <a:pt x="78620" y="24384"/>
                </a:lnTo>
                <a:lnTo>
                  <a:pt x="89769" y="45491"/>
                </a:lnTo>
                <a:lnTo>
                  <a:pt x="19586" y="45491"/>
                </a:lnTo>
                <a:close/>
                <a:moveTo>
                  <a:pt x="121422" y="17736"/>
                </a:moveTo>
                <a:lnTo>
                  <a:pt x="132495" y="26938"/>
                </a:lnTo>
                <a:lnTo>
                  <a:pt x="139841" y="39441"/>
                </a:lnTo>
                <a:lnTo>
                  <a:pt x="142666" y="53252"/>
                </a:lnTo>
                <a:lnTo>
                  <a:pt x="140779" y="67188"/>
                </a:lnTo>
                <a:cubicBezTo>
                  <a:pt x="140478" y="68338"/>
                  <a:pt x="139237" y="68956"/>
                  <a:pt x="138089" y="68653"/>
                </a:cubicBezTo>
                <a:cubicBezTo>
                  <a:pt x="137020" y="68171"/>
                  <a:pt x="136450" y="67056"/>
                  <a:pt x="136751" y="65907"/>
                </a:cubicBezTo>
                <a:cubicBezTo>
                  <a:pt x="139249" y="57711"/>
                  <a:pt x="139062" y="49055"/>
                  <a:pt x="135971" y="40909"/>
                </a:cubicBezTo>
                <a:cubicBezTo>
                  <a:pt x="132831" y="32635"/>
                  <a:pt x="126951" y="25696"/>
                  <a:pt x="119388" y="21318"/>
                </a:cubicBezTo>
                <a:cubicBezTo>
                  <a:pt x="118853" y="21077"/>
                  <a:pt x="118577" y="20739"/>
                  <a:pt x="118381" y="20221"/>
                </a:cubicBezTo>
                <a:cubicBezTo>
                  <a:pt x="118184" y="19704"/>
                  <a:pt x="118246" y="19089"/>
                  <a:pt x="118615" y="18505"/>
                </a:cubicBezTo>
                <a:cubicBezTo>
                  <a:pt x="119095" y="17436"/>
                  <a:pt x="120434" y="17075"/>
                  <a:pt x="121422" y="17736"/>
                </a:cubicBezTo>
                <a:close/>
                <a:moveTo>
                  <a:pt x="132142" y="331"/>
                </a:moveTo>
                <a:cubicBezTo>
                  <a:pt x="144609" y="7693"/>
                  <a:pt x="153825" y="18648"/>
                  <a:pt x="158962" y="32184"/>
                </a:cubicBezTo>
                <a:cubicBezTo>
                  <a:pt x="164001" y="45462"/>
                  <a:pt x="164454" y="59595"/>
                  <a:pt x="160352" y="73097"/>
                </a:cubicBezTo>
                <a:cubicBezTo>
                  <a:pt x="160044" y="74246"/>
                  <a:pt x="158792" y="74869"/>
                  <a:pt x="157637" y="74570"/>
                </a:cubicBezTo>
                <a:cubicBezTo>
                  <a:pt x="156612" y="74221"/>
                  <a:pt x="155862" y="73031"/>
                  <a:pt x="156219" y="72011"/>
                </a:cubicBezTo>
                <a:cubicBezTo>
                  <a:pt x="160045" y="59350"/>
                  <a:pt x="159626" y="46090"/>
                  <a:pt x="154929" y="33714"/>
                </a:cubicBezTo>
                <a:cubicBezTo>
                  <a:pt x="150135" y="21081"/>
                  <a:pt x="141472" y="10801"/>
                  <a:pt x="129901" y="3836"/>
                </a:cubicBezTo>
                <a:cubicBezTo>
                  <a:pt x="129543" y="3677"/>
                  <a:pt x="129217" y="3211"/>
                  <a:pt x="129071" y="2824"/>
                </a:cubicBezTo>
                <a:cubicBezTo>
                  <a:pt x="128826" y="2180"/>
                  <a:pt x="128890" y="1565"/>
                  <a:pt x="129264" y="981"/>
                </a:cubicBezTo>
                <a:cubicBezTo>
                  <a:pt x="129800" y="41"/>
                  <a:pt x="131149" y="-324"/>
                  <a:pt x="132142" y="33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22" name="Freeform 105"/>
          <p:cNvSpPr>
            <a:spLocks/>
          </p:cNvSpPr>
          <p:nvPr userDrawn="1"/>
        </p:nvSpPr>
        <p:spPr bwMode="auto">
          <a:xfrm>
            <a:off x="3427758" y="4101697"/>
            <a:ext cx="119056" cy="142089"/>
          </a:xfrm>
          <a:custGeom>
            <a:avLst/>
            <a:gdLst/>
            <a:ahLst/>
            <a:cxnLst/>
            <a:rect l="l" t="t" r="r" b="b"/>
            <a:pathLst>
              <a:path w="119056" h="142089">
                <a:moveTo>
                  <a:pt x="33073" y="8963"/>
                </a:moveTo>
                <a:cubicBezTo>
                  <a:pt x="31828" y="9584"/>
                  <a:pt x="30894" y="10827"/>
                  <a:pt x="30583" y="12070"/>
                </a:cubicBezTo>
                <a:cubicBezTo>
                  <a:pt x="30272" y="13623"/>
                  <a:pt x="30272" y="14866"/>
                  <a:pt x="30894" y="16109"/>
                </a:cubicBezTo>
                <a:lnTo>
                  <a:pt x="33206" y="19869"/>
                </a:lnTo>
                <a:cubicBezTo>
                  <a:pt x="33680" y="19940"/>
                  <a:pt x="33859" y="20217"/>
                  <a:pt x="34031" y="20503"/>
                </a:cubicBezTo>
                <a:lnTo>
                  <a:pt x="33998" y="20628"/>
                </a:lnTo>
                <a:lnTo>
                  <a:pt x="34050" y="20643"/>
                </a:lnTo>
                <a:cubicBezTo>
                  <a:pt x="63824" y="72497"/>
                  <a:pt x="64139" y="73045"/>
                  <a:pt x="64142" y="73051"/>
                </a:cubicBezTo>
                <a:lnTo>
                  <a:pt x="62591" y="78633"/>
                </a:lnTo>
                <a:cubicBezTo>
                  <a:pt x="61971" y="78943"/>
                  <a:pt x="61350" y="79253"/>
                  <a:pt x="60420" y="79253"/>
                </a:cubicBezTo>
                <a:cubicBezTo>
                  <a:pt x="59179" y="79253"/>
                  <a:pt x="57627" y="78323"/>
                  <a:pt x="57007" y="77082"/>
                </a:cubicBezTo>
                <a:cubicBezTo>
                  <a:pt x="43834" y="54275"/>
                  <a:pt x="36427" y="41452"/>
                  <a:pt x="32263" y="34243"/>
                </a:cubicBezTo>
                <a:cubicBezTo>
                  <a:pt x="31964" y="34325"/>
                  <a:pt x="31894" y="34228"/>
                  <a:pt x="31828" y="34129"/>
                </a:cubicBezTo>
                <a:lnTo>
                  <a:pt x="25848" y="24027"/>
                </a:lnTo>
                <a:cubicBezTo>
                  <a:pt x="25468" y="23080"/>
                  <a:pt x="24618" y="22578"/>
                  <a:pt x="23769" y="22366"/>
                </a:cubicBezTo>
                <a:cubicBezTo>
                  <a:pt x="22214" y="22056"/>
                  <a:pt x="20970" y="22056"/>
                  <a:pt x="19726" y="22987"/>
                </a:cubicBezTo>
                <a:cubicBezTo>
                  <a:pt x="18482" y="23608"/>
                  <a:pt x="17549" y="24850"/>
                  <a:pt x="17238" y="26092"/>
                </a:cubicBezTo>
                <a:cubicBezTo>
                  <a:pt x="16927" y="27334"/>
                  <a:pt x="16927" y="28886"/>
                  <a:pt x="17549" y="30128"/>
                </a:cubicBezTo>
                <a:cubicBezTo>
                  <a:pt x="32476" y="55588"/>
                  <a:pt x="32476" y="55588"/>
                  <a:pt x="32476" y="55588"/>
                </a:cubicBezTo>
                <a:lnTo>
                  <a:pt x="32376" y="55951"/>
                </a:lnTo>
                <a:cubicBezTo>
                  <a:pt x="47319" y="82197"/>
                  <a:pt x="47556" y="82613"/>
                  <a:pt x="47560" y="82619"/>
                </a:cubicBezTo>
                <a:lnTo>
                  <a:pt x="46007" y="88230"/>
                </a:lnTo>
                <a:cubicBezTo>
                  <a:pt x="45386" y="88853"/>
                  <a:pt x="44765" y="88853"/>
                  <a:pt x="44144" y="88853"/>
                </a:cubicBezTo>
                <a:cubicBezTo>
                  <a:pt x="42591" y="88853"/>
                  <a:pt x="41038" y="88230"/>
                  <a:pt x="40417" y="86983"/>
                </a:cubicBezTo>
                <a:cubicBezTo>
                  <a:pt x="33491" y="74970"/>
                  <a:pt x="28472" y="66263"/>
                  <a:pt x="24835" y="59954"/>
                </a:cubicBezTo>
                <a:lnTo>
                  <a:pt x="17597" y="47399"/>
                </a:lnTo>
                <a:cubicBezTo>
                  <a:pt x="17072" y="46293"/>
                  <a:pt x="15968" y="45729"/>
                  <a:pt x="14864" y="45164"/>
                </a:cubicBezTo>
                <a:cubicBezTo>
                  <a:pt x="13635" y="44850"/>
                  <a:pt x="12097" y="45164"/>
                  <a:pt x="10868" y="45793"/>
                </a:cubicBezTo>
                <a:cubicBezTo>
                  <a:pt x="9638" y="46421"/>
                  <a:pt x="9023" y="47678"/>
                  <a:pt x="8408" y="48935"/>
                </a:cubicBezTo>
                <a:cubicBezTo>
                  <a:pt x="8101" y="50506"/>
                  <a:pt x="8408" y="51762"/>
                  <a:pt x="9023" y="53019"/>
                </a:cubicBezTo>
                <a:lnTo>
                  <a:pt x="8977" y="53197"/>
                </a:lnTo>
                <a:cubicBezTo>
                  <a:pt x="27742" y="85143"/>
                  <a:pt x="31021" y="90725"/>
                  <a:pt x="31594" y="91701"/>
                </a:cubicBezTo>
                <a:cubicBezTo>
                  <a:pt x="31688" y="91678"/>
                  <a:pt x="31708" y="91707"/>
                  <a:pt x="31727" y="91736"/>
                </a:cubicBezTo>
                <a:cubicBezTo>
                  <a:pt x="45972" y="116602"/>
                  <a:pt x="45972" y="116602"/>
                  <a:pt x="45972" y="116602"/>
                </a:cubicBezTo>
                <a:cubicBezTo>
                  <a:pt x="55263" y="132764"/>
                  <a:pt x="75392" y="138359"/>
                  <a:pt x="92114" y="129656"/>
                </a:cubicBezTo>
                <a:cubicBezTo>
                  <a:pt x="104192" y="123129"/>
                  <a:pt x="110695" y="111007"/>
                  <a:pt x="110695" y="95777"/>
                </a:cubicBezTo>
                <a:cubicBezTo>
                  <a:pt x="110695" y="40761"/>
                  <a:pt x="110695" y="40761"/>
                  <a:pt x="110695" y="40761"/>
                </a:cubicBezTo>
                <a:cubicBezTo>
                  <a:pt x="110695" y="37964"/>
                  <a:pt x="108527" y="35477"/>
                  <a:pt x="105740" y="35477"/>
                </a:cubicBezTo>
                <a:cubicBezTo>
                  <a:pt x="102643" y="35477"/>
                  <a:pt x="100475" y="37964"/>
                  <a:pt x="100475" y="40761"/>
                </a:cubicBezTo>
                <a:cubicBezTo>
                  <a:pt x="100475" y="61897"/>
                  <a:pt x="100475" y="61897"/>
                  <a:pt x="100475" y="61897"/>
                </a:cubicBezTo>
                <a:cubicBezTo>
                  <a:pt x="100475" y="63762"/>
                  <a:pt x="98927" y="65316"/>
                  <a:pt x="97069" y="65938"/>
                </a:cubicBezTo>
                <a:cubicBezTo>
                  <a:pt x="95521" y="66249"/>
                  <a:pt x="93353" y="65627"/>
                  <a:pt x="92424" y="63762"/>
                </a:cubicBezTo>
                <a:lnTo>
                  <a:pt x="87275" y="53971"/>
                </a:lnTo>
                <a:cubicBezTo>
                  <a:pt x="86540" y="52573"/>
                  <a:pt x="86540" y="52573"/>
                  <a:pt x="86540" y="52573"/>
                </a:cubicBezTo>
                <a:cubicBezTo>
                  <a:pt x="68319" y="21405"/>
                  <a:pt x="65198" y="16066"/>
                  <a:pt x="64663" y="15152"/>
                </a:cubicBezTo>
                <a:cubicBezTo>
                  <a:pt x="64543" y="15183"/>
                  <a:pt x="64517" y="15145"/>
                  <a:pt x="64491" y="15107"/>
                </a:cubicBezTo>
                <a:cubicBezTo>
                  <a:pt x="63866" y="13881"/>
                  <a:pt x="62929" y="12961"/>
                  <a:pt x="61367" y="12654"/>
                </a:cubicBezTo>
                <a:cubicBezTo>
                  <a:pt x="60117" y="12348"/>
                  <a:pt x="58555" y="12348"/>
                  <a:pt x="57306" y="13268"/>
                </a:cubicBezTo>
                <a:cubicBezTo>
                  <a:pt x="56056" y="13881"/>
                  <a:pt x="55431" y="14801"/>
                  <a:pt x="54807" y="16334"/>
                </a:cubicBezTo>
                <a:cubicBezTo>
                  <a:pt x="54494" y="17561"/>
                  <a:pt x="54807" y="19094"/>
                  <a:pt x="55431" y="20320"/>
                </a:cubicBezTo>
                <a:lnTo>
                  <a:pt x="55426" y="20338"/>
                </a:lnTo>
                <a:lnTo>
                  <a:pt x="60648" y="29143"/>
                </a:lnTo>
                <a:lnTo>
                  <a:pt x="61343" y="30586"/>
                </a:lnTo>
                <a:cubicBezTo>
                  <a:pt x="80369" y="63081"/>
                  <a:pt x="80595" y="63466"/>
                  <a:pt x="80597" y="63470"/>
                </a:cubicBezTo>
                <a:lnTo>
                  <a:pt x="79045" y="69343"/>
                </a:lnTo>
                <a:cubicBezTo>
                  <a:pt x="78423" y="69652"/>
                  <a:pt x="77492" y="69652"/>
                  <a:pt x="76871" y="69652"/>
                </a:cubicBezTo>
                <a:cubicBezTo>
                  <a:pt x="75318" y="69652"/>
                  <a:pt x="74076" y="69034"/>
                  <a:pt x="73144" y="67798"/>
                </a:cubicBezTo>
                <a:cubicBezTo>
                  <a:pt x="63531" y="51055"/>
                  <a:pt x="57637" y="40790"/>
                  <a:pt x="54024" y="34497"/>
                </a:cubicBezTo>
                <a:cubicBezTo>
                  <a:pt x="53960" y="34497"/>
                  <a:pt x="53942" y="34469"/>
                  <a:pt x="53925" y="34439"/>
                </a:cubicBezTo>
                <a:cubicBezTo>
                  <a:pt x="40231" y="10827"/>
                  <a:pt x="40231" y="10827"/>
                  <a:pt x="40231" y="10827"/>
                </a:cubicBezTo>
                <a:cubicBezTo>
                  <a:pt x="38675" y="8342"/>
                  <a:pt x="35563" y="7410"/>
                  <a:pt x="33073" y="8963"/>
                </a:cubicBezTo>
                <a:close/>
                <a:moveTo>
                  <a:pt x="39103" y="458"/>
                </a:moveTo>
                <a:cubicBezTo>
                  <a:pt x="42487" y="1351"/>
                  <a:pt x="45522" y="3526"/>
                  <a:pt x="47389" y="6788"/>
                </a:cubicBezTo>
                <a:lnTo>
                  <a:pt x="49597" y="10511"/>
                </a:lnTo>
                <a:cubicBezTo>
                  <a:pt x="49934" y="8264"/>
                  <a:pt x="51491" y="6941"/>
                  <a:pt x="53245" y="5908"/>
                </a:cubicBezTo>
                <a:cubicBezTo>
                  <a:pt x="56369" y="4069"/>
                  <a:pt x="60117" y="3762"/>
                  <a:pt x="63554" y="4682"/>
                </a:cubicBezTo>
                <a:lnTo>
                  <a:pt x="71552" y="10497"/>
                </a:lnTo>
                <a:cubicBezTo>
                  <a:pt x="71848" y="10414"/>
                  <a:pt x="71918" y="10511"/>
                  <a:pt x="71985" y="10612"/>
                </a:cubicBezTo>
                <a:cubicBezTo>
                  <a:pt x="92114" y="45424"/>
                  <a:pt x="92114" y="45424"/>
                  <a:pt x="92114" y="45424"/>
                </a:cubicBezTo>
                <a:cubicBezTo>
                  <a:pt x="92114" y="33301"/>
                  <a:pt x="97998" y="27085"/>
                  <a:pt x="105740" y="27085"/>
                </a:cubicBezTo>
                <a:cubicBezTo>
                  <a:pt x="113172" y="27085"/>
                  <a:pt x="119056" y="33301"/>
                  <a:pt x="119056" y="40761"/>
                </a:cubicBezTo>
                <a:cubicBezTo>
                  <a:pt x="119056" y="95777"/>
                  <a:pt x="119056" y="95777"/>
                  <a:pt x="119056" y="95777"/>
                </a:cubicBezTo>
                <a:cubicBezTo>
                  <a:pt x="119056" y="114115"/>
                  <a:pt x="111005" y="128724"/>
                  <a:pt x="95830" y="136805"/>
                </a:cubicBezTo>
                <a:cubicBezTo>
                  <a:pt x="89327" y="140535"/>
                  <a:pt x="82205" y="142089"/>
                  <a:pt x="75392" y="142089"/>
                </a:cubicBezTo>
                <a:cubicBezTo>
                  <a:pt x="60527" y="142089"/>
                  <a:pt x="46592" y="134629"/>
                  <a:pt x="38540" y="120953"/>
                </a:cubicBezTo>
                <a:cubicBezTo>
                  <a:pt x="27782" y="102175"/>
                  <a:pt x="25149" y="97578"/>
                  <a:pt x="24504" y="96452"/>
                </a:cubicBezTo>
                <a:cubicBezTo>
                  <a:pt x="24329" y="96450"/>
                  <a:pt x="24260" y="96362"/>
                  <a:pt x="24191" y="96271"/>
                </a:cubicBezTo>
                <a:cubicBezTo>
                  <a:pt x="1619" y="57310"/>
                  <a:pt x="1619" y="57310"/>
                  <a:pt x="1619" y="57310"/>
                </a:cubicBezTo>
                <a:lnTo>
                  <a:pt x="1824" y="56534"/>
                </a:lnTo>
                <a:cubicBezTo>
                  <a:pt x="21" y="53692"/>
                  <a:pt x="-436" y="50214"/>
                  <a:pt x="414" y="46735"/>
                </a:cubicBezTo>
                <a:cubicBezTo>
                  <a:pt x="1337" y="43279"/>
                  <a:pt x="3796" y="40452"/>
                  <a:pt x="6871" y="38567"/>
                </a:cubicBezTo>
                <a:lnTo>
                  <a:pt x="12430" y="37706"/>
                </a:lnTo>
                <a:cubicBezTo>
                  <a:pt x="8531" y="31060"/>
                  <a:pt x="8220" y="27334"/>
                  <a:pt x="9153" y="23919"/>
                </a:cubicBezTo>
                <a:cubicBezTo>
                  <a:pt x="10086" y="20503"/>
                  <a:pt x="12263" y="17398"/>
                  <a:pt x="15373" y="15535"/>
                </a:cubicBezTo>
                <a:lnTo>
                  <a:pt x="22972" y="14643"/>
                </a:lnTo>
                <a:cubicBezTo>
                  <a:pt x="21549" y="9630"/>
                  <a:pt x="23997" y="4509"/>
                  <a:pt x="28716" y="1817"/>
                </a:cubicBezTo>
                <a:cubicBezTo>
                  <a:pt x="31984" y="-47"/>
                  <a:pt x="35718" y="-435"/>
                  <a:pt x="39103" y="45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23" name="Trapezoid 6"/>
          <p:cNvSpPr>
            <a:spLocks noChangeAspect="1"/>
          </p:cNvSpPr>
          <p:nvPr userDrawn="1"/>
        </p:nvSpPr>
        <p:spPr>
          <a:xfrm>
            <a:off x="4990601" y="4099786"/>
            <a:ext cx="194683" cy="154834"/>
          </a:xfrm>
          <a:custGeom>
            <a:avLst/>
            <a:gdLst/>
            <a:ahLst/>
            <a:cxnLst/>
            <a:rect l="l" t="t" r="r" b="b"/>
            <a:pathLst>
              <a:path w="194683" h="154834">
                <a:moveTo>
                  <a:pt x="140224" y="130335"/>
                </a:moveTo>
                <a:cubicBezTo>
                  <a:pt x="141787" y="130809"/>
                  <a:pt x="141882" y="131971"/>
                  <a:pt x="141882" y="133154"/>
                </a:cubicBezTo>
                <a:lnTo>
                  <a:pt x="141637" y="133746"/>
                </a:lnTo>
                <a:close/>
                <a:moveTo>
                  <a:pt x="143665" y="110293"/>
                </a:moveTo>
                <a:cubicBezTo>
                  <a:pt x="148516" y="113305"/>
                  <a:pt x="152105" y="117678"/>
                  <a:pt x="154105" y="122948"/>
                </a:cubicBezTo>
                <a:cubicBezTo>
                  <a:pt x="156007" y="127961"/>
                  <a:pt x="156305" y="133437"/>
                  <a:pt x="154883" y="138682"/>
                </a:cubicBezTo>
                <a:cubicBezTo>
                  <a:pt x="154576" y="139828"/>
                  <a:pt x="153458" y="140399"/>
                  <a:pt x="152306" y="140101"/>
                </a:cubicBezTo>
                <a:cubicBezTo>
                  <a:pt x="151155" y="139803"/>
                  <a:pt x="150456" y="138744"/>
                  <a:pt x="150763" y="137598"/>
                </a:cubicBezTo>
                <a:cubicBezTo>
                  <a:pt x="151910" y="133193"/>
                  <a:pt x="151695" y="128716"/>
                  <a:pt x="150085" y="124474"/>
                </a:cubicBezTo>
                <a:cubicBezTo>
                  <a:pt x="148426" y="120104"/>
                  <a:pt x="145390" y="116403"/>
                  <a:pt x="141301" y="113837"/>
                </a:cubicBezTo>
                <a:cubicBezTo>
                  <a:pt x="140944" y="113679"/>
                  <a:pt x="140619" y="113214"/>
                  <a:pt x="140473" y="112828"/>
                </a:cubicBezTo>
                <a:cubicBezTo>
                  <a:pt x="140229" y="112185"/>
                  <a:pt x="140293" y="111573"/>
                  <a:pt x="140666" y="110990"/>
                </a:cubicBezTo>
                <a:cubicBezTo>
                  <a:pt x="141329" y="110003"/>
                  <a:pt x="142675" y="109639"/>
                  <a:pt x="143665" y="110293"/>
                </a:cubicBezTo>
                <a:close/>
                <a:moveTo>
                  <a:pt x="28254" y="110270"/>
                </a:moveTo>
                <a:cubicBezTo>
                  <a:pt x="31819" y="129575"/>
                  <a:pt x="48936" y="143833"/>
                  <a:pt x="69384" y="143833"/>
                </a:cubicBezTo>
                <a:cubicBezTo>
                  <a:pt x="89832" y="143833"/>
                  <a:pt x="106950" y="129575"/>
                  <a:pt x="110515" y="110270"/>
                </a:cubicBezTo>
                <a:close/>
                <a:moveTo>
                  <a:pt x="17197" y="103093"/>
                </a:moveTo>
                <a:lnTo>
                  <a:pt x="120682" y="103093"/>
                </a:lnTo>
                <a:cubicBezTo>
                  <a:pt x="120682" y="131669"/>
                  <a:pt x="97516" y="154834"/>
                  <a:pt x="68939" y="154834"/>
                </a:cubicBezTo>
                <a:cubicBezTo>
                  <a:pt x="40363" y="154834"/>
                  <a:pt x="17197" y="131669"/>
                  <a:pt x="17197" y="103093"/>
                </a:cubicBezTo>
                <a:close/>
                <a:moveTo>
                  <a:pt x="152986" y="94680"/>
                </a:moveTo>
                <a:lnTo>
                  <a:pt x="164059" y="103882"/>
                </a:lnTo>
                <a:lnTo>
                  <a:pt x="171405" y="116385"/>
                </a:lnTo>
                <a:lnTo>
                  <a:pt x="174230" y="130196"/>
                </a:lnTo>
                <a:lnTo>
                  <a:pt x="172343" y="144132"/>
                </a:lnTo>
                <a:cubicBezTo>
                  <a:pt x="172042" y="145282"/>
                  <a:pt x="170801" y="145900"/>
                  <a:pt x="169653" y="145597"/>
                </a:cubicBezTo>
                <a:cubicBezTo>
                  <a:pt x="168584" y="145115"/>
                  <a:pt x="168014" y="144000"/>
                  <a:pt x="168315" y="142851"/>
                </a:cubicBezTo>
                <a:cubicBezTo>
                  <a:pt x="170813" y="134655"/>
                  <a:pt x="170626" y="125999"/>
                  <a:pt x="167535" y="117853"/>
                </a:cubicBezTo>
                <a:cubicBezTo>
                  <a:pt x="164395" y="109579"/>
                  <a:pt x="158515" y="102640"/>
                  <a:pt x="150952" y="98262"/>
                </a:cubicBezTo>
                <a:cubicBezTo>
                  <a:pt x="150417" y="98021"/>
                  <a:pt x="150141" y="97683"/>
                  <a:pt x="149945" y="97165"/>
                </a:cubicBezTo>
                <a:cubicBezTo>
                  <a:pt x="149748" y="96648"/>
                  <a:pt x="149810" y="96033"/>
                  <a:pt x="150179" y="95449"/>
                </a:cubicBezTo>
                <a:cubicBezTo>
                  <a:pt x="150659" y="94380"/>
                  <a:pt x="151998" y="94019"/>
                  <a:pt x="152986" y="94680"/>
                </a:cubicBezTo>
                <a:close/>
                <a:moveTo>
                  <a:pt x="163706" y="77275"/>
                </a:moveTo>
                <a:cubicBezTo>
                  <a:pt x="176173" y="84637"/>
                  <a:pt x="185389" y="95592"/>
                  <a:pt x="190526" y="109128"/>
                </a:cubicBezTo>
                <a:cubicBezTo>
                  <a:pt x="195565" y="122406"/>
                  <a:pt x="196018" y="136539"/>
                  <a:pt x="191916" y="150041"/>
                </a:cubicBezTo>
                <a:cubicBezTo>
                  <a:pt x="191608" y="151190"/>
                  <a:pt x="190356" y="151813"/>
                  <a:pt x="189201" y="151514"/>
                </a:cubicBezTo>
                <a:cubicBezTo>
                  <a:pt x="188176" y="151165"/>
                  <a:pt x="187426" y="149975"/>
                  <a:pt x="187783" y="148955"/>
                </a:cubicBezTo>
                <a:cubicBezTo>
                  <a:pt x="191609" y="136294"/>
                  <a:pt x="191190" y="123034"/>
                  <a:pt x="186493" y="110658"/>
                </a:cubicBezTo>
                <a:cubicBezTo>
                  <a:pt x="181699" y="98025"/>
                  <a:pt x="173036" y="87745"/>
                  <a:pt x="161465" y="80780"/>
                </a:cubicBezTo>
                <a:cubicBezTo>
                  <a:pt x="161107" y="80621"/>
                  <a:pt x="160781" y="80155"/>
                  <a:pt x="160635" y="79768"/>
                </a:cubicBezTo>
                <a:cubicBezTo>
                  <a:pt x="160390" y="79124"/>
                  <a:pt x="160454" y="78509"/>
                  <a:pt x="160828" y="77925"/>
                </a:cubicBezTo>
                <a:cubicBezTo>
                  <a:pt x="161364" y="76985"/>
                  <a:pt x="162713" y="76620"/>
                  <a:pt x="163706" y="77275"/>
                </a:cubicBezTo>
                <a:close/>
                <a:moveTo>
                  <a:pt x="50462" y="0"/>
                </a:moveTo>
                <a:lnTo>
                  <a:pt x="90016" y="0"/>
                </a:lnTo>
                <a:lnTo>
                  <a:pt x="90016" y="11993"/>
                </a:lnTo>
                <a:lnTo>
                  <a:pt x="90254" y="11993"/>
                </a:lnTo>
                <a:lnTo>
                  <a:pt x="133168" y="29521"/>
                </a:lnTo>
                <a:lnTo>
                  <a:pt x="132886" y="29521"/>
                </a:lnTo>
                <a:lnTo>
                  <a:pt x="136564" y="90155"/>
                </a:lnTo>
                <a:lnTo>
                  <a:pt x="136602" y="90155"/>
                </a:lnTo>
                <a:lnTo>
                  <a:pt x="136566" y="90195"/>
                </a:lnTo>
                <a:lnTo>
                  <a:pt x="136602" y="90792"/>
                </a:lnTo>
                <a:lnTo>
                  <a:pt x="136019" y="90792"/>
                </a:lnTo>
                <a:lnTo>
                  <a:pt x="127754" y="99833"/>
                </a:lnTo>
                <a:lnTo>
                  <a:pt x="124924" y="99833"/>
                </a:lnTo>
                <a:lnTo>
                  <a:pt x="122016" y="99833"/>
                </a:lnTo>
                <a:lnTo>
                  <a:pt x="8244" y="99833"/>
                </a:lnTo>
                <a:lnTo>
                  <a:pt x="3156" y="92446"/>
                </a:lnTo>
                <a:lnTo>
                  <a:pt x="0" y="92446"/>
                </a:lnTo>
                <a:lnTo>
                  <a:pt x="0" y="87864"/>
                </a:lnTo>
                <a:lnTo>
                  <a:pt x="123207" y="87864"/>
                </a:lnTo>
                <a:lnTo>
                  <a:pt x="123562" y="82017"/>
                </a:lnTo>
                <a:lnTo>
                  <a:pt x="0" y="82017"/>
                </a:lnTo>
                <a:lnTo>
                  <a:pt x="5456" y="34770"/>
                </a:lnTo>
                <a:lnTo>
                  <a:pt x="117192" y="34770"/>
                </a:lnTo>
                <a:lnTo>
                  <a:pt x="113434" y="29521"/>
                </a:lnTo>
                <a:lnTo>
                  <a:pt x="7310" y="29521"/>
                </a:lnTo>
                <a:lnTo>
                  <a:pt x="50224" y="11993"/>
                </a:lnTo>
                <a:lnTo>
                  <a:pt x="50462" y="119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24" name="Ellipse 6"/>
          <p:cNvSpPr>
            <a:spLocks noChangeAspect="1"/>
          </p:cNvSpPr>
          <p:nvPr userDrawn="1"/>
        </p:nvSpPr>
        <p:spPr>
          <a:xfrm>
            <a:off x="5543903" y="4099786"/>
            <a:ext cx="72213" cy="144000"/>
          </a:xfrm>
          <a:custGeom>
            <a:avLst/>
            <a:gdLst/>
            <a:ahLst/>
            <a:cxnLst/>
            <a:rect l="l" t="t" r="r" b="b"/>
            <a:pathLst>
              <a:path w="1717080" h="3424020">
                <a:moveTo>
                  <a:pt x="997065" y="1823433"/>
                </a:moveTo>
                <a:lnTo>
                  <a:pt x="997065" y="2832556"/>
                </a:lnTo>
                <a:cubicBezTo>
                  <a:pt x="1238754" y="2802524"/>
                  <a:pt x="1474097" y="2677572"/>
                  <a:pt x="1480808" y="2362801"/>
                </a:cubicBezTo>
                <a:cubicBezTo>
                  <a:pt x="1497322" y="2014516"/>
                  <a:pt x="1233753" y="1904288"/>
                  <a:pt x="997065" y="1823433"/>
                </a:cubicBezTo>
                <a:close/>
                <a:moveTo>
                  <a:pt x="818181" y="553548"/>
                </a:moveTo>
                <a:cubicBezTo>
                  <a:pt x="400255" y="600257"/>
                  <a:pt x="343906" y="853119"/>
                  <a:pt x="336263" y="1020769"/>
                </a:cubicBezTo>
                <a:cubicBezTo>
                  <a:pt x="321282" y="1349307"/>
                  <a:pt x="594180" y="1445053"/>
                  <a:pt x="818181" y="1521656"/>
                </a:cubicBezTo>
                <a:close/>
                <a:moveTo>
                  <a:pt x="818181" y="0"/>
                </a:moveTo>
                <a:lnTo>
                  <a:pt x="997065" y="0"/>
                </a:lnTo>
                <a:lnTo>
                  <a:pt x="997065" y="352824"/>
                </a:lnTo>
                <a:cubicBezTo>
                  <a:pt x="1295182" y="363451"/>
                  <a:pt x="1510991" y="439329"/>
                  <a:pt x="1678356" y="546433"/>
                </a:cubicBezTo>
                <a:lnTo>
                  <a:pt x="1588676" y="734427"/>
                </a:lnTo>
                <a:cubicBezTo>
                  <a:pt x="1348085" y="602078"/>
                  <a:pt x="1158506" y="562501"/>
                  <a:pt x="997065" y="553983"/>
                </a:cubicBezTo>
                <a:lnTo>
                  <a:pt x="997065" y="1582206"/>
                </a:lnTo>
                <a:cubicBezTo>
                  <a:pt x="1246586" y="1658347"/>
                  <a:pt x="1741258" y="1803728"/>
                  <a:pt x="1716161" y="2353256"/>
                </a:cubicBezTo>
                <a:cubicBezTo>
                  <a:pt x="1691242" y="2727152"/>
                  <a:pt x="1440616" y="2997721"/>
                  <a:pt x="997065" y="3036274"/>
                </a:cubicBezTo>
                <a:lnTo>
                  <a:pt x="997065" y="3424020"/>
                </a:lnTo>
                <a:lnTo>
                  <a:pt x="818181" y="3424020"/>
                </a:lnTo>
                <a:lnTo>
                  <a:pt x="818181" y="3042669"/>
                </a:lnTo>
                <a:cubicBezTo>
                  <a:pt x="353041" y="3035288"/>
                  <a:pt x="86955" y="2858177"/>
                  <a:pt x="0" y="2802656"/>
                </a:cubicBezTo>
                <a:lnTo>
                  <a:pt x="97282" y="2617644"/>
                </a:lnTo>
                <a:cubicBezTo>
                  <a:pt x="355770" y="2775840"/>
                  <a:pt x="602946" y="2832848"/>
                  <a:pt x="818181" y="2836791"/>
                </a:cubicBezTo>
                <a:lnTo>
                  <a:pt x="818181" y="1760050"/>
                </a:lnTo>
                <a:cubicBezTo>
                  <a:pt x="316515" y="1570031"/>
                  <a:pt x="24472" y="1457773"/>
                  <a:pt x="121662" y="865559"/>
                </a:cubicBezTo>
                <a:cubicBezTo>
                  <a:pt x="188251" y="528508"/>
                  <a:pt x="519920" y="365826"/>
                  <a:pt x="818181" y="3525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5214" tIns="113400" rIns="115214" bIns="113400" spcCol="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25" name="Abgerundetes Rechteck 19"/>
          <p:cNvSpPr>
            <a:spLocks noChangeAspect="1"/>
          </p:cNvSpPr>
          <p:nvPr userDrawn="1"/>
        </p:nvSpPr>
        <p:spPr>
          <a:xfrm>
            <a:off x="5858991" y="4099786"/>
            <a:ext cx="97554" cy="144000"/>
          </a:xfrm>
          <a:custGeom>
            <a:avLst/>
            <a:gdLst/>
            <a:ahLst/>
            <a:cxnLst/>
            <a:rect l="l" t="t" r="r" b="b"/>
            <a:pathLst>
              <a:path w="313933" h="463400">
                <a:moveTo>
                  <a:pt x="149753" y="320062"/>
                </a:moveTo>
                <a:cubicBezTo>
                  <a:pt x="165366" y="329753"/>
                  <a:pt x="176914" y="343827"/>
                  <a:pt x="183350" y="360787"/>
                </a:cubicBezTo>
                <a:cubicBezTo>
                  <a:pt x="189472" y="376919"/>
                  <a:pt x="190429" y="394539"/>
                  <a:pt x="185855" y="411418"/>
                </a:cubicBezTo>
                <a:cubicBezTo>
                  <a:pt x="184867" y="415105"/>
                  <a:pt x="181269" y="416945"/>
                  <a:pt x="177562" y="415986"/>
                </a:cubicBezTo>
                <a:cubicBezTo>
                  <a:pt x="173856" y="415025"/>
                  <a:pt x="171608" y="411619"/>
                  <a:pt x="172596" y="407931"/>
                </a:cubicBezTo>
                <a:cubicBezTo>
                  <a:pt x="176287" y="393754"/>
                  <a:pt x="175594" y="379347"/>
                  <a:pt x="170413" y="365696"/>
                </a:cubicBezTo>
                <a:cubicBezTo>
                  <a:pt x="165076" y="351632"/>
                  <a:pt x="155305" y="339724"/>
                  <a:pt x="142146" y="331466"/>
                </a:cubicBezTo>
                <a:cubicBezTo>
                  <a:pt x="140998" y="330956"/>
                  <a:pt x="139953" y="329460"/>
                  <a:pt x="139482" y="328219"/>
                </a:cubicBezTo>
                <a:cubicBezTo>
                  <a:pt x="138697" y="326150"/>
                  <a:pt x="138903" y="324179"/>
                  <a:pt x="140102" y="322305"/>
                </a:cubicBezTo>
                <a:cubicBezTo>
                  <a:pt x="142238" y="319128"/>
                  <a:pt x="146568" y="317958"/>
                  <a:pt x="149753" y="320062"/>
                </a:cubicBezTo>
                <a:close/>
                <a:moveTo>
                  <a:pt x="179750" y="269817"/>
                </a:moveTo>
                <a:lnTo>
                  <a:pt x="215384" y="299430"/>
                </a:lnTo>
                <a:lnTo>
                  <a:pt x="239022" y="339665"/>
                </a:lnTo>
                <a:lnTo>
                  <a:pt x="248113" y="384111"/>
                </a:lnTo>
                <a:lnTo>
                  <a:pt x="242041" y="428957"/>
                </a:lnTo>
                <a:cubicBezTo>
                  <a:pt x="241071" y="432657"/>
                  <a:pt x="237078" y="434648"/>
                  <a:pt x="233383" y="433671"/>
                </a:cubicBezTo>
                <a:cubicBezTo>
                  <a:pt x="229945" y="432120"/>
                  <a:pt x="228109" y="428533"/>
                  <a:pt x="229079" y="424833"/>
                </a:cubicBezTo>
                <a:cubicBezTo>
                  <a:pt x="237116" y="398459"/>
                  <a:pt x="236517" y="370604"/>
                  <a:pt x="226570" y="344391"/>
                </a:cubicBezTo>
                <a:cubicBezTo>
                  <a:pt x="216464" y="317763"/>
                  <a:pt x="197543" y="295432"/>
                  <a:pt x="173203" y="281346"/>
                </a:cubicBezTo>
                <a:cubicBezTo>
                  <a:pt x="171483" y="280570"/>
                  <a:pt x="170594" y="279480"/>
                  <a:pt x="169963" y="277816"/>
                </a:cubicBezTo>
                <a:cubicBezTo>
                  <a:pt x="169331" y="276151"/>
                  <a:pt x="169530" y="274171"/>
                  <a:pt x="170717" y="272293"/>
                </a:cubicBezTo>
                <a:cubicBezTo>
                  <a:pt x="172260" y="268851"/>
                  <a:pt x="176569" y="267692"/>
                  <a:pt x="179750" y="269817"/>
                </a:cubicBezTo>
                <a:close/>
                <a:moveTo>
                  <a:pt x="214248" y="213808"/>
                </a:moveTo>
                <a:cubicBezTo>
                  <a:pt x="254365" y="237500"/>
                  <a:pt x="284024" y="272754"/>
                  <a:pt x="300554" y="316312"/>
                </a:cubicBezTo>
                <a:cubicBezTo>
                  <a:pt x="316769" y="359041"/>
                  <a:pt x="318227" y="404523"/>
                  <a:pt x="305027" y="447973"/>
                </a:cubicBezTo>
                <a:cubicBezTo>
                  <a:pt x="304036" y="451671"/>
                  <a:pt x="300007" y="453674"/>
                  <a:pt x="296290" y="452712"/>
                </a:cubicBezTo>
                <a:cubicBezTo>
                  <a:pt x="292991" y="451590"/>
                  <a:pt x="290580" y="447760"/>
                  <a:pt x="291728" y="444477"/>
                </a:cubicBezTo>
                <a:cubicBezTo>
                  <a:pt x="304041" y="403735"/>
                  <a:pt x="302691" y="361061"/>
                  <a:pt x="287578" y="321236"/>
                </a:cubicBezTo>
                <a:cubicBezTo>
                  <a:pt x="272150" y="280581"/>
                  <a:pt x="244272" y="247499"/>
                  <a:pt x="207036" y="225088"/>
                </a:cubicBezTo>
                <a:cubicBezTo>
                  <a:pt x="205883" y="224576"/>
                  <a:pt x="204835" y="223076"/>
                  <a:pt x="204363" y="221831"/>
                </a:cubicBezTo>
                <a:cubicBezTo>
                  <a:pt x="203575" y="219757"/>
                  <a:pt x="203783" y="217779"/>
                  <a:pt x="204985" y="215899"/>
                </a:cubicBezTo>
                <a:cubicBezTo>
                  <a:pt x="206710" y="212873"/>
                  <a:pt x="211052" y="211698"/>
                  <a:pt x="214248" y="213808"/>
                </a:cubicBezTo>
                <a:close/>
                <a:moveTo>
                  <a:pt x="73645" y="19462"/>
                </a:moveTo>
                <a:cubicBezTo>
                  <a:pt x="62942" y="19462"/>
                  <a:pt x="54266" y="28139"/>
                  <a:pt x="54266" y="38841"/>
                </a:cubicBezTo>
                <a:lnTo>
                  <a:pt x="54266" y="332230"/>
                </a:lnTo>
                <a:lnTo>
                  <a:pt x="54264" y="332231"/>
                </a:lnTo>
                <a:lnTo>
                  <a:pt x="54264" y="348728"/>
                </a:lnTo>
                <a:cubicBezTo>
                  <a:pt x="37024" y="356321"/>
                  <a:pt x="25029" y="373574"/>
                  <a:pt x="25029" y="393628"/>
                </a:cubicBezTo>
                <a:cubicBezTo>
                  <a:pt x="25029" y="420808"/>
                  <a:pt x="47063" y="442842"/>
                  <a:pt x="74244" y="442842"/>
                </a:cubicBezTo>
                <a:cubicBezTo>
                  <a:pt x="101424" y="442842"/>
                  <a:pt x="123458" y="420808"/>
                  <a:pt x="123458" y="393628"/>
                </a:cubicBezTo>
                <a:cubicBezTo>
                  <a:pt x="123458" y="373106"/>
                  <a:pt x="110898" y="355518"/>
                  <a:pt x="93030" y="348166"/>
                </a:cubicBezTo>
                <a:lnTo>
                  <a:pt x="93030" y="329823"/>
                </a:lnTo>
                <a:cubicBezTo>
                  <a:pt x="93029" y="329822"/>
                  <a:pt x="93026" y="329821"/>
                  <a:pt x="93024" y="329821"/>
                </a:cubicBezTo>
                <a:lnTo>
                  <a:pt x="93024" y="38841"/>
                </a:lnTo>
                <a:cubicBezTo>
                  <a:pt x="93024" y="28139"/>
                  <a:pt x="84348" y="19462"/>
                  <a:pt x="73645" y="19462"/>
                </a:cubicBezTo>
                <a:close/>
                <a:moveTo>
                  <a:pt x="73645" y="0"/>
                </a:moveTo>
                <a:cubicBezTo>
                  <a:pt x="92910" y="0"/>
                  <a:pt x="108528" y="15617"/>
                  <a:pt x="108528" y="34882"/>
                </a:cubicBezTo>
                <a:lnTo>
                  <a:pt x="108528" y="333295"/>
                </a:lnTo>
                <a:cubicBezTo>
                  <a:pt x="129785" y="344933"/>
                  <a:pt x="144016" y="367619"/>
                  <a:pt x="144016" y="393628"/>
                </a:cubicBezTo>
                <a:cubicBezTo>
                  <a:pt x="144016" y="432162"/>
                  <a:pt x="112778" y="463400"/>
                  <a:pt x="74244" y="463400"/>
                </a:cubicBezTo>
                <a:cubicBezTo>
                  <a:pt x="35709" y="463400"/>
                  <a:pt x="4471" y="432162"/>
                  <a:pt x="4471" y="393628"/>
                </a:cubicBezTo>
                <a:cubicBezTo>
                  <a:pt x="4471" y="368116"/>
                  <a:pt x="18164" y="345802"/>
                  <a:pt x="38763" y="333995"/>
                </a:cubicBezTo>
                <a:lnTo>
                  <a:pt x="38763" y="320205"/>
                </a:lnTo>
                <a:lnTo>
                  <a:pt x="7753" y="320205"/>
                </a:lnTo>
                <a:cubicBezTo>
                  <a:pt x="3471" y="320205"/>
                  <a:pt x="0" y="316734"/>
                  <a:pt x="0" y="312452"/>
                </a:cubicBezTo>
                <a:cubicBezTo>
                  <a:pt x="0" y="308171"/>
                  <a:pt x="3471" y="304700"/>
                  <a:pt x="7753" y="304700"/>
                </a:cubicBezTo>
                <a:lnTo>
                  <a:pt x="38763" y="304700"/>
                </a:lnTo>
                <a:lnTo>
                  <a:pt x="38763" y="272139"/>
                </a:lnTo>
                <a:lnTo>
                  <a:pt x="7753" y="272139"/>
                </a:lnTo>
                <a:cubicBezTo>
                  <a:pt x="3471" y="272139"/>
                  <a:pt x="0" y="268668"/>
                  <a:pt x="0" y="264387"/>
                </a:cubicBezTo>
                <a:cubicBezTo>
                  <a:pt x="0" y="260106"/>
                  <a:pt x="3471" y="256635"/>
                  <a:pt x="7753" y="256635"/>
                </a:cubicBezTo>
                <a:lnTo>
                  <a:pt x="38763" y="256635"/>
                </a:lnTo>
                <a:lnTo>
                  <a:pt x="38763" y="224074"/>
                </a:lnTo>
                <a:lnTo>
                  <a:pt x="7753" y="224074"/>
                </a:lnTo>
                <a:cubicBezTo>
                  <a:pt x="3471" y="224074"/>
                  <a:pt x="0" y="220603"/>
                  <a:pt x="0" y="216322"/>
                </a:cubicBezTo>
                <a:cubicBezTo>
                  <a:pt x="0" y="212040"/>
                  <a:pt x="3471" y="208569"/>
                  <a:pt x="7753" y="208569"/>
                </a:cubicBezTo>
                <a:lnTo>
                  <a:pt x="38763" y="208569"/>
                </a:lnTo>
                <a:lnTo>
                  <a:pt x="38763" y="176009"/>
                </a:lnTo>
                <a:lnTo>
                  <a:pt x="7753" y="176009"/>
                </a:lnTo>
                <a:cubicBezTo>
                  <a:pt x="3471" y="176009"/>
                  <a:pt x="0" y="172538"/>
                  <a:pt x="0" y="168256"/>
                </a:cubicBezTo>
                <a:cubicBezTo>
                  <a:pt x="0" y="163975"/>
                  <a:pt x="3471" y="160504"/>
                  <a:pt x="7753" y="160504"/>
                </a:cubicBezTo>
                <a:lnTo>
                  <a:pt x="38763" y="160504"/>
                </a:lnTo>
                <a:lnTo>
                  <a:pt x="38763" y="127943"/>
                </a:lnTo>
                <a:lnTo>
                  <a:pt x="7753" y="127943"/>
                </a:lnTo>
                <a:cubicBezTo>
                  <a:pt x="3471" y="127943"/>
                  <a:pt x="0" y="124472"/>
                  <a:pt x="0" y="120191"/>
                </a:cubicBezTo>
                <a:cubicBezTo>
                  <a:pt x="0" y="115909"/>
                  <a:pt x="3471" y="112438"/>
                  <a:pt x="7753" y="112438"/>
                </a:cubicBezTo>
                <a:lnTo>
                  <a:pt x="38763" y="112438"/>
                </a:lnTo>
                <a:lnTo>
                  <a:pt x="38763" y="79878"/>
                </a:lnTo>
                <a:lnTo>
                  <a:pt x="7753" y="79878"/>
                </a:lnTo>
                <a:cubicBezTo>
                  <a:pt x="3471" y="79878"/>
                  <a:pt x="0" y="76407"/>
                  <a:pt x="0" y="72125"/>
                </a:cubicBezTo>
                <a:cubicBezTo>
                  <a:pt x="0" y="67844"/>
                  <a:pt x="3471" y="64373"/>
                  <a:pt x="7753" y="64373"/>
                </a:cubicBezTo>
                <a:lnTo>
                  <a:pt x="38763" y="64373"/>
                </a:lnTo>
                <a:lnTo>
                  <a:pt x="38763" y="34882"/>
                </a:lnTo>
                <a:cubicBezTo>
                  <a:pt x="38763" y="15617"/>
                  <a:pt x="54380" y="0"/>
                  <a:pt x="7364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26" name="Abgerundetes Rechteck 19"/>
          <p:cNvSpPr>
            <a:spLocks noChangeAspect="1"/>
          </p:cNvSpPr>
          <p:nvPr userDrawn="1"/>
        </p:nvSpPr>
        <p:spPr>
          <a:xfrm>
            <a:off x="4127567" y="4084094"/>
            <a:ext cx="359835" cy="159708"/>
          </a:xfrm>
          <a:custGeom>
            <a:avLst/>
            <a:gdLst/>
            <a:ahLst/>
            <a:cxnLst/>
            <a:rect l="l" t="t" r="r" b="b"/>
            <a:pathLst>
              <a:path w="359835" h="159708">
                <a:moveTo>
                  <a:pt x="108031" y="130216"/>
                </a:moveTo>
                <a:lnTo>
                  <a:pt x="263217" y="130216"/>
                </a:lnTo>
                <a:cubicBezTo>
                  <a:pt x="263454" y="131763"/>
                  <a:pt x="263821" y="133272"/>
                  <a:pt x="264452" y="134689"/>
                </a:cubicBezTo>
                <a:lnTo>
                  <a:pt x="107003" y="134019"/>
                </a:lnTo>
                <a:cubicBezTo>
                  <a:pt x="107535" y="132812"/>
                  <a:pt x="107834" y="131528"/>
                  <a:pt x="108031" y="130216"/>
                </a:cubicBezTo>
                <a:close/>
                <a:moveTo>
                  <a:pt x="299518" y="92544"/>
                </a:moveTo>
                <a:cubicBezTo>
                  <a:pt x="282398" y="92544"/>
                  <a:pt x="268519" y="106423"/>
                  <a:pt x="268519" y="123543"/>
                </a:cubicBezTo>
                <a:cubicBezTo>
                  <a:pt x="268519" y="140663"/>
                  <a:pt x="282398" y="154542"/>
                  <a:pt x="299518" y="154542"/>
                </a:cubicBezTo>
                <a:cubicBezTo>
                  <a:pt x="316639" y="154542"/>
                  <a:pt x="330518" y="140663"/>
                  <a:pt x="330518" y="123543"/>
                </a:cubicBezTo>
                <a:cubicBezTo>
                  <a:pt x="330518" y="106423"/>
                  <a:pt x="316639" y="92544"/>
                  <a:pt x="299518" y="92544"/>
                </a:cubicBezTo>
                <a:close/>
                <a:moveTo>
                  <a:pt x="70885" y="92544"/>
                </a:moveTo>
                <a:cubicBezTo>
                  <a:pt x="53765" y="92544"/>
                  <a:pt x="39886" y="106423"/>
                  <a:pt x="39886" y="123543"/>
                </a:cubicBezTo>
                <a:cubicBezTo>
                  <a:pt x="39886" y="140663"/>
                  <a:pt x="53765" y="154542"/>
                  <a:pt x="70885" y="154542"/>
                </a:cubicBezTo>
                <a:cubicBezTo>
                  <a:pt x="88006" y="154542"/>
                  <a:pt x="101884" y="140663"/>
                  <a:pt x="101884" y="123543"/>
                </a:cubicBezTo>
                <a:cubicBezTo>
                  <a:pt x="101884" y="106423"/>
                  <a:pt x="88006" y="92544"/>
                  <a:pt x="70885" y="92544"/>
                </a:cubicBezTo>
                <a:close/>
                <a:moveTo>
                  <a:pt x="117639" y="89445"/>
                </a:moveTo>
                <a:lnTo>
                  <a:pt x="151513" y="89445"/>
                </a:lnTo>
                <a:lnTo>
                  <a:pt x="151513" y="91992"/>
                </a:lnTo>
                <a:lnTo>
                  <a:pt x="121884" y="91992"/>
                </a:lnTo>
                <a:cubicBezTo>
                  <a:pt x="125097" y="98465"/>
                  <a:pt x="127005" y="105768"/>
                  <a:pt x="127215" y="113518"/>
                </a:cubicBezTo>
                <a:lnTo>
                  <a:pt x="151831" y="113518"/>
                </a:lnTo>
                <a:lnTo>
                  <a:pt x="151831" y="113559"/>
                </a:lnTo>
                <a:lnTo>
                  <a:pt x="201967" y="113559"/>
                </a:lnTo>
                <a:lnTo>
                  <a:pt x="201967" y="116311"/>
                </a:lnTo>
                <a:lnTo>
                  <a:pt x="123971" y="116311"/>
                </a:lnTo>
                <a:cubicBezTo>
                  <a:pt x="123834" y="106598"/>
                  <a:pt x="121547" y="97462"/>
                  <a:pt x="117639" y="89445"/>
                </a:cubicBezTo>
                <a:close/>
                <a:moveTo>
                  <a:pt x="299518" y="87378"/>
                </a:moveTo>
                <a:cubicBezTo>
                  <a:pt x="319492" y="87378"/>
                  <a:pt x="335684" y="103570"/>
                  <a:pt x="335684" y="123543"/>
                </a:cubicBezTo>
                <a:cubicBezTo>
                  <a:pt x="335684" y="143516"/>
                  <a:pt x="319492" y="159708"/>
                  <a:pt x="299518" y="159708"/>
                </a:cubicBezTo>
                <a:cubicBezTo>
                  <a:pt x="279545" y="159708"/>
                  <a:pt x="263353" y="143516"/>
                  <a:pt x="263353" y="123543"/>
                </a:cubicBezTo>
                <a:cubicBezTo>
                  <a:pt x="263353" y="103570"/>
                  <a:pt x="279545" y="87378"/>
                  <a:pt x="299518" y="87378"/>
                </a:cubicBezTo>
                <a:close/>
                <a:moveTo>
                  <a:pt x="70885" y="87378"/>
                </a:moveTo>
                <a:cubicBezTo>
                  <a:pt x="90859" y="87378"/>
                  <a:pt x="107050" y="103570"/>
                  <a:pt x="107050" y="123543"/>
                </a:cubicBezTo>
                <a:cubicBezTo>
                  <a:pt x="107050" y="143516"/>
                  <a:pt x="90859" y="159708"/>
                  <a:pt x="70885" y="159708"/>
                </a:cubicBezTo>
                <a:cubicBezTo>
                  <a:pt x="50912" y="159708"/>
                  <a:pt x="34720" y="143516"/>
                  <a:pt x="34720" y="123543"/>
                </a:cubicBezTo>
                <a:cubicBezTo>
                  <a:pt x="34720" y="103570"/>
                  <a:pt x="50912" y="87378"/>
                  <a:pt x="70885" y="87378"/>
                </a:cubicBezTo>
                <a:close/>
                <a:moveTo>
                  <a:pt x="258512" y="60384"/>
                </a:moveTo>
                <a:lnTo>
                  <a:pt x="243464" y="79981"/>
                </a:lnTo>
                <a:cubicBezTo>
                  <a:pt x="263967" y="78526"/>
                  <a:pt x="279267" y="75976"/>
                  <a:pt x="293768" y="75033"/>
                </a:cubicBezTo>
                <a:lnTo>
                  <a:pt x="298768" y="75221"/>
                </a:lnTo>
                <a:cubicBezTo>
                  <a:pt x="288994" y="70592"/>
                  <a:pt x="274332" y="65187"/>
                  <a:pt x="258512" y="60384"/>
                </a:cubicBezTo>
                <a:close/>
                <a:moveTo>
                  <a:pt x="299463" y="53392"/>
                </a:moveTo>
                <a:cubicBezTo>
                  <a:pt x="301026" y="53866"/>
                  <a:pt x="301121" y="55028"/>
                  <a:pt x="301121" y="56211"/>
                </a:cubicBezTo>
                <a:lnTo>
                  <a:pt x="300876" y="56803"/>
                </a:lnTo>
                <a:close/>
                <a:moveTo>
                  <a:pt x="182660" y="47491"/>
                </a:moveTo>
                <a:cubicBezTo>
                  <a:pt x="165071" y="50657"/>
                  <a:pt x="149670" y="63041"/>
                  <a:pt x="136527" y="72512"/>
                </a:cubicBezTo>
                <a:cubicBezTo>
                  <a:pt x="144367" y="73527"/>
                  <a:pt x="152273" y="74664"/>
                  <a:pt x="160084" y="75754"/>
                </a:cubicBezTo>
                <a:close/>
                <a:moveTo>
                  <a:pt x="190849" y="46698"/>
                </a:moveTo>
                <a:lnTo>
                  <a:pt x="187170" y="47034"/>
                </a:lnTo>
                <a:lnTo>
                  <a:pt x="164632" y="76386"/>
                </a:lnTo>
                <a:cubicBezTo>
                  <a:pt x="183262" y="78993"/>
                  <a:pt x="201150" y="81212"/>
                  <a:pt x="216016" y="81099"/>
                </a:cubicBezTo>
                <a:cubicBezTo>
                  <a:pt x="224143" y="81038"/>
                  <a:pt x="231556" y="80756"/>
                  <a:pt x="238397" y="80321"/>
                </a:cubicBezTo>
                <a:lnTo>
                  <a:pt x="255138" y="59364"/>
                </a:lnTo>
                <a:cubicBezTo>
                  <a:pt x="231627" y="52250"/>
                  <a:pt x="206185" y="46613"/>
                  <a:pt x="190849" y="46698"/>
                </a:cubicBezTo>
                <a:close/>
                <a:moveTo>
                  <a:pt x="189549" y="42495"/>
                </a:moveTo>
                <a:cubicBezTo>
                  <a:pt x="232637" y="43098"/>
                  <a:pt x="295412" y="66203"/>
                  <a:pt x="307810" y="75729"/>
                </a:cubicBezTo>
                <a:cubicBezTo>
                  <a:pt x="319039" y="76610"/>
                  <a:pt x="326559" y="78658"/>
                  <a:pt x="338091" y="85185"/>
                </a:cubicBezTo>
                <a:cubicBezTo>
                  <a:pt x="349185" y="91464"/>
                  <a:pt x="361570" y="101882"/>
                  <a:pt x="359634" y="113908"/>
                </a:cubicBezTo>
                <a:cubicBezTo>
                  <a:pt x="357645" y="126256"/>
                  <a:pt x="345591" y="133577"/>
                  <a:pt x="336492" y="134766"/>
                </a:cubicBezTo>
                <a:cubicBezTo>
                  <a:pt x="337133" y="133326"/>
                  <a:pt x="337509" y="131791"/>
                  <a:pt x="337751" y="130216"/>
                </a:cubicBezTo>
                <a:lnTo>
                  <a:pt x="339724" y="130216"/>
                </a:lnTo>
                <a:cubicBezTo>
                  <a:pt x="342960" y="129423"/>
                  <a:pt x="345535" y="128099"/>
                  <a:pt x="347603" y="126371"/>
                </a:cubicBezTo>
                <a:lnTo>
                  <a:pt x="348197" y="125819"/>
                </a:lnTo>
                <a:lnTo>
                  <a:pt x="349827" y="124173"/>
                </a:lnTo>
                <a:lnTo>
                  <a:pt x="351936" y="121016"/>
                </a:lnTo>
                <a:lnTo>
                  <a:pt x="353834" y="116691"/>
                </a:lnTo>
                <a:lnTo>
                  <a:pt x="354320" y="114726"/>
                </a:lnTo>
                <a:cubicBezTo>
                  <a:pt x="356200" y="103642"/>
                  <a:pt x="344178" y="94040"/>
                  <a:pt x="333409" y="88253"/>
                </a:cubicBezTo>
                <a:cubicBezTo>
                  <a:pt x="318157" y="80056"/>
                  <a:pt x="310135" y="79524"/>
                  <a:pt x="290386" y="78896"/>
                </a:cubicBezTo>
                <a:cubicBezTo>
                  <a:pt x="270667" y="80114"/>
                  <a:pt x="249426" y="84239"/>
                  <a:pt x="214915" y="84487"/>
                </a:cubicBezTo>
                <a:cubicBezTo>
                  <a:pt x="181083" y="84731"/>
                  <a:pt x="131125" y="73160"/>
                  <a:pt x="93548" y="73053"/>
                </a:cubicBezTo>
                <a:cubicBezTo>
                  <a:pt x="91043" y="73045"/>
                  <a:pt x="88592" y="73089"/>
                  <a:pt x="86206" y="73191"/>
                </a:cubicBezTo>
                <a:cubicBezTo>
                  <a:pt x="51383" y="74674"/>
                  <a:pt x="18030" y="79532"/>
                  <a:pt x="6889" y="105027"/>
                </a:cubicBezTo>
                <a:cubicBezTo>
                  <a:pt x="4201" y="111178"/>
                  <a:pt x="4667" y="119585"/>
                  <a:pt x="10632" y="124789"/>
                </a:cubicBezTo>
                <a:lnTo>
                  <a:pt x="13042" y="126499"/>
                </a:lnTo>
                <a:cubicBezTo>
                  <a:pt x="18727" y="128934"/>
                  <a:pt x="24132" y="129857"/>
                  <a:pt x="29626" y="130216"/>
                </a:cubicBezTo>
                <a:lnTo>
                  <a:pt x="33496" y="130216"/>
                </a:lnTo>
                <a:cubicBezTo>
                  <a:pt x="33664" y="131368"/>
                  <a:pt x="33919" y="132497"/>
                  <a:pt x="34382" y="133561"/>
                </a:cubicBezTo>
                <a:cubicBezTo>
                  <a:pt x="29565" y="133295"/>
                  <a:pt x="20546" y="133378"/>
                  <a:pt x="10867" y="129508"/>
                </a:cubicBezTo>
                <a:cubicBezTo>
                  <a:pt x="-509" y="124959"/>
                  <a:pt x="-1768" y="111757"/>
                  <a:pt x="1705" y="103385"/>
                </a:cubicBezTo>
                <a:cubicBezTo>
                  <a:pt x="13183" y="75723"/>
                  <a:pt x="47543" y="70451"/>
                  <a:pt x="83418" y="68842"/>
                </a:cubicBezTo>
                <a:cubicBezTo>
                  <a:pt x="85877" y="68732"/>
                  <a:pt x="88401" y="68685"/>
                  <a:pt x="90982" y="68692"/>
                </a:cubicBezTo>
                <a:cubicBezTo>
                  <a:pt x="103051" y="68729"/>
                  <a:pt x="116359" y="69974"/>
                  <a:pt x="130012" y="71710"/>
                </a:cubicBezTo>
                <a:cubicBezTo>
                  <a:pt x="148545" y="58817"/>
                  <a:pt x="168566" y="43153"/>
                  <a:pt x="189549" y="42495"/>
                </a:cubicBezTo>
                <a:close/>
                <a:moveTo>
                  <a:pt x="302904" y="33350"/>
                </a:moveTo>
                <a:cubicBezTo>
                  <a:pt x="307755" y="36362"/>
                  <a:pt x="311344" y="40735"/>
                  <a:pt x="313344" y="46005"/>
                </a:cubicBezTo>
                <a:cubicBezTo>
                  <a:pt x="315246" y="51018"/>
                  <a:pt x="315544" y="56494"/>
                  <a:pt x="314122" y="61739"/>
                </a:cubicBezTo>
                <a:cubicBezTo>
                  <a:pt x="313815" y="62885"/>
                  <a:pt x="312697" y="63456"/>
                  <a:pt x="311545" y="63158"/>
                </a:cubicBezTo>
                <a:cubicBezTo>
                  <a:pt x="310394" y="62860"/>
                  <a:pt x="309695" y="61801"/>
                  <a:pt x="310002" y="60655"/>
                </a:cubicBezTo>
                <a:cubicBezTo>
                  <a:pt x="311149" y="56250"/>
                  <a:pt x="310934" y="51773"/>
                  <a:pt x="309324" y="47531"/>
                </a:cubicBezTo>
                <a:cubicBezTo>
                  <a:pt x="307665" y="43161"/>
                  <a:pt x="304629" y="39460"/>
                  <a:pt x="300540" y="36894"/>
                </a:cubicBezTo>
                <a:cubicBezTo>
                  <a:pt x="300183" y="36736"/>
                  <a:pt x="299858" y="36271"/>
                  <a:pt x="299712" y="35885"/>
                </a:cubicBezTo>
                <a:cubicBezTo>
                  <a:pt x="299468" y="35242"/>
                  <a:pt x="299532" y="34630"/>
                  <a:pt x="299905" y="34047"/>
                </a:cubicBezTo>
                <a:cubicBezTo>
                  <a:pt x="300568" y="33060"/>
                  <a:pt x="301914" y="32696"/>
                  <a:pt x="302904" y="33350"/>
                </a:cubicBezTo>
                <a:close/>
                <a:moveTo>
                  <a:pt x="312225" y="17737"/>
                </a:moveTo>
                <a:lnTo>
                  <a:pt x="323298" y="26939"/>
                </a:lnTo>
                <a:lnTo>
                  <a:pt x="330644" y="39442"/>
                </a:lnTo>
                <a:lnTo>
                  <a:pt x="333469" y="53253"/>
                </a:lnTo>
                <a:lnTo>
                  <a:pt x="331582" y="67189"/>
                </a:lnTo>
                <a:cubicBezTo>
                  <a:pt x="331281" y="68339"/>
                  <a:pt x="330040" y="68957"/>
                  <a:pt x="328892" y="68654"/>
                </a:cubicBezTo>
                <a:cubicBezTo>
                  <a:pt x="327823" y="68172"/>
                  <a:pt x="327253" y="67057"/>
                  <a:pt x="327554" y="65908"/>
                </a:cubicBezTo>
                <a:cubicBezTo>
                  <a:pt x="330052" y="57712"/>
                  <a:pt x="329865" y="49056"/>
                  <a:pt x="326774" y="40910"/>
                </a:cubicBezTo>
                <a:cubicBezTo>
                  <a:pt x="323634" y="32636"/>
                  <a:pt x="317754" y="25697"/>
                  <a:pt x="310191" y="21319"/>
                </a:cubicBezTo>
                <a:cubicBezTo>
                  <a:pt x="309656" y="21078"/>
                  <a:pt x="309380" y="20740"/>
                  <a:pt x="309184" y="20222"/>
                </a:cubicBezTo>
                <a:cubicBezTo>
                  <a:pt x="308987" y="19705"/>
                  <a:pt x="309049" y="19090"/>
                  <a:pt x="309418" y="18506"/>
                </a:cubicBezTo>
                <a:cubicBezTo>
                  <a:pt x="309898" y="17437"/>
                  <a:pt x="311237" y="17076"/>
                  <a:pt x="312225" y="17737"/>
                </a:cubicBezTo>
                <a:close/>
                <a:moveTo>
                  <a:pt x="322945" y="332"/>
                </a:moveTo>
                <a:cubicBezTo>
                  <a:pt x="335412" y="7694"/>
                  <a:pt x="344628" y="18649"/>
                  <a:pt x="349765" y="32185"/>
                </a:cubicBezTo>
                <a:cubicBezTo>
                  <a:pt x="354804" y="45463"/>
                  <a:pt x="355257" y="59596"/>
                  <a:pt x="351155" y="73098"/>
                </a:cubicBezTo>
                <a:cubicBezTo>
                  <a:pt x="350847" y="74247"/>
                  <a:pt x="349595" y="74870"/>
                  <a:pt x="348440" y="74571"/>
                </a:cubicBezTo>
                <a:cubicBezTo>
                  <a:pt x="347415" y="74222"/>
                  <a:pt x="346665" y="73032"/>
                  <a:pt x="347022" y="72012"/>
                </a:cubicBezTo>
                <a:cubicBezTo>
                  <a:pt x="350848" y="59351"/>
                  <a:pt x="350429" y="46091"/>
                  <a:pt x="345732" y="33715"/>
                </a:cubicBezTo>
                <a:cubicBezTo>
                  <a:pt x="340938" y="21082"/>
                  <a:pt x="332275" y="10802"/>
                  <a:pt x="320704" y="3837"/>
                </a:cubicBezTo>
                <a:cubicBezTo>
                  <a:pt x="320346" y="3678"/>
                  <a:pt x="320020" y="3212"/>
                  <a:pt x="319874" y="2825"/>
                </a:cubicBezTo>
                <a:cubicBezTo>
                  <a:pt x="319629" y="2181"/>
                  <a:pt x="319693" y="1566"/>
                  <a:pt x="320067" y="982"/>
                </a:cubicBezTo>
                <a:cubicBezTo>
                  <a:pt x="320603" y="42"/>
                  <a:pt x="321952" y="-323"/>
                  <a:pt x="322945" y="33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27" name="Rad 444"/>
          <p:cNvSpPr/>
          <p:nvPr userDrawn="1"/>
        </p:nvSpPr>
        <p:spPr>
          <a:xfrm>
            <a:off x="1721882" y="4099805"/>
            <a:ext cx="226739" cy="144000"/>
          </a:xfrm>
          <a:custGeom>
            <a:avLst/>
            <a:gdLst/>
            <a:ahLst/>
            <a:cxnLst/>
            <a:rect l="l" t="t" r="r" b="b"/>
            <a:pathLst>
              <a:path w="226739" h="144000">
                <a:moveTo>
                  <a:pt x="195209" y="47175"/>
                </a:moveTo>
                <a:lnTo>
                  <a:pt x="221773" y="47175"/>
                </a:lnTo>
                <a:cubicBezTo>
                  <a:pt x="223561" y="47175"/>
                  <a:pt x="225011" y="48425"/>
                  <a:pt x="225011" y="49966"/>
                </a:cubicBezTo>
                <a:cubicBezTo>
                  <a:pt x="225011" y="51507"/>
                  <a:pt x="223561" y="52757"/>
                  <a:pt x="221773" y="52757"/>
                </a:cubicBezTo>
                <a:lnTo>
                  <a:pt x="195209" y="52757"/>
                </a:lnTo>
                <a:cubicBezTo>
                  <a:pt x="193420" y="52757"/>
                  <a:pt x="191971" y="51507"/>
                  <a:pt x="191971" y="49966"/>
                </a:cubicBezTo>
                <a:cubicBezTo>
                  <a:pt x="191971" y="48425"/>
                  <a:pt x="193420" y="47175"/>
                  <a:pt x="195209" y="47175"/>
                </a:cubicBezTo>
                <a:close/>
                <a:moveTo>
                  <a:pt x="157056" y="47175"/>
                </a:moveTo>
                <a:lnTo>
                  <a:pt x="157174" y="47175"/>
                </a:lnTo>
                <a:lnTo>
                  <a:pt x="183620" y="47175"/>
                </a:lnTo>
                <a:lnTo>
                  <a:pt x="183737" y="47175"/>
                </a:lnTo>
                <a:cubicBezTo>
                  <a:pt x="185526" y="47175"/>
                  <a:pt x="186976" y="48425"/>
                  <a:pt x="186976" y="49966"/>
                </a:cubicBezTo>
                <a:cubicBezTo>
                  <a:pt x="186976" y="51507"/>
                  <a:pt x="185526" y="52757"/>
                  <a:pt x="183737" y="52757"/>
                </a:cubicBezTo>
                <a:lnTo>
                  <a:pt x="183620" y="52757"/>
                </a:lnTo>
                <a:lnTo>
                  <a:pt x="157174" y="52757"/>
                </a:lnTo>
                <a:lnTo>
                  <a:pt x="157056" y="52757"/>
                </a:lnTo>
                <a:cubicBezTo>
                  <a:pt x="155268" y="52757"/>
                  <a:pt x="153818" y="51507"/>
                  <a:pt x="153818" y="49966"/>
                </a:cubicBezTo>
                <a:cubicBezTo>
                  <a:pt x="153818" y="48425"/>
                  <a:pt x="155268" y="47175"/>
                  <a:pt x="157056" y="47175"/>
                </a:cubicBezTo>
                <a:close/>
                <a:moveTo>
                  <a:pt x="119021" y="47175"/>
                </a:moveTo>
                <a:lnTo>
                  <a:pt x="145585" y="47175"/>
                </a:lnTo>
                <a:lnTo>
                  <a:pt x="147875" y="47993"/>
                </a:lnTo>
                <a:lnTo>
                  <a:pt x="148823" y="49966"/>
                </a:lnTo>
                <a:lnTo>
                  <a:pt x="147875" y="51940"/>
                </a:lnTo>
                <a:cubicBezTo>
                  <a:pt x="147289" y="52445"/>
                  <a:pt x="146479" y="52757"/>
                  <a:pt x="145585" y="52757"/>
                </a:cubicBezTo>
                <a:lnTo>
                  <a:pt x="119021" y="52757"/>
                </a:lnTo>
                <a:cubicBezTo>
                  <a:pt x="117233" y="52757"/>
                  <a:pt x="115783" y="51507"/>
                  <a:pt x="115783" y="49966"/>
                </a:cubicBezTo>
                <a:cubicBezTo>
                  <a:pt x="115783" y="48425"/>
                  <a:pt x="117233" y="47175"/>
                  <a:pt x="119021" y="47175"/>
                </a:cubicBezTo>
                <a:close/>
                <a:moveTo>
                  <a:pt x="43093" y="47175"/>
                </a:moveTo>
                <a:lnTo>
                  <a:pt x="69657" y="47175"/>
                </a:lnTo>
                <a:lnTo>
                  <a:pt x="71947" y="47993"/>
                </a:lnTo>
                <a:lnTo>
                  <a:pt x="72895" y="49966"/>
                </a:lnTo>
                <a:lnTo>
                  <a:pt x="71947" y="51940"/>
                </a:lnTo>
                <a:cubicBezTo>
                  <a:pt x="71360" y="52445"/>
                  <a:pt x="70551" y="52757"/>
                  <a:pt x="69657" y="52757"/>
                </a:cubicBezTo>
                <a:lnTo>
                  <a:pt x="43093" y="52757"/>
                </a:lnTo>
                <a:cubicBezTo>
                  <a:pt x="41304" y="52757"/>
                  <a:pt x="39855" y="51507"/>
                  <a:pt x="39855" y="49966"/>
                </a:cubicBezTo>
                <a:cubicBezTo>
                  <a:pt x="39855" y="48425"/>
                  <a:pt x="41304" y="47175"/>
                  <a:pt x="43093" y="47175"/>
                </a:cubicBezTo>
                <a:close/>
                <a:moveTo>
                  <a:pt x="4940" y="47175"/>
                </a:moveTo>
                <a:lnTo>
                  <a:pt x="31504" y="47175"/>
                </a:lnTo>
                <a:cubicBezTo>
                  <a:pt x="33293" y="47175"/>
                  <a:pt x="34742" y="48425"/>
                  <a:pt x="34742" y="49966"/>
                </a:cubicBezTo>
                <a:cubicBezTo>
                  <a:pt x="34742" y="51507"/>
                  <a:pt x="33293" y="52757"/>
                  <a:pt x="31504" y="52757"/>
                </a:cubicBezTo>
                <a:lnTo>
                  <a:pt x="4940" y="52757"/>
                </a:lnTo>
                <a:cubicBezTo>
                  <a:pt x="3152" y="52757"/>
                  <a:pt x="1702" y="51507"/>
                  <a:pt x="1702" y="49966"/>
                </a:cubicBezTo>
                <a:cubicBezTo>
                  <a:pt x="1702" y="48425"/>
                  <a:pt x="3152" y="47175"/>
                  <a:pt x="4940" y="47175"/>
                </a:cubicBezTo>
                <a:close/>
                <a:moveTo>
                  <a:pt x="95068" y="19385"/>
                </a:moveTo>
                <a:cubicBezTo>
                  <a:pt x="96206" y="19385"/>
                  <a:pt x="97128" y="20378"/>
                  <a:pt x="97128" y="21603"/>
                </a:cubicBezTo>
                <a:lnTo>
                  <a:pt x="97146" y="21603"/>
                </a:lnTo>
                <a:lnTo>
                  <a:pt x="99270" y="47175"/>
                </a:lnTo>
                <a:lnTo>
                  <a:pt x="107432" y="47175"/>
                </a:lnTo>
                <a:lnTo>
                  <a:pt x="107809" y="47175"/>
                </a:lnTo>
                <a:cubicBezTo>
                  <a:pt x="109598" y="47175"/>
                  <a:pt x="111048" y="48425"/>
                  <a:pt x="111048" y="49966"/>
                </a:cubicBezTo>
                <a:cubicBezTo>
                  <a:pt x="111048" y="51507"/>
                  <a:pt x="109598" y="52757"/>
                  <a:pt x="107809" y="52757"/>
                </a:cubicBezTo>
                <a:lnTo>
                  <a:pt x="107432" y="52757"/>
                </a:lnTo>
                <a:lnTo>
                  <a:pt x="99734" y="52757"/>
                </a:lnTo>
                <a:lnTo>
                  <a:pt x="105816" y="125991"/>
                </a:lnTo>
                <a:lnTo>
                  <a:pt x="118008" y="104378"/>
                </a:lnTo>
                <a:cubicBezTo>
                  <a:pt x="118295" y="103870"/>
                  <a:pt x="118705" y="103473"/>
                  <a:pt x="119205" y="103252"/>
                </a:cubicBezTo>
                <a:cubicBezTo>
                  <a:pt x="120149" y="102275"/>
                  <a:pt x="121674" y="102068"/>
                  <a:pt x="122893" y="102801"/>
                </a:cubicBezTo>
                <a:lnTo>
                  <a:pt x="137269" y="111447"/>
                </a:lnTo>
                <a:lnTo>
                  <a:pt x="155601" y="84196"/>
                </a:lnTo>
                <a:cubicBezTo>
                  <a:pt x="156131" y="83408"/>
                  <a:pt x="156960" y="82942"/>
                  <a:pt x="157848" y="82975"/>
                </a:cubicBezTo>
                <a:cubicBezTo>
                  <a:pt x="158075" y="82873"/>
                  <a:pt x="158314" y="82853"/>
                  <a:pt x="158551" y="82906"/>
                </a:cubicBezTo>
                <a:cubicBezTo>
                  <a:pt x="158624" y="82863"/>
                  <a:pt x="158690" y="82873"/>
                  <a:pt x="158756" y="82886"/>
                </a:cubicBezTo>
                <a:lnTo>
                  <a:pt x="158898" y="82945"/>
                </a:lnTo>
                <a:cubicBezTo>
                  <a:pt x="159855" y="83027"/>
                  <a:pt x="160727" y="83601"/>
                  <a:pt x="161205" y="84515"/>
                </a:cubicBezTo>
                <a:lnTo>
                  <a:pt x="170114" y="101524"/>
                </a:lnTo>
                <a:lnTo>
                  <a:pt x="200734" y="101524"/>
                </a:lnTo>
                <a:cubicBezTo>
                  <a:pt x="200839" y="101462"/>
                  <a:pt x="200948" y="101458"/>
                  <a:pt x="201058" y="101458"/>
                </a:cubicBezTo>
                <a:lnTo>
                  <a:pt x="221369" y="101458"/>
                </a:lnTo>
                <a:cubicBezTo>
                  <a:pt x="224335" y="101458"/>
                  <a:pt x="226739" y="103863"/>
                  <a:pt x="226739" y="106828"/>
                </a:cubicBezTo>
                <a:cubicBezTo>
                  <a:pt x="226739" y="109794"/>
                  <a:pt x="224335" y="112198"/>
                  <a:pt x="221369" y="112198"/>
                </a:cubicBezTo>
                <a:lnTo>
                  <a:pt x="201058" y="112198"/>
                </a:lnTo>
                <a:lnTo>
                  <a:pt x="200748" y="112136"/>
                </a:lnTo>
                <a:lnTo>
                  <a:pt x="170024" y="112136"/>
                </a:lnTo>
                <a:cubicBezTo>
                  <a:pt x="169584" y="112136"/>
                  <a:pt x="169166" y="112044"/>
                  <a:pt x="168790" y="111872"/>
                </a:cubicBezTo>
                <a:cubicBezTo>
                  <a:pt x="167482" y="112201"/>
                  <a:pt x="166086" y="111586"/>
                  <a:pt x="165429" y="110332"/>
                </a:cubicBezTo>
                <a:lnTo>
                  <a:pt x="157996" y="96141"/>
                </a:lnTo>
                <a:lnTo>
                  <a:pt x="141768" y="120264"/>
                </a:lnTo>
                <a:cubicBezTo>
                  <a:pt x="141499" y="120663"/>
                  <a:pt x="141154" y="120980"/>
                  <a:pt x="140752" y="121185"/>
                </a:cubicBezTo>
                <a:cubicBezTo>
                  <a:pt x="140750" y="121309"/>
                  <a:pt x="140696" y="121410"/>
                  <a:pt x="140636" y="121509"/>
                </a:cubicBezTo>
                <a:cubicBezTo>
                  <a:pt x="139757" y="122972"/>
                  <a:pt x="137858" y="123445"/>
                  <a:pt x="136396" y="122565"/>
                </a:cubicBezTo>
                <a:lnTo>
                  <a:pt x="122171" y="114010"/>
                </a:lnTo>
                <a:lnTo>
                  <a:pt x="106139" y="142428"/>
                </a:lnTo>
                <a:cubicBezTo>
                  <a:pt x="105301" y="143914"/>
                  <a:pt x="103416" y="144440"/>
                  <a:pt x="101929" y="143601"/>
                </a:cubicBezTo>
                <a:cubicBezTo>
                  <a:pt x="100859" y="142997"/>
                  <a:pt x="100287" y="141851"/>
                  <a:pt x="100388" y="140704"/>
                </a:cubicBezTo>
                <a:lnTo>
                  <a:pt x="100384" y="140698"/>
                </a:lnTo>
                <a:lnTo>
                  <a:pt x="94017" y="63137"/>
                </a:lnTo>
                <a:lnTo>
                  <a:pt x="86492" y="120494"/>
                </a:lnTo>
                <a:lnTo>
                  <a:pt x="86227" y="120456"/>
                </a:lnTo>
                <a:cubicBezTo>
                  <a:pt x="86206" y="120881"/>
                  <a:pt x="86082" y="121306"/>
                  <a:pt x="85862" y="121703"/>
                </a:cubicBezTo>
                <a:cubicBezTo>
                  <a:pt x="85034" y="123196"/>
                  <a:pt x="83153" y="123734"/>
                  <a:pt x="81660" y="122907"/>
                </a:cubicBezTo>
                <a:lnTo>
                  <a:pt x="62249" y="112136"/>
                </a:lnTo>
                <a:lnTo>
                  <a:pt x="25991" y="112136"/>
                </a:lnTo>
                <a:cubicBezTo>
                  <a:pt x="25890" y="112195"/>
                  <a:pt x="25786" y="112198"/>
                  <a:pt x="25681" y="112198"/>
                </a:cubicBezTo>
                <a:lnTo>
                  <a:pt x="5370" y="112198"/>
                </a:lnTo>
                <a:cubicBezTo>
                  <a:pt x="2404" y="112198"/>
                  <a:pt x="0" y="109794"/>
                  <a:pt x="0" y="106828"/>
                </a:cubicBezTo>
                <a:cubicBezTo>
                  <a:pt x="0" y="103863"/>
                  <a:pt x="2404" y="101458"/>
                  <a:pt x="5370" y="101458"/>
                </a:cubicBezTo>
                <a:lnTo>
                  <a:pt x="25681" y="101458"/>
                </a:lnTo>
                <a:lnTo>
                  <a:pt x="26005" y="101524"/>
                </a:lnTo>
                <a:lnTo>
                  <a:pt x="62697" y="101524"/>
                </a:lnTo>
                <a:lnTo>
                  <a:pt x="63720" y="101730"/>
                </a:lnTo>
                <a:cubicBezTo>
                  <a:pt x="63810" y="101729"/>
                  <a:pt x="63888" y="101761"/>
                  <a:pt x="63958" y="101806"/>
                </a:cubicBezTo>
                <a:cubicBezTo>
                  <a:pt x="64282" y="101826"/>
                  <a:pt x="64593" y="101937"/>
                  <a:pt x="64890" y="102102"/>
                </a:cubicBezTo>
                <a:lnTo>
                  <a:pt x="81083" y="111086"/>
                </a:lnTo>
                <a:lnTo>
                  <a:pt x="88827" y="52757"/>
                </a:lnTo>
                <a:lnTo>
                  <a:pt x="81246" y="52757"/>
                </a:lnTo>
                <a:lnTo>
                  <a:pt x="80869" y="52757"/>
                </a:lnTo>
                <a:cubicBezTo>
                  <a:pt x="79080" y="52757"/>
                  <a:pt x="77630" y="51507"/>
                  <a:pt x="77630" y="49966"/>
                </a:cubicBezTo>
                <a:cubicBezTo>
                  <a:pt x="77630" y="48425"/>
                  <a:pt x="79080" y="47175"/>
                  <a:pt x="80869" y="47175"/>
                </a:cubicBezTo>
                <a:lnTo>
                  <a:pt x="81246" y="47175"/>
                </a:lnTo>
                <a:lnTo>
                  <a:pt x="89568" y="47175"/>
                </a:lnTo>
                <a:lnTo>
                  <a:pt x="92963" y="21603"/>
                </a:lnTo>
                <a:lnTo>
                  <a:pt x="93008" y="21603"/>
                </a:lnTo>
                <a:cubicBezTo>
                  <a:pt x="93008" y="20378"/>
                  <a:pt x="93931" y="19385"/>
                  <a:pt x="95068" y="19385"/>
                </a:cubicBezTo>
                <a:close/>
                <a:moveTo>
                  <a:pt x="96004" y="0"/>
                </a:moveTo>
                <a:cubicBezTo>
                  <a:pt x="106780" y="0"/>
                  <a:pt x="115515" y="8735"/>
                  <a:pt x="115515" y="19510"/>
                </a:cubicBezTo>
                <a:cubicBezTo>
                  <a:pt x="115515" y="26170"/>
                  <a:pt x="112178" y="32051"/>
                  <a:pt x="106880" y="35275"/>
                </a:cubicBezTo>
                <a:lnTo>
                  <a:pt x="105151" y="30630"/>
                </a:lnTo>
                <a:cubicBezTo>
                  <a:pt x="108533" y="28109"/>
                  <a:pt x="110606" y="24052"/>
                  <a:pt x="110606" y="19510"/>
                </a:cubicBezTo>
                <a:cubicBezTo>
                  <a:pt x="110606" y="11446"/>
                  <a:pt x="104069" y="4909"/>
                  <a:pt x="96004" y="4909"/>
                </a:cubicBezTo>
                <a:cubicBezTo>
                  <a:pt x="87939" y="4909"/>
                  <a:pt x="81402" y="11446"/>
                  <a:pt x="81402" y="19510"/>
                </a:cubicBezTo>
                <a:cubicBezTo>
                  <a:pt x="81402" y="24052"/>
                  <a:pt x="83475" y="28109"/>
                  <a:pt x="86857" y="30630"/>
                </a:cubicBezTo>
                <a:lnTo>
                  <a:pt x="85128" y="35275"/>
                </a:lnTo>
                <a:cubicBezTo>
                  <a:pt x="79830" y="32051"/>
                  <a:pt x="76493" y="26170"/>
                  <a:pt x="76493" y="19510"/>
                </a:cubicBezTo>
                <a:cubicBezTo>
                  <a:pt x="76493" y="8735"/>
                  <a:pt x="85228" y="0"/>
                  <a:pt x="9600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8" name="Freeform 3011"/>
          <p:cNvSpPr>
            <a:spLocks noChangeAspect="1"/>
          </p:cNvSpPr>
          <p:nvPr userDrawn="1"/>
        </p:nvSpPr>
        <p:spPr bwMode="auto">
          <a:xfrm>
            <a:off x="6199420" y="4099786"/>
            <a:ext cx="145929" cy="144000"/>
          </a:xfrm>
          <a:custGeom>
            <a:avLst/>
            <a:gdLst/>
            <a:ahLst/>
            <a:cxnLst/>
            <a:rect l="l" t="t" r="r" b="b"/>
            <a:pathLst>
              <a:path w="145929" h="144000">
                <a:moveTo>
                  <a:pt x="91470" y="118488"/>
                </a:moveTo>
                <a:cubicBezTo>
                  <a:pt x="93033" y="118962"/>
                  <a:pt x="93128" y="120124"/>
                  <a:pt x="93128" y="121307"/>
                </a:cubicBezTo>
                <a:lnTo>
                  <a:pt x="92883" y="121899"/>
                </a:lnTo>
                <a:close/>
                <a:moveTo>
                  <a:pt x="94911" y="98446"/>
                </a:moveTo>
                <a:cubicBezTo>
                  <a:pt x="99762" y="101458"/>
                  <a:pt x="103351" y="105831"/>
                  <a:pt x="105351" y="111101"/>
                </a:cubicBezTo>
                <a:cubicBezTo>
                  <a:pt x="107253" y="116114"/>
                  <a:pt x="107551" y="121590"/>
                  <a:pt x="106129" y="126835"/>
                </a:cubicBezTo>
                <a:cubicBezTo>
                  <a:pt x="105822" y="127981"/>
                  <a:pt x="104704" y="128552"/>
                  <a:pt x="103552" y="128254"/>
                </a:cubicBezTo>
                <a:cubicBezTo>
                  <a:pt x="102401" y="127956"/>
                  <a:pt x="101702" y="126897"/>
                  <a:pt x="102009" y="125751"/>
                </a:cubicBezTo>
                <a:cubicBezTo>
                  <a:pt x="103156" y="121346"/>
                  <a:pt x="102941" y="116869"/>
                  <a:pt x="101331" y="112627"/>
                </a:cubicBezTo>
                <a:cubicBezTo>
                  <a:pt x="99672" y="108257"/>
                  <a:pt x="96636" y="104556"/>
                  <a:pt x="92547" y="101990"/>
                </a:cubicBezTo>
                <a:cubicBezTo>
                  <a:pt x="92190" y="101832"/>
                  <a:pt x="91865" y="101367"/>
                  <a:pt x="91719" y="100981"/>
                </a:cubicBezTo>
                <a:cubicBezTo>
                  <a:pt x="91475" y="100338"/>
                  <a:pt x="91539" y="99726"/>
                  <a:pt x="91912" y="99143"/>
                </a:cubicBezTo>
                <a:cubicBezTo>
                  <a:pt x="92575" y="98156"/>
                  <a:pt x="93921" y="97792"/>
                  <a:pt x="94911" y="98446"/>
                </a:cubicBezTo>
                <a:close/>
                <a:moveTo>
                  <a:pt x="104232" y="82833"/>
                </a:moveTo>
                <a:lnTo>
                  <a:pt x="115305" y="92035"/>
                </a:lnTo>
                <a:lnTo>
                  <a:pt x="122651" y="104538"/>
                </a:lnTo>
                <a:lnTo>
                  <a:pt x="125476" y="118349"/>
                </a:lnTo>
                <a:lnTo>
                  <a:pt x="123589" y="132285"/>
                </a:lnTo>
                <a:cubicBezTo>
                  <a:pt x="123288" y="133435"/>
                  <a:pt x="122047" y="134053"/>
                  <a:pt x="120899" y="133750"/>
                </a:cubicBezTo>
                <a:cubicBezTo>
                  <a:pt x="119830" y="133268"/>
                  <a:pt x="119260" y="132153"/>
                  <a:pt x="119561" y="131004"/>
                </a:cubicBezTo>
                <a:cubicBezTo>
                  <a:pt x="122059" y="122808"/>
                  <a:pt x="121872" y="114152"/>
                  <a:pt x="118781" y="106006"/>
                </a:cubicBezTo>
                <a:cubicBezTo>
                  <a:pt x="115641" y="97732"/>
                  <a:pt x="109761" y="90793"/>
                  <a:pt x="102198" y="86415"/>
                </a:cubicBezTo>
                <a:cubicBezTo>
                  <a:pt x="101663" y="86174"/>
                  <a:pt x="101387" y="85836"/>
                  <a:pt x="101191" y="85318"/>
                </a:cubicBezTo>
                <a:cubicBezTo>
                  <a:pt x="100994" y="84801"/>
                  <a:pt x="101056" y="84186"/>
                  <a:pt x="101425" y="83602"/>
                </a:cubicBezTo>
                <a:cubicBezTo>
                  <a:pt x="101905" y="82533"/>
                  <a:pt x="103244" y="82172"/>
                  <a:pt x="104232" y="82833"/>
                </a:cubicBezTo>
                <a:close/>
                <a:moveTo>
                  <a:pt x="114952" y="65428"/>
                </a:moveTo>
                <a:cubicBezTo>
                  <a:pt x="127419" y="72790"/>
                  <a:pt x="136635" y="83745"/>
                  <a:pt x="141772" y="97281"/>
                </a:cubicBezTo>
                <a:cubicBezTo>
                  <a:pt x="146811" y="110559"/>
                  <a:pt x="147264" y="124692"/>
                  <a:pt x="143162" y="138194"/>
                </a:cubicBezTo>
                <a:cubicBezTo>
                  <a:pt x="142854" y="139343"/>
                  <a:pt x="141602" y="139966"/>
                  <a:pt x="140447" y="139667"/>
                </a:cubicBezTo>
                <a:cubicBezTo>
                  <a:pt x="139422" y="139318"/>
                  <a:pt x="138672" y="138128"/>
                  <a:pt x="139029" y="137108"/>
                </a:cubicBezTo>
                <a:cubicBezTo>
                  <a:pt x="142855" y="124447"/>
                  <a:pt x="142436" y="111187"/>
                  <a:pt x="137739" y="98811"/>
                </a:cubicBezTo>
                <a:cubicBezTo>
                  <a:pt x="132945" y="86178"/>
                  <a:pt x="124282" y="75898"/>
                  <a:pt x="112711" y="68933"/>
                </a:cubicBezTo>
                <a:cubicBezTo>
                  <a:pt x="112353" y="68774"/>
                  <a:pt x="112027" y="68308"/>
                  <a:pt x="111881" y="67921"/>
                </a:cubicBezTo>
                <a:cubicBezTo>
                  <a:pt x="111636" y="67277"/>
                  <a:pt x="111700" y="66662"/>
                  <a:pt x="112074" y="66078"/>
                </a:cubicBezTo>
                <a:cubicBezTo>
                  <a:pt x="112610" y="65138"/>
                  <a:pt x="113959" y="64773"/>
                  <a:pt x="114952" y="65428"/>
                </a:cubicBezTo>
                <a:close/>
                <a:moveTo>
                  <a:pt x="60064" y="55515"/>
                </a:moveTo>
                <a:cubicBezTo>
                  <a:pt x="60494" y="55515"/>
                  <a:pt x="60923" y="55830"/>
                  <a:pt x="61209" y="56461"/>
                </a:cubicBezTo>
                <a:lnTo>
                  <a:pt x="65718" y="60321"/>
                </a:lnTo>
                <a:cubicBezTo>
                  <a:pt x="66362" y="60873"/>
                  <a:pt x="66362" y="60873"/>
                  <a:pt x="66362" y="60873"/>
                </a:cubicBezTo>
                <a:lnTo>
                  <a:pt x="74878" y="56461"/>
                </a:lnTo>
                <a:cubicBezTo>
                  <a:pt x="76095" y="55830"/>
                  <a:pt x="76095" y="55830"/>
                  <a:pt x="76095" y="55830"/>
                </a:cubicBezTo>
                <a:cubicBezTo>
                  <a:pt x="77240" y="55200"/>
                  <a:pt x="78385" y="55830"/>
                  <a:pt x="78957" y="56461"/>
                </a:cubicBezTo>
                <a:cubicBezTo>
                  <a:pt x="79530" y="57091"/>
                  <a:pt x="79530" y="58352"/>
                  <a:pt x="78957" y="59612"/>
                </a:cubicBezTo>
                <a:cubicBezTo>
                  <a:pt x="65217" y="80412"/>
                  <a:pt x="65217" y="80412"/>
                  <a:pt x="65217" y="80412"/>
                </a:cubicBezTo>
                <a:lnTo>
                  <a:pt x="65217" y="96800"/>
                </a:lnTo>
                <a:lnTo>
                  <a:pt x="60637" y="81909"/>
                </a:lnTo>
                <a:cubicBezTo>
                  <a:pt x="60637" y="79782"/>
                  <a:pt x="60637" y="79782"/>
                  <a:pt x="60637" y="79782"/>
                </a:cubicBezTo>
                <a:cubicBezTo>
                  <a:pt x="60637" y="79152"/>
                  <a:pt x="61209" y="79152"/>
                  <a:pt x="61209" y="78521"/>
                </a:cubicBezTo>
                <a:lnTo>
                  <a:pt x="69726" y="65836"/>
                </a:lnTo>
                <a:cubicBezTo>
                  <a:pt x="70942" y="64024"/>
                  <a:pt x="70942" y="64024"/>
                  <a:pt x="70942" y="64024"/>
                </a:cubicBezTo>
                <a:cubicBezTo>
                  <a:pt x="66362" y="66546"/>
                  <a:pt x="65217" y="65915"/>
                  <a:pt x="64645" y="65285"/>
                </a:cubicBezTo>
                <a:lnTo>
                  <a:pt x="60064" y="60873"/>
                </a:lnTo>
                <a:lnTo>
                  <a:pt x="55484" y="65285"/>
                </a:lnTo>
                <a:cubicBezTo>
                  <a:pt x="54912" y="65915"/>
                  <a:pt x="53767" y="65915"/>
                  <a:pt x="53194" y="65285"/>
                </a:cubicBezTo>
                <a:lnTo>
                  <a:pt x="48614" y="60873"/>
                </a:lnTo>
                <a:lnTo>
                  <a:pt x="43604" y="65836"/>
                </a:lnTo>
                <a:cubicBezTo>
                  <a:pt x="42889" y="66546"/>
                  <a:pt x="42889" y="66546"/>
                  <a:pt x="42889" y="66546"/>
                </a:cubicBezTo>
                <a:cubicBezTo>
                  <a:pt x="42316" y="66546"/>
                  <a:pt x="41171" y="67176"/>
                  <a:pt x="40599" y="66546"/>
                </a:cubicBezTo>
                <a:lnTo>
                  <a:pt x="45179" y="77339"/>
                </a:lnTo>
                <a:cubicBezTo>
                  <a:pt x="46324" y="79152"/>
                  <a:pt x="46324" y="79152"/>
                  <a:pt x="46324" y="79152"/>
                </a:cubicBezTo>
                <a:cubicBezTo>
                  <a:pt x="46331" y="79159"/>
                  <a:pt x="46897" y="79786"/>
                  <a:pt x="46897" y="80412"/>
                </a:cubicBezTo>
                <a:lnTo>
                  <a:pt x="46897" y="94752"/>
                </a:lnTo>
                <a:cubicBezTo>
                  <a:pt x="46897" y="96800"/>
                  <a:pt x="46897" y="96800"/>
                  <a:pt x="46897" y="96800"/>
                </a:cubicBezTo>
                <a:lnTo>
                  <a:pt x="42316" y="83012"/>
                </a:lnTo>
                <a:cubicBezTo>
                  <a:pt x="42316" y="81042"/>
                  <a:pt x="42316" y="81042"/>
                  <a:pt x="42316" y="81042"/>
                </a:cubicBezTo>
                <a:cubicBezTo>
                  <a:pt x="28576" y="59612"/>
                  <a:pt x="28576" y="59612"/>
                  <a:pt x="28576" y="59612"/>
                </a:cubicBezTo>
                <a:cubicBezTo>
                  <a:pt x="28004" y="58982"/>
                  <a:pt x="28004" y="57721"/>
                  <a:pt x="28576" y="57091"/>
                </a:cubicBezTo>
                <a:cubicBezTo>
                  <a:pt x="29149" y="55830"/>
                  <a:pt x="30294" y="55830"/>
                  <a:pt x="31439" y="56461"/>
                </a:cubicBezTo>
                <a:lnTo>
                  <a:pt x="39955" y="60873"/>
                </a:lnTo>
                <a:cubicBezTo>
                  <a:pt x="41171" y="61503"/>
                  <a:pt x="41171" y="61503"/>
                  <a:pt x="41171" y="61503"/>
                </a:cubicBezTo>
                <a:lnTo>
                  <a:pt x="46682" y="57091"/>
                </a:lnTo>
                <a:cubicBezTo>
                  <a:pt x="47469" y="56461"/>
                  <a:pt x="47469" y="56461"/>
                  <a:pt x="47469" y="56461"/>
                </a:cubicBezTo>
                <a:cubicBezTo>
                  <a:pt x="48042" y="55200"/>
                  <a:pt x="49187" y="55830"/>
                  <a:pt x="50332" y="56461"/>
                </a:cubicBezTo>
                <a:lnTo>
                  <a:pt x="54339" y="60242"/>
                </a:lnTo>
                <a:lnTo>
                  <a:pt x="58919" y="56461"/>
                </a:lnTo>
                <a:cubicBezTo>
                  <a:pt x="59206" y="55830"/>
                  <a:pt x="59635" y="55515"/>
                  <a:pt x="60064" y="55515"/>
                </a:cubicBezTo>
                <a:close/>
                <a:moveTo>
                  <a:pt x="53767" y="4450"/>
                </a:moveTo>
                <a:cubicBezTo>
                  <a:pt x="26530" y="4450"/>
                  <a:pt x="4450" y="24127"/>
                  <a:pt x="4450" y="48400"/>
                </a:cubicBezTo>
                <a:cubicBezTo>
                  <a:pt x="4450" y="60398"/>
                  <a:pt x="9845" y="71273"/>
                  <a:pt x="18644" y="79137"/>
                </a:cubicBezTo>
                <a:lnTo>
                  <a:pt x="23411" y="84391"/>
                </a:lnTo>
                <a:lnTo>
                  <a:pt x="23452" y="84374"/>
                </a:lnTo>
                <a:lnTo>
                  <a:pt x="39932" y="102046"/>
                </a:lnTo>
                <a:cubicBezTo>
                  <a:pt x="40650" y="101743"/>
                  <a:pt x="41427" y="101600"/>
                  <a:pt x="42226" y="101600"/>
                </a:cubicBezTo>
                <a:cubicBezTo>
                  <a:pt x="65308" y="101600"/>
                  <a:pt x="65308" y="101600"/>
                  <a:pt x="65308" y="101600"/>
                </a:cubicBezTo>
                <a:cubicBezTo>
                  <a:pt x="66046" y="101600"/>
                  <a:pt x="66765" y="101722"/>
                  <a:pt x="67435" y="101988"/>
                </a:cubicBezTo>
                <a:lnTo>
                  <a:pt x="83335" y="84938"/>
                </a:lnTo>
                <a:lnTo>
                  <a:pt x="83380" y="84957"/>
                </a:lnTo>
                <a:lnTo>
                  <a:pt x="87604" y="80302"/>
                </a:lnTo>
                <a:lnTo>
                  <a:pt x="87789" y="80161"/>
                </a:lnTo>
                <a:lnTo>
                  <a:pt x="88243" y="79674"/>
                </a:lnTo>
                <a:lnTo>
                  <a:pt x="88286" y="79714"/>
                </a:lnTo>
                <a:cubicBezTo>
                  <a:pt x="97432" y="71784"/>
                  <a:pt x="103083" y="60680"/>
                  <a:pt x="103083" y="48400"/>
                </a:cubicBezTo>
                <a:cubicBezTo>
                  <a:pt x="103083" y="24127"/>
                  <a:pt x="81004" y="4450"/>
                  <a:pt x="53767" y="4450"/>
                </a:cubicBezTo>
                <a:close/>
                <a:moveTo>
                  <a:pt x="53767" y="0"/>
                </a:moveTo>
                <a:cubicBezTo>
                  <a:pt x="83461" y="0"/>
                  <a:pt x="107533" y="21669"/>
                  <a:pt x="107533" y="48400"/>
                </a:cubicBezTo>
                <a:cubicBezTo>
                  <a:pt x="107533" y="61856"/>
                  <a:pt x="101433" y="74029"/>
                  <a:pt x="91543" y="82751"/>
                </a:cubicBezTo>
                <a:lnTo>
                  <a:pt x="91563" y="82770"/>
                </a:lnTo>
                <a:lnTo>
                  <a:pt x="71088" y="104726"/>
                </a:lnTo>
                <a:cubicBezTo>
                  <a:pt x="72169" y="106154"/>
                  <a:pt x="72809" y="108020"/>
                  <a:pt x="72809" y="110112"/>
                </a:cubicBezTo>
                <a:lnTo>
                  <a:pt x="72809" y="124096"/>
                </a:lnTo>
                <a:cubicBezTo>
                  <a:pt x="72809" y="128083"/>
                  <a:pt x="69770" y="131537"/>
                  <a:pt x="66061" y="131916"/>
                </a:cubicBezTo>
                <a:cubicBezTo>
                  <a:pt x="65566" y="133502"/>
                  <a:pt x="64755" y="136100"/>
                  <a:pt x="63426" y="140359"/>
                </a:cubicBezTo>
                <a:cubicBezTo>
                  <a:pt x="63426" y="140966"/>
                  <a:pt x="62858" y="141572"/>
                  <a:pt x="62290" y="141572"/>
                </a:cubicBezTo>
                <a:cubicBezTo>
                  <a:pt x="62283" y="141574"/>
                  <a:pt x="62063" y="141642"/>
                  <a:pt x="54335" y="144000"/>
                </a:cubicBezTo>
                <a:cubicBezTo>
                  <a:pt x="53192" y="143998"/>
                  <a:pt x="52978" y="143933"/>
                  <a:pt x="45244" y="141572"/>
                </a:cubicBezTo>
                <a:cubicBezTo>
                  <a:pt x="44676" y="141572"/>
                  <a:pt x="44108" y="140966"/>
                  <a:pt x="44108" y="140359"/>
                </a:cubicBezTo>
                <a:cubicBezTo>
                  <a:pt x="44105" y="140352"/>
                  <a:pt x="44033" y="140119"/>
                  <a:pt x="41473" y="131916"/>
                </a:cubicBezTo>
                <a:cubicBezTo>
                  <a:pt x="37763" y="131537"/>
                  <a:pt x="34724" y="128083"/>
                  <a:pt x="34724" y="124096"/>
                </a:cubicBezTo>
                <a:lnTo>
                  <a:pt x="34724" y="111860"/>
                </a:lnTo>
                <a:cubicBezTo>
                  <a:pt x="34724" y="110112"/>
                  <a:pt x="34724" y="110112"/>
                  <a:pt x="34724" y="110112"/>
                </a:cubicBezTo>
                <a:cubicBezTo>
                  <a:pt x="34724" y="108084"/>
                  <a:pt x="35326" y="106268"/>
                  <a:pt x="36347" y="104858"/>
                </a:cubicBezTo>
                <a:lnTo>
                  <a:pt x="18380" y="85590"/>
                </a:lnTo>
                <a:lnTo>
                  <a:pt x="18324" y="85614"/>
                </a:lnTo>
                <a:lnTo>
                  <a:pt x="13687" y="80504"/>
                </a:lnTo>
                <a:cubicBezTo>
                  <a:pt x="5144" y="72032"/>
                  <a:pt x="0" y="60757"/>
                  <a:pt x="0" y="48400"/>
                </a:cubicBezTo>
                <a:cubicBezTo>
                  <a:pt x="0" y="21669"/>
                  <a:pt x="24072" y="0"/>
                  <a:pt x="5376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/>
          <a:lstStyle/>
          <a:p>
            <a:pPr defTabSz="457171"/>
            <a:endParaRPr lang="de-DE">
              <a:solidFill>
                <a:srgbClr val="000000"/>
              </a:solidFill>
              <a:cs typeface="+mn-cs"/>
            </a:endParaRPr>
          </a:p>
        </p:txBody>
      </p:sp>
      <p:sp>
        <p:nvSpPr>
          <p:cNvPr id="29" name="Rechteck 15"/>
          <p:cNvSpPr>
            <a:spLocks noChangeAspect="1"/>
          </p:cNvSpPr>
          <p:nvPr userDrawn="1"/>
        </p:nvSpPr>
        <p:spPr>
          <a:xfrm>
            <a:off x="1151620" y="4100146"/>
            <a:ext cx="140488" cy="144000"/>
          </a:xfrm>
          <a:custGeom>
            <a:avLst/>
            <a:gdLst/>
            <a:ahLst/>
            <a:cxnLst/>
            <a:rect l="l" t="t" r="r" b="b"/>
            <a:pathLst>
              <a:path w="2880000" h="2952000">
                <a:moveTo>
                  <a:pt x="0" y="0"/>
                </a:moveTo>
                <a:lnTo>
                  <a:pt x="144000" y="0"/>
                </a:lnTo>
                <a:lnTo>
                  <a:pt x="144000" y="2485477"/>
                </a:lnTo>
                <a:cubicBezTo>
                  <a:pt x="444309" y="2466093"/>
                  <a:pt x="723884" y="2394104"/>
                  <a:pt x="966815" y="2283942"/>
                </a:cubicBezTo>
                <a:cubicBezTo>
                  <a:pt x="985912" y="2275783"/>
                  <a:pt x="1004775" y="2267003"/>
                  <a:pt x="1022798" y="2256385"/>
                </a:cubicBezTo>
                <a:cubicBezTo>
                  <a:pt x="1056146" y="2241969"/>
                  <a:pt x="1088061" y="2225377"/>
                  <a:pt x="1118929" y="2207596"/>
                </a:cubicBezTo>
                <a:cubicBezTo>
                  <a:pt x="1712525" y="1886753"/>
                  <a:pt x="2204161" y="1280449"/>
                  <a:pt x="2422454" y="507594"/>
                </a:cubicBezTo>
                <a:lnTo>
                  <a:pt x="2459624" y="350979"/>
                </a:lnTo>
                <a:lnTo>
                  <a:pt x="2433620" y="350979"/>
                </a:lnTo>
                <a:lnTo>
                  <a:pt x="2638159" y="116382"/>
                </a:lnTo>
                <a:lnTo>
                  <a:pt x="2842698" y="350979"/>
                </a:lnTo>
                <a:lnTo>
                  <a:pt x="2794888" y="350979"/>
                </a:lnTo>
                <a:cubicBezTo>
                  <a:pt x="2779795" y="432904"/>
                  <a:pt x="2759926" y="514661"/>
                  <a:pt x="2736841" y="596393"/>
                </a:cubicBezTo>
                <a:cubicBezTo>
                  <a:pt x="2364310" y="1915315"/>
                  <a:pt x="1274470" y="2801647"/>
                  <a:pt x="144000" y="2798931"/>
                </a:cubicBezTo>
                <a:lnTo>
                  <a:pt x="144000" y="2808000"/>
                </a:lnTo>
                <a:lnTo>
                  <a:pt x="2880000" y="2808000"/>
                </a:lnTo>
                <a:lnTo>
                  <a:pt x="2880000" y="2952000"/>
                </a:lnTo>
                <a:lnTo>
                  <a:pt x="0" y="2952000"/>
                </a:lnTo>
                <a:lnTo>
                  <a:pt x="0" y="2880000"/>
                </a:lnTo>
                <a:lnTo>
                  <a:pt x="0" y="280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30" name="Abgerundetes Rechteck 20"/>
          <p:cNvSpPr>
            <a:spLocks noChangeAspect="1"/>
          </p:cNvSpPr>
          <p:nvPr userDrawn="1"/>
        </p:nvSpPr>
        <p:spPr>
          <a:xfrm>
            <a:off x="2441962" y="4097592"/>
            <a:ext cx="113814" cy="144000"/>
          </a:xfrm>
          <a:custGeom>
            <a:avLst/>
            <a:gdLst/>
            <a:ahLst/>
            <a:cxnLst/>
            <a:rect l="l" t="t" r="r" b="b"/>
            <a:pathLst>
              <a:path w="3942080" h="4987626">
                <a:moveTo>
                  <a:pt x="2627944" y="2319651"/>
                </a:moveTo>
                <a:cubicBezTo>
                  <a:pt x="2542661" y="2600955"/>
                  <a:pt x="2280581" y="2804161"/>
                  <a:pt x="1971040" y="2804161"/>
                </a:cubicBezTo>
                <a:cubicBezTo>
                  <a:pt x="1664276" y="2804161"/>
                  <a:pt x="1404126" y="2604585"/>
                  <a:pt x="1316468" y="2327166"/>
                </a:cubicBezTo>
                <a:lnTo>
                  <a:pt x="975173" y="2363502"/>
                </a:lnTo>
                <a:lnTo>
                  <a:pt x="497690" y="2417724"/>
                </a:lnTo>
                <a:cubicBezTo>
                  <a:pt x="380588" y="2417724"/>
                  <a:pt x="306613" y="2487889"/>
                  <a:pt x="306613" y="2604991"/>
                </a:cubicBezTo>
                <a:lnTo>
                  <a:pt x="306613" y="2958294"/>
                </a:lnTo>
                <a:lnTo>
                  <a:pt x="306000" y="2958060"/>
                </a:lnTo>
                <a:lnTo>
                  <a:pt x="306000" y="3648332"/>
                </a:lnTo>
                <a:lnTo>
                  <a:pt x="694896" y="3648332"/>
                </a:lnTo>
                <a:lnTo>
                  <a:pt x="694896" y="3267270"/>
                </a:lnTo>
                <a:cubicBezTo>
                  <a:pt x="694896" y="3182770"/>
                  <a:pt x="763396" y="3114270"/>
                  <a:pt x="847896" y="3114270"/>
                </a:cubicBezTo>
                <a:cubicBezTo>
                  <a:pt x="932396" y="3114270"/>
                  <a:pt x="1000896" y="3182770"/>
                  <a:pt x="1000896" y="3267270"/>
                </a:cubicBezTo>
                <a:lnTo>
                  <a:pt x="1000896" y="3801332"/>
                </a:lnTo>
                <a:lnTo>
                  <a:pt x="1000896" y="4681626"/>
                </a:lnTo>
                <a:lnTo>
                  <a:pt x="2942796" y="4681626"/>
                </a:lnTo>
                <a:lnTo>
                  <a:pt x="2942796" y="3809317"/>
                </a:lnTo>
                <a:lnTo>
                  <a:pt x="2941184" y="3801332"/>
                </a:lnTo>
                <a:cubicBezTo>
                  <a:pt x="2941184" y="3798629"/>
                  <a:pt x="2941254" y="3795943"/>
                  <a:pt x="2942796" y="3793347"/>
                </a:cubicBezTo>
                <a:lnTo>
                  <a:pt x="2942796" y="3267270"/>
                </a:lnTo>
                <a:cubicBezTo>
                  <a:pt x="2942796" y="3182770"/>
                  <a:pt x="3011296" y="3114270"/>
                  <a:pt x="3095796" y="3114270"/>
                </a:cubicBezTo>
                <a:cubicBezTo>
                  <a:pt x="3180296" y="3114270"/>
                  <a:pt x="3248796" y="3182770"/>
                  <a:pt x="3248796" y="3267270"/>
                </a:cubicBezTo>
                <a:lnTo>
                  <a:pt x="3248796" y="3648332"/>
                </a:lnTo>
                <a:lnTo>
                  <a:pt x="3636080" y="3648332"/>
                </a:lnTo>
                <a:lnTo>
                  <a:pt x="3636080" y="2948657"/>
                </a:lnTo>
                <a:lnTo>
                  <a:pt x="3632109" y="2950173"/>
                </a:lnTo>
                <a:lnTo>
                  <a:pt x="3632109" y="2596870"/>
                </a:lnTo>
                <a:cubicBezTo>
                  <a:pt x="3632109" y="2479768"/>
                  <a:pt x="3558134" y="2409603"/>
                  <a:pt x="3441033" y="2409603"/>
                </a:cubicBezTo>
                <a:lnTo>
                  <a:pt x="2963550" y="2355381"/>
                </a:lnTo>
                <a:close/>
                <a:moveTo>
                  <a:pt x="2428875" y="1995718"/>
                </a:moveTo>
                <a:lnTo>
                  <a:pt x="2553771" y="2008076"/>
                </a:lnTo>
                <a:lnTo>
                  <a:pt x="2574039" y="2006182"/>
                </a:lnTo>
                <a:lnTo>
                  <a:pt x="3421284" y="2096385"/>
                </a:lnTo>
                <a:lnTo>
                  <a:pt x="3425728" y="2096357"/>
                </a:lnTo>
                <a:cubicBezTo>
                  <a:pt x="3663468" y="2096357"/>
                  <a:pt x="3938110" y="2302419"/>
                  <a:pt x="3938110" y="2540158"/>
                </a:cubicBezTo>
                <a:cubicBezTo>
                  <a:pt x="3938110" y="2544099"/>
                  <a:pt x="3938057" y="2548028"/>
                  <a:pt x="3937140" y="2551922"/>
                </a:cubicBezTo>
                <a:cubicBezTo>
                  <a:pt x="3941388" y="2559562"/>
                  <a:pt x="3942080" y="2567895"/>
                  <a:pt x="3942080" y="2576390"/>
                </a:cubicBezTo>
                <a:lnTo>
                  <a:pt x="3942080" y="3801332"/>
                </a:lnTo>
                <a:lnTo>
                  <a:pt x="3930057" y="3860887"/>
                </a:lnTo>
                <a:lnTo>
                  <a:pt x="3897267" y="3909520"/>
                </a:lnTo>
                <a:lnTo>
                  <a:pt x="3848635" y="3942309"/>
                </a:lnTo>
                <a:cubicBezTo>
                  <a:pt x="3830330" y="3950051"/>
                  <a:pt x="3810205" y="3954332"/>
                  <a:pt x="3789080" y="3954332"/>
                </a:cubicBezTo>
                <a:lnTo>
                  <a:pt x="3248796" y="3954332"/>
                </a:lnTo>
                <a:lnTo>
                  <a:pt x="3248796" y="4834626"/>
                </a:lnTo>
                <a:lnTo>
                  <a:pt x="3236773" y="4894181"/>
                </a:lnTo>
                <a:lnTo>
                  <a:pt x="3203984" y="4942814"/>
                </a:lnTo>
                <a:lnTo>
                  <a:pt x="3155351" y="4975603"/>
                </a:lnTo>
                <a:cubicBezTo>
                  <a:pt x="3137046" y="4983345"/>
                  <a:pt x="3116921" y="4987626"/>
                  <a:pt x="3095796" y="4987626"/>
                </a:cubicBezTo>
                <a:lnTo>
                  <a:pt x="847896" y="4987626"/>
                </a:lnTo>
                <a:cubicBezTo>
                  <a:pt x="805646" y="4987626"/>
                  <a:pt x="767396" y="4970501"/>
                  <a:pt x="739708" y="4942814"/>
                </a:cubicBezTo>
                <a:cubicBezTo>
                  <a:pt x="725864" y="4928970"/>
                  <a:pt x="714661" y="4912486"/>
                  <a:pt x="706919" y="4894181"/>
                </a:cubicBezTo>
                <a:cubicBezTo>
                  <a:pt x="699177" y="4875876"/>
                  <a:pt x="694896" y="4855751"/>
                  <a:pt x="694896" y="4834626"/>
                </a:cubicBezTo>
                <a:lnTo>
                  <a:pt x="694896" y="3954332"/>
                </a:lnTo>
                <a:lnTo>
                  <a:pt x="153000" y="3954332"/>
                </a:lnTo>
                <a:cubicBezTo>
                  <a:pt x="110750" y="3954332"/>
                  <a:pt x="72500" y="3937207"/>
                  <a:pt x="44812" y="3909520"/>
                </a:cubicBezTo>
                <a:cubicBezTo>
                  <a:pt x="30968" y="3895676"/>
                  <a:pt x="19765" y="3879192"/>
                  <a:pt x="12023" y="3860887"/>
                </a:cubicBezTo>
                <a:cubicBezTo>
                  <a:pt x="4281" y="3842582"/>
                  <a:pt x="0" y="3822457"/>
                  <a:pt x="0" y="3801332"/>
                </a:cubicBezTo>
                <a:lnTo>
                  <a:pt x="0" y="2576390"/>
                </a:lnTo>
                <a:lnTo>
                  <a:pt x="2080" y="2566084"/>
                </a:lnTo>
                <a:cubicBezTo>
                  <a:pt x="735" y="2560209"/>
                  <a:pt x="613" y="2554258"/>
                  <a:pt x="613" y="2548279"/>
                </a:cubicBezTo>
                <a:cubicBezTo>
                  <a:pt x="612" y="2310540"/>
                  <a:pt x="275254" y="2104478"/>
                  <a:pt x="512994" y="2104478"/>
                </a:cubicBezTo>
                <a:lnTo>
                  <a:pt x="517438" y="2104506"/>
                </a:lnTo>
                <a:lnTo>
                  <a:pt x="1364683" y="2014303"/>
                </a:lnTo>
                <a:lnTo>
                  <a:pt x="1372446" y="2015029"/>
                </a:lnTo>
                <a:lnTo>
                  <a:pt x="1492885" y="2003338"/>
                </a:lnTo>
                <a:cubicBezTo>
                  <a:pt x="1516224" y="2020562"/>
                  <a:pt x="1545254" y="2036215"/>
                  <a:pt x="1578994" y="2049782"/>
                </a:cubicBezTo>
                <a:lnTo>
                  <a:pt x="1572717" y="2112051"/>
                </a:lnTo>
                <a:cubicBezTo>
                  <a:pt x="1572717" y="2332039"/>
                  <a:pt x="1751052" y="2510374"/>
                  <a:pt x="1971040" y="2510374"/>
                </a:cubicBezTo>
                <a:cubicBezTo>
                  <a:pt x="2191028" y="2510374"/>
                  <a:pt x="2369363" y="2332039"/>
                  <a:pt x="2369363" y="2112051"/>
                </a:cubicBezTo>
                <a:lnTo>
                  <a:pt x="2363001" y="2048941"/>
                </a:lnTo>
                <a:close/>
                <a:moveTo>
                  <a:pt x="1997750" y="299878"/>
                </a:moveTo>
                <a:cubicBezTo>
                  <a:pt x="1636593" y="299878"/>
                  <a:pt x="1343818" y="592653"/>
                  <a:pt x="1343818" y="953810"/>
                </a:cubicBezTo>
                <a:cubicBezTo>
                  <a:pt x="1343818" y="1314967"/>
                  <a:pt x="1636593" y="1607742"/>
                  <a:pt x="1997750" y="1607742"/>
                </a:cubicBezTo>
                <a:cubicBezTo>
                  <a:pt x="2358907" y="1607742"/>
                  <a:pt x="2651682" y="1314967"/>
                  <a:pt x="2651682" y="953810"/>
                </a:cubicBezTo>
                <a:cubicBezTo>
                  <a:pt x="2651682" y="592653"/>
                  <a:pt x="2358907" y="299878"/>
                  <a:pt x="1997750" y="299878"/>
                </a:cubicBezTo>
                <a:close/>
                <a:moveTo>
                  <a:pt x="1997750" y="0"/>
                </a:moveTo>
                <a:cubicBezTo>
                  <a:pt x="2524525" y="0"/>
                  <a:pt x="2951560" y="427035"/>
                  <a:pt x="2951560" y="953810"/>
                </a:cubicBezTo>
                <a:cubicBezTo>
                  <a:pt x="2951560" y="1480585"/>
                  <a:pt x="2524525" y="1907620"/>
                  <a:pt x="1997750" y="1907620"/>
                </a:cubicBezTo>
                <a:cubicBezTo>
                  <a:pt x="1470975" y="1907620"/>
                  <a:pt x="1043940" y="1480585"/>
                  <a:pt x="1043940" y="953810"/>
                </a:cubicBezTo>
                <a:cubicBezTo>
                  <a:pt x="1043940" y="427035"/>
                  <a:pt x="1470975" y="0"/>
                  <a:pt x="19977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33" name="Freeform 8">
            <a:hlinkClick r:id="" action="ppaction://noaction"/>
          </p:cNvPr>
          <p:cNvSpPr>
            <a:spLocks/>
          </p:cNvSpPr>
          <p:nvPr userDrawn="1"/>
        </p:nvSpPr>
        <p:spPr bwMode="auto">
          <a:xfrm>
            <a:off x="456719" y="4101914"/>
            <a:ext cx="310162" cy="252000"/>
          </a:xfrm>
          <a:custGeom>
            <a:avLst/>
            <a:gdLst/>
            <a:ahLst/>
            <a:cxnLst/>
            <a:rect l="l" t="t" r="r" b="b"/>
            <a:pathLst>
              <a:path w="310162" h="252000">
                <a:moveTo>
                  <a:pt x="226760" y="137340"/>
                </a:moveTo>
                <a:cubicBezTo>
                  <a:pt x="234168" y="136229"/>
                  <a:pt x="242006" y="139315"/>
                  <a:pt x="246396" y="146009"/>
                </a:cubicBezTo>
                <a:cubicBezTo>
                  <a:pt x="246400" y="146014"/>
                  <a:pt x="246879" y="146725"/>
                  <a:pt x="307431" y="236380"/>
                </a:cubicBezTo>
                <a:cubicBezTo>
                  <a:pt x="313284" y="245027"/>
                  <a:pt x="309382" y="252000"/>
                  <a:pt x="299070" y="252000"/>
                </a:cubicBezTo>
                <a:cubicBezTo>
                  <a:pt x="299063" y="252000"/>
                  <a:pt x="298104" y="252000"/>
                  <a:pt x="176442" y="252000"/>
                </a:cubicBezTo>
                <a:cubicBezTo>
                  <a:pt x="166130" y="252000"/>
                  <a:pt x="157490" y="243354"/>
                  <a:pt x="157490" y="233033"/>
                </a:cubicBezTo>
                <a:cubicBezTo>
                  <a:pt x="157490" y="233028"/>
                  <a:pt x="157490" y="232671"/>
                  <a:pt x="157490" y="210192"/>
                </a:cubicBezTo>
                <a:cubicBezTo>
                  <a:pt x="183338" y="209081"/>
                  <a:pt x="203890" y="187717"/>
                  <a:pt x="203890" y="161551"/>
                </a:cubicBezTo>
                <a:cubicBezTo>
                  <a:pt x="203890" y="157686"/>
                  <a:pt x="203441" y="153926"/>
                  <a:pt x="202477" y="150346"/>
                </a:cubicBezTo>
                <a:lnTo>
                  <a:pt x="219640" y="139872"/>
                </a:lnTo>
                <a:cubicBezTo>
                  <a:pt x="221870" y="138548"/>
                  <a:pt x="224291" y="137711"/>
                  <a:pt x="226760" y="137340"/>
                </a:cubicBezTo>
                <a:close/>
                <a:moveTo>
                  <a:pt x="83121" y="137340"/>
                </a:moveTo>
                <a:cubicBezTo>
                  <a:pt x="85590" y="137711"/>
                  <a:pt x="88011" y="138548"/>
                  <a:pt x="90240" y="139872"/>
                </a:cubicBezTo>
                <a:cubicBezTo>
                  <a:pt x="90247" y="139876"/>
                  <a:pt x="90565" y="140068"/>
                  <a:pt x="107541" y="150327"/>
                </a:cubicBezTo>
                <a:cubicBezTo>
                  <a:pt x="106573" y="153912"/>
                  <a:pt x="106123" y="157679"/>
                  <a:pt x="106123" y="161551"/>
                </a:cubicBezTo>
                <a:cubicBezTo>
                  <a:pt x="106123" y="187100"/>
                  <a:pt x="125717" y="208071"/>
                  <a:pt x="150716" y="210009"/>
                </a:cubicBezTo>
                <a:lnTo>
                  <a:pt x="150716" y="233033"/>
                </a:lnTo>
                <a:cubicBezTo>
                  <a:pt x="150716" y="243354"/>
                  <a:pt x="142355" y="252000"/>
                  <a:pt x="131765" y="252000"/>
                </a:cubicBezTo>
                <a:cubicBezTo>
                  <a:pt x="131754" y="252000"/>
                  <a:pt x="130624" y="252000"/>
                  <a:pt x="11093" y="252000"/>
                </a:cubicBezTo>
                <a:cubicBezTo>
                  <a:pt x="781" y="252000"/>
                  <a:pt x="-3121" y="245027"/>
                  <a:pt x="2732" y="236380"/>
                </a:cubicBezTo>
                <a:cubicBezTo>
                  <a:pt x="2737" y="236372"/>
                  <a:pt x="3301" y="235533"/>
                  <a:pt x="63486" y="146009"/>
                </a:cubicBezTo>
                <a:cubicBezTo>
                  <a:pt x="67876" y="139315"/>
                  <a:pt x="75714" y="136229"/>
                  <a:pt x="83121" y="137340"/>
                </a:cubicBezTo>
                <a:close/>
                <a:moveTo>
                  <a:pt x="154867" y="0"/>
                </a:moveTo>
                <a:cubicBezTo>
                  <a:pt x="158700" y="0"/>
                  <a:pt x="162532" y="2534"/>
                  <a:pt x="165459" y="7602"/>
                </a:cubicBezTo>
                <a:cubicBezTo>
                  <a:pt x="165463" y="7610"/>
                  <a:pt x="165987" y="8521"/>
                  <a:pt x="221481" y="105034"/>
                </a:cubicBezTo>
                <a:cubicBezTo>
                  <a:pt x="227334" y="115169"/>
                  <a:pt x="224826" y="128575"/>
                  <a:pt x="215907" y="134787"/>
                </a:cubicBezTo>
                <a:cubicBezTo>
                  <a:pt x="215897" y="134794"/>
                  <a:pt x="215533" y="135053"/>
                  <a:pt x="200950" y="145424"/>
                </a:cubicBezTo>
                <a:cubicBezTo>
                  <a:pt x="194462" y="126313"/>
                  <a:pt x="176329" y="112660"/>
                  <a:pt x="155007" y="112660"/>
                </a:cubicBezTo>
                <a:cubicBezTo>
                  <a:pt x="133685" y="112660"/>
                  <a:pt x="115551" y="126313"/>
                  <a:pt x="109064" y="145424"/>
                </a:cubicBezTo>
                <a:lnTo>
                  <a:pt x="94107" y="134787"/>
                </a:lnTo>
                <a:cubicBezTo>
                  <a:pt x="85188" y="128575"/>
                  <a:pt x="82679" y="115169"/>
                  <a:pt x="88532" y="105034"/>
                </a:cubicBezTo>
                <a:cubicBezTo>
                  <a:pt x="88537" y="105025"/>
                  <a:pt x="89059" y="104113"/>
                  <a:pt x="144276" y="7602"/>
                </a:cubicBezTo>
                <a:cubicBezTo>
                  <a:pt x="147203" y="2534"/>
                  <a:pt x="151035" y="0"/>
                  <a:pt x="15486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  <a:prstDash val="dash"/>
          </a:ln>
          <a:effectLst/>
        </p:spPr>
        <p:txBody>
          <a:bodyPr lIns="71424" tIns="37140" rIns="71424" bIns="37140" anchor="ctr"/>
          <a:lstStyle/>
          <a:p>
            <a:pPr algn="ctr" defTabSz="604723">
              <a:lnSpc>
                <a:spcPct val="90000"/>
              </a:lnSpc>
            </a:pPr>
            <a:endParaRPr lang="en-US" sz="1300">
              <a:solidFill>
                <a:srgbClr val="BEC8D2"/>
              </a:solidFill>
              <a:latin typeface="Nokia Pure Text Light"/>
            </a:endParaRPr>
          </a:p>
        </p:txBody>
      </p:sp>
      <p:sp>
        <p:nvSpPr>
          <p:cNvPr id="35" name="Abgerundetes Rechteck 40"/>
          <p:cNvSpPr>
            <a:spLocks noChangeAspect="1"/>
          </p:cNvSpPr>
          <p:nvPr userDrawn="1"/>
        </p:nvSpPr>
        <p:spPr>
          <a:xfrm>
            <a:off x="6588224" y="4099786"/>
            <a:ext cx="171802" cy="144000"/>
          </a:xfrm>
          <a:custGeom>
            <a:avLst/>
            <a:gdLst/>
            <a:ahLst/>
            <a:cxnLst/>
            <a:rect l="l" t="t" r="r" b="b"/>
            <a:pathLst>
              <a:path w="3926172" h="3290823">
                <a:moveTo>
                  <a:pt x="558130" y="1797303"/>
                </a:moveTo>
                <a:lnTo>
                  <a:pt x="1404130" y="1797303"/>
                </a:lnTo>
                <a:lnTo>
                  <a:pt x="1404130" y="2036063"/>
                </a:lnTo>
                <a:lnTo>
                  <a:pt x="558130" y="2036063"/>
                </a:lnTo>
                <a:close/>
                <a:moveTo>
                  <a:pt x="2832790" y="1493683"/>
                </a:moveTo>
                <a:lnTo>
                  <a:pt x="3071550" y="1493683"/>
                </a:lnTo>
                <a:lnTo>
                  <a:pt x="3071550" y="1797303"/>
                </a:lnTo>
                <a:lnTo>
                  <a:pt x="3375170" y="1797303"/>
                </a:lnTo>
                <a:lnTo>
                  <a:pt x="3375170" y="2036063"/>
                </a:lnTo>
                <a:lnTo>
                  <a:pt x="3071550" y="2036063"/>
                </a:lnTo>
                <a:lnTo>
                  <a:pt x="3071550" y="2339683"/>
                </a:lnTo>
                <a:lnTo>
                  <a:pt x="2832790" y="2339683"/>
                </a:lnTo>
                <a:lnTo>
                  <a:pt x="2832790" y="2036063"/>
                </a:lnTo>
                <a:lnTo>
                  <a:pt x="2529170" y="2036063"/>
                </a:lnTo>
                <a:lnTo>
                  <a:pt x="2529170" y="1797303"/>
                </a:lnTo>
                <a:lnTo>
                  <a:pt x="2832790" y="1797303"/>
                </a:lnTo>
                <a:close/>
                <a:moveTo>
                  <a:pt x="365810" y="705103"/>
                </a:moveTo>
                <a:cubicBezTo>
                  <a:pt x="251760" y="705103"/>
                  <a:pt x="159305" y="797558"/>
                  <a:pt x="159305" y="911608"/>
                </a:cubicBezTo>
                <a:lnTo>
                  <a:pt x="159305" y="2911598"/>
                </a:lnTo>
                <a:cubicBezTo>
                  <a:pt x="159305" y="3025648"/>
                  <a:pt x="251760" y="3118103"/>
                  <a:pt x="365810" y="3118103"/>
                </a:cubicBezTo>
                <a:lnTo>
                  <a:pt x="3556282" y="3118103"/>
                </a:lnTo>
                <a:cubicBezTo>
                  <a:pt x="3670332" y="3118103"/>
                  <a:pt x="3762787" y="3025648"/>
                  <a:pt x="3762787" y="2911598"/>
                </a:cubicBezTo>
                <a:lnTo>
                  <a:pt x="3762787" y="911608"/>
                </a:lnTo>
                <a:cubicBezTo>
                  <a:pt x="3762787" y="797558"/>
                  <a:pt x="3670332" y="705103"/>
                  <a:pt x="3556282" y="705103"/>
                </a:cubicBezTo>
                <a:close/>
                <a:moveTo>
                  <a:pt x="330199" y="547623"/>
                </a:moveTo>
                <a:lnTo>
                  <a:pt x="3595973" y="547623"/>
                </a:lnTo>
                <a:cubicBezTo>
                  <a:pt x="3778337" y="547623"/>
                  <a:pt x="3926172" y="695458"/>
                  <a:pt x="3926172" y="877822"/>
                </a:cubicBezTo>
                <a:lnTo>
                  <a:pt x="3926172" y="2960624"/>
                </a:lnTo>
                <a:cubicBezTo>
                  <a:pt x="3926172" y="3142988"/>
                  <a:pt x="3778337" y="3290823"/>
                  <a:pt x="3595973" y="3290823"/>
                </a:cubicBezTo>
                <a:lnTo>
                  <a:pt x="330199" y="3290823"/>
                </a:lnTo>
                <a:cubicBezTo>
                  <a:pt x="147835" y="3290823"/>
                  <a:pt x="0" y="3142988"/>
                  <a:pt x="0" y="2960624"/>
                </a:cubicBezTo>
                <a:lnTo>
                  <a:pt x="0" y="877822"/>
                </a:lnTo>
                <a:cubicBezTo>
                  <a:pt x="0" y="695458"/>
                  <a:pt x="147835" y="547623"/>
                  <a:pt x="330199" y="547623"/>
                </a:cubicBezTo>
                <a:close/>
                <a:moveTo>
                  <a:pt x="2694528" y="0"/>
                </a:moveTo>
                <a:lnTo>
                  <a:pt x="3194572" y="0"/>
                </a:lnTo>
                <a:cubicBezTo>
                  <a:pt x="3301326" y="0"/>
                  <a:pt x="3387868" y="86542"/>
                  <a:pt x="3387868" y="193296"/>
                </a:cubicBezTo>
                <a:lnTo>
                  <a:pt x="3387868" y="466747"/>
                </a:lnTo>
                <a:lnTo>
                  <a:pt x="3217512" y="466747"/>
                </a:lnTo>
                <a:lnTo>
                  <a:pt x="3217512" y="204882"/>
                </a:lnTo>
                <a:cubicBezTo>
                  <a:pt x="3217512" y="176644"/>
                  <a:pt x="3194621" y="153753"/>
                  <a:pt x="3166383" y="153753"/>
                </a:cubicBezTo>
                <a:lnTo>
                  <a:pt x="2721686" y="153753"/>
                </a:lnTo>
                <a:cubicBezTo>
                  <a:pt x="2693448" y="153753"/>
                  <a:pt x="2670557" y="176644"/>
                  <a:pt x="2670557" y="204882"/>
                </a:cubicBezTo>
                <a:lnTo>
                  <a:pt x="2670557" y="466747"/>
                </a:lnTo>
                <a:lnTo>
                  <a:pt x="2501232" y="466747"/>
                </a:lnTo>
                <a:lnTo>
                  <a:pt x="2501232" y="193296"/>
                </a:lnTo>
                <a:cubicBezTo>
                  <a:pt x="2501232" y="86542"/>
                  <a:pt x="2587774" y="0"/>
                  <a:pt x="2694528" y="0"/>
                </a:cubicBezTo>
                <a:close/>
                <a:moveTo>
                  <a:pt x="731108" y="0"/>
                </a:moveTo>
                <a:lnTo>
                  <a:pt x="1231152" y="0"/>
                </a:lnTo>
                <a:cubicBezTo>
                  <a:pt x="1337906" y="0"/>
                  <a:pt x="1424448" y="86542"/>
                  <a:pt x="1424448" y="193296"/>
                </a:cubicBezTo>
                <a:lnTo>
                  <a:pt x="1424448" y="466747"/>
                </a:lnTo>
                <a:lnTo>
                  <a:pt x="1254092" y="466747"/>
                </a:lnTo>
                <a:lnTo>
                  <a:pt x="1254092" y="204882"/>
                </a:lnTo>
                <a:cubicBezTo>
                  <a:pt x="1254092" y="176644"/>
                  <a:pt x="1231201" y="153753"/>
                  <a:pt x="1202963" y="153753"/>
                </a:cubicBezTo>
                <a:lnTo>
                  <a:pt x="758266" y="153753"/>
                </a:lnTo>
                <a:cubicBezTo>
                  <a:pt x="730028" y="153753"/>
                  <a:pt x="707137" y="176644"/>
                  <a:pt x="707137" y="204882"/>
                </a:cubicBezTo>
                <a:lnTo>
                  <a:pt x="707137" y="466747"/>
                </a:lnTo>
                <a:lnTo>
                  <a:pt x="537812" y="466747"/>
                </a:lnTo>
                <a:lnTo>
                  <a:pt x="537812" y="193296"/>
                </a:lnTo>
                <a:cubicBezTo>
                  <a:pt x="537812" y="86542"/>
                  <a:pt x="624354" y="0"/>
                  <a:pt x="731108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9734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hteck 53"/>
          <p:cNvSpPr/>
          <p:nvPr userDrawn="1"/>
        </p:nvSpPr>
        <p:spPr bwMode="auto">
          <a:xfrm>
            <a:off x="432132" y="1167594"/>
            <a:ext cx="4824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79" name="Rechteck 78"/>
          <p:cNvSpPr/>
          <p:nvPr userDrawn="1"/>
        </p:nvSpPr>
        <p:spPr bwMode="auto">
          <a:xfrm flipV="1">
            <a:off x="431801" y="4056380"/>
            <a:ext cx="4900776" cy="351574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2" name="Rechteck 61"/>
          <p:cNvSpPr/>
          <p:nvPr userDrawn="1"/>
        </p:nvSpPr>
        <p:spPr bwMode="auto">
          <a:xfrm rot="5400000">
            <a:off x="5193132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398" name="Rechteck 397"/>
          <p:cNvSpPr/>
          <p:nvPr userDrawn="1"/>
        </p:nvSpPr>
        <p:spPr bwMode="auto">
          <a:xfrm>
            <a:off x="432132" y="4011910"/>
            <a:ext cx="4824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31" name="Freeform 22"/>
          <p:cNvSpPr>
            <a:spLocks noEditPoints="1"/>
          </p:cNvSpPr>
          <p:nvPr userDrawn="1"/>
        </p:nvSpPr>
        <p:spPr bwMode="auto">
          <a:xfrm>
            <a:off x="3543589" y="3394100"/>
            <a:ext cx="15574" cy="15573"/>
          </a:xfrm>
          <a:custGeom>
            <a:avLst/>
            <a:gdLst>
              <a:gd name="T0" fmla="*/ 16 w 32"/>
              <a:gd name="T1" fmla="*/ 32 h 32"/>
              <a:gd name="T2" fmla="*/ 0 w 32"/>
              <a:gd name="T3" fmla="*/ 16 h 32"/>
              <a:gd name="T4" fmla="*/ 16 w 32"/>
              <a:gd name="T5" fmla="*/ 0 h 32"/>
              <a:gd name="T6" fmla="*/ 32 w 32"/>
              <a:gd name="T7" fmla="*/ 16 h 32"/>
              <a:gd name="T8" fmla="*/ 16 w 32"/>
              <a:gd name="T9" fmla="*/ 32 h 32"/>
              <a:gd name="T10" fmla="*/ 16 w 32"/>
              <a:gd name="T11" fmla="*/ 12 h 32"/>
              <a:gd name="T12" fmla="*/ 12 w 32"/>
              <a:gd name="T13" fmla="*/ 16 h 32"/>
              <a:gd name="T14" fmla="*/ 16 w 32"/>
              <a:gd name="T15" fmla="*/ 20 h 32"/>
              <a:gd name="T16" fmla="*/ 20 w 32"/>
              <a:gd name="T17" fmla="*/ 16 h 32"/>
              <a:gd name="T18" fmla="*/ 16 w 32"/>
              <a:gd name="T19" fmla="*/ 1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5" y="0"/>
                  <a:pt x="32" y="7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  <a:moveTo>
                  <a:pt x="16" y="12"/>
                </a:moveTo>
                <a:cubicBezTo>
                  <a:pt x="13" y="12"/>
                  <a:pt x="12" y="14"/>
                  <a:pt x="12" y="16"/>
                </a:cubicBezTo>
                <a:cubicBezTo>
                  <a:pt x="12" y="18"/>
                  <a:pt x="13" y="20"/>
                  <a:pt x="16" y="20"/>
                </a:cubicBezTo>
                <a:cubicBezTo>
                  <a:pt x="18" y="20"/>
                  <a:pt x="20" y="18"/>
                  <a:pt x="20" y="16"/>
                </a:cubicBezTo>
                <a:cubicBezTo>
                  <a:pt x="20" y="14"/>
                  <a:pt x="18" y="12"/>
                  <a:pt x="1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124191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37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5236" y="593098"/>
            <a:ext cx="8303544" cy="288000"/>
          </a:xfrm>
          <a:prstGeom prst="rect">
            <a:avLst/>
          </a:prstGeom>
        </p:spPr>
        <p:txBody>
          <a:bodyPr lIns="0" tIns="0" rIns="0" bIns="0"/>
          <a:lstStyle>
            <a:lvl1pPr marL="230188" indent="-230188">
              <a:buNone/>
              <a:defRPr lang="en-GB" sz="2000" dirty="0" smtClean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latinLnBrk="0">
              <a:lnSpc>
                <a:spcPct val="100000"/>
              </a:lnSpc>
              <a:buClrTx/>
              <a:buSzTx/>
              <a:tabLst/>
            </a:pPr>
            <a:r>
              <a:rPr lang="en-GB" dirty="0"/>
              <a:t>Click to edit secondary headline</a:t>
            </a:r>
          </a:p>
        </p:txBody>
      </p:sp>
      <p:grpSp>
        <p:nvGrpSpPr>
          <p:cNvPr id="377" name="Gruppieren 376"/>
          <p:cNvGrpSpPr/>
          <p:nvPr userDrawn="1"/>
        </p:nvGrpSpPr>
        <p:grpSpPr>
          <a:xfrm>
            <a:off x="765351" y="4243174"/>
            <a:ext cx="4508649" cy="180019"/>
            <a:chOff x="431800" y="4047494"/>
            <a:chExt cx="4936043" cy="180019"/>
          </a:xfrm>
          <a:noFill/>
        </p:grpSpPr>
        <p:sp>
          <p:nvSpPr>
            <p:cNvPr id="378" name="TextBox 5"/>
            <p:cNvSpPr txBox="1"/>
            <p:nvPr/>
          </p:nvSpPr>
          <p:spPr>
            <a:xfrm>
              <a:off x="4700220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 rtlCol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 years</a:t>
              </a:r>
            </a:p>
          </p:txBody>
        </p:sp>
        <p:sp>
          <p:nvSpPr>
            <p:cNvPr id="379" name="Rechteck 97"/>
            <p:cNvSpPr/>
            <p:nvPr/>
          </p:nvSpPr>
          <p:spPr>
            <a:xfrm>
              <a:off x="1854606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0 Mbp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0" name="Rechteck 97"/>
            <p:cNvSpPr/>
            <p:nvPr/>
          </p:nvSpPr>
          <p:spPr>
            <a:xfrm>
              <a:off x="3277412" y="4047494"/>
              <a:ext cx="667623" cy="180019"/>
            </a:xfrm>
            <a:prstGeom prst="rect">
              <a:avLst/>
            </a:prstGeom>
            <a:grpFill/>
          </p:spPr>
          <p:txBody>
            <a:bodyPr wrap="non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-100 </a:t>
              </a:r>
              <a:r>
                <a:rPr lang="en-US" sz="900" dirty="0">
                  <a:solidFill>
                    <a:srgbClr val="BEC8D2"/>
                  </a:solidFill>
                  <a:latin typeface="Nokia Pure Text Light"/>
                </a:rPr>
                <a:t>x</a:t>
              </a:r>
            </a:p>
          </p:txBody>
        </p:sp>
        <p:sp>
          <p:nvSpPr>
            <p:cNvPr id="381" name="Rechteck 97"/>
            <p:cNvSpPr/>
            <p:nvPr/>
          </p:nvSpPr>
          <p:spPr>
            <a:xfrm>
              <a:off x="431800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,000 x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2" name="Rechteck 97"/>
            <p:cNvSpPr/>
            <p:nvPr/>
          </p:nvSpPr>
          <p:spPr>
            <a:xfrm>
              <a:off x="3988815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</a:rPr>
                <a:t>ultra low</a:t>
              </a:r>
            </a:p>
          </p:txBody>
        </p:sp>
        <p:sp>
          <p:nvSpPr>
            <p:cNvPr id="383" name="Rechteck 97"/>
            <p:cNvSpPr/>
            <p:nvPr/>
          </p:nvSpPr>
          <p:spPr>
            <a:xfrm>
              <a:off x="1143203" y="4047494"/>
              <a:ext cx="667623" cy="180019"/>
            </a:xfrm>
            <a:prstGeom prst="rect">
              <a:avLst/>
            </a:prstGeom>
            <a:grpFill/>
          </p:spPr>
          <p:txBody>
            <a:bodyPr wrap="none" lIns="0" tIns="36000" rIns="0" bIns="3600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&gt;10 Gbp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4" name="Rechteck 97"/>
            <p:cNvSpPr/>
            <p:nvPr/>
          </p:nvSpPr>
          <p:spPr>
            <a:xfrm>
              <a:off x="2566009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&lt;1 m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</p:grpSp>
      <p:sp>
        <p:nvSpPr>
          <p:cNvPr id="385" name="Rechteck 384"/>
          <p:cNvSpPr/>
          <p:nvPr userDrawn="1"/>
        </p:nvSpPr>
        <p:spPr>
          <a:xfrm>
            <a:off x="3329864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386" name="Rechteck 385"/>
          <p:cNvSpPr/>
          <p:nvPr userDrawn="1"/>
        </p:nvSpPr>
        <p:spPr>
          <a:xfrm>
            <a:off x="2717796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40" name="Rad 4"/>
          <p:cNvSpPr>
            <a:spLocks noChangeAspect="1"/>
          </p:cNvSpPr>
          <p:nvPr userDrawn="1"/>
        </p:nvSpPr>
        <p:spPr>
          <a:xfrm flipH="1">
            <a:off x="3184646" y="4080121"/>
            <a:ext cx="208621" cy="163665"/>
          </a:xfrm>
          <a:custGeom>
            <a:avLst/>
            <a:gdLst/>
            <a:ahLst/>
            <a:cxnLst/>
            <a:rect l="l" t="t" r="r" b="b"/>
            <a:pathLst>
              <a:path w="208621" h="163665">
                <a:moveTo>
                  <a:pt x="171579" y="119655"/>
                </a:moveTo>
                <a:lnTo>
                  <a:pt x="163395" y="119655"/>
                </a:lnTo>
                <a:cubicBezTo>
                  <a:pt x="163395" y="129983"/>
                  <a:pt x="155023" y="138355"/>
                  <a:pt x="144696" y="138355"/>
                </a:cubicBezTo>
                <a:cubicBezTo>
                  <a:pt x="134368" y="138355"/>
                  <a:pt x="125996" y="129983"/>
                  <a:pt x="125996" y="119655"/>
                </a:cubicBezTo>
                <a:lnTo>
                  <a:pt x="118018" y="119655"/>
                </a:lnTo>
                <a:lnTo>
                  <a:pt x="118018" y="140464"/>
                </a:lnTo>
                <a:lnTo>
                  <a:pt x="102068" y="140464"/>
                </a:lnTo>
                <a:lnTo>
                  <a:pt x="102068" y="163665"/>
                </a:lnTo>
                <a:lnTo>
                  <a:pt x="187529" y="163665"/>
                </a:lnTo>
                <a:lnTo>
                  <a:pt x="187529" y="140464"/>
                </a:lnTo>
                <a:lnTo>
                  <a:pt x="171579" y="140464"/>
                </a:lnTo>
                <a:close/>
                <a:moveTo>
                  <a:pt x="144694" y="116671"/>
                </a:moveTo>
                <a:cubicBezTo>
                  <a:pt x="143047" y="116671"/>
                  <a:pt x="141711" y="118007"/>
                  <a:pt x="141711" y="119655"/>
                </a:cubicBezTo>
                <a:cubicBezTo>
                  <a:pt x="141711" y="121303"/>
                  <a:pt x="143047" y="122638"/>
                  <a:pt x="144694" y="122638"/>
                </a:cubicBezTo>
                <a:cubicBezTo>
                  <a:pt x="146342" y="122638"/>
                  <a:pt x="147678" y="121303"/>
                  <a:pt x="147678" y="119655"/>
                </a:cubicBezTo>
                <a:cubicBezTo>
                  <a:pt x="147678" y="118007"/>
                  <a:pt x="146342" y="116671"/>
                  <a:pt x="144694" y="116671"/>
                </a:cubicBezTo>
                <a:close/>
                <a:moveTo>
                  <a:pt x="144696" y="110607"/>
                </a:moveTo>
                <a:cubicBezTo>
                  <a:pt x="149693" y="110607"/>
                  <a:pt x="153743" y="114658"/>
                  <a:pt x="153743" y="119655"/>
                </a:cubicBezTo>
                <a:cubicBezTo>
                  <a:pt x="153743" y="124652"/>
                  <a:pt x="149693" y="128703"/>
                  <a:pt x="144696" y="128703"/>
                </a:cubicBezTo>
                <a:cubicBezTo>
                  <a:pt x="139699" y="128703"/>
                  <a:pt x="135648" y="124652"/>
                  <a:pt x="135648" y="119655"/>
                </a:cubicBezTo>
                <a:cubicBezTo>
                  <a:pt x="135648" y="114658"/>
                  <a:pt x="139699" y="110607"/>
                  <a:pt x="144696" y="110607"/>
                </a:cubicBezTo>
                <a:close/>
                <a:moveTo>
                  <a:pt x="176944" y="82323"/>
                </a:moveTo>
                <a:cubicBezTo>
                  <a:pt x="178288" y="84821"/>
                  <a:pt x="180261" y="86925"/>
                  <a:pt x="182649" y="88441"/>
                </a:cubicBezTo>
                <a:lnTo>
                  <a:pt x="160279" y="113203"/>
                </a:lnTo>
                <a:cubicBezTo>
                  <a:pt x="159175" y="110525"/>
                  <a:pt x="157399" y="108195"/>
                  <a:pt x="155080" y="106525"/>
                </a:cubicBezTo>
                <a:close/>
                <a:moveTo>
                  <a:pt x="191748" y="71284"/>
                </a:moveTo>
                <a:cubicBezTo>
                  <a:pt x="190100" y="71284"/>
                  <a:pt x="188764" y="72620"/>
                  <a:pt x="188764" y="74267"/>
                </a:cubicBezTo>
                <a:cubicBezTo>
                  <a:pt x="188764" y="75915"/>
                  <a:pt x="190100" y="77251"/>
                  <a:pt x="191748" y="77251"/>
                </a:cubicBezTo>
                <a:cubicBezTo>
                  <a:pt x="193395" y="77251"/>
                  <a:pt x="194731" y="75915"/>
                  <a:pt x="194731" y="74267"/>
                </a:cubicBezTo>
                <a:cubicBezTo>
                  <a:pt x="194731" y="72620"/>
                  <a:pt x="193395" y="71284"/>
                  <a:pt x="191748" y="71284"/>
                </a:cubicBezTo>
                <a:close/>
                <a:moveTo>
                  <a:pt x="77632" y="69825"/>
                </a:moveTo>
                <a:lnTo>
                  <a:pt x="77632" y="74229"/>
                </a:lnTo>
                <a:lnTo>
                  <a:pt x="74649" y="73929"/>
                </a:lnTo>
                <a:cubicBezTo>
                  <a:pt x="73627" y="73929"/>
                  <a:pt x="72629" y="74029"/>
                  <a:pt x="71665" y="74229"/>
                </a:cubicBezTo>
                <a:lnTo>
                  <a:pt x="71665" y="69825"/>
                </a:lnTo>
                <a:cubicBezTo>
                  <a:pt x="72608" y="70127"/>
                  <a:pt x="73612" y="70264"/>
                  <a:pt x="74649" y="70264"/>
                </a:cubicBezTo>
                <a:cubicBezTo>
                  <a:pt x="75685" y="70264"/>
                  <a:pt x="76689" y="70127"/>
                  <a:pt x="77632" y="69825"/>
                </a:cubicBezTo>
                <a:close/>
                <a:moveTo>
                  <a:pt x="191748" y="65220"/>
                </a:moveTo>
                <a:cubicBezTo>
                  <a:pt x="196745" y="65220"/>
                  <a:pt x="200796" y="69270"/>
                  <a:pt x="200796" y="74267"/>
                </a:cubicBezTo>
                <a:cubicBezTo>
                  <a:pt x="200796" y="79265"/>
                  <a:pt x="196745" y="83315"/>
                  <a:pt x="191748" y="83315"/>
                </a:cubicBezTo>
                <a:cubicBezTo>
                  <a:pt x="186751" y="83315"/>
                  <a:pt x="182700" y="79265"/>
                  <a:pt x="182700" y="74267"/>
                </a:cubicBezTo>
                <a:cubicBezTo>
                  <a:pt x="182700" y="69270"/>
                  <a:pt x="186751" y="65220"/>
                  <a:pt x="191748" y="65220"/>
                </a:cubicBezTo>
                <a:close/>
                <a:moveTo>
                  <a:pt x="74649" y="55756"/>
                </a:moveTo>
                <a:cubicBezTo>
                  <a:pt x="73001" y="55756"/>
                  <a:pt x="71665" y="57092"/>
                  <a:pt x="71665" y="58739"/>
                </a:cubicBezTo>
                <a:cubicBezTo>
                  <a:pt x="71665" y="60387"/>
                  <a:pt x="73001" y="61723"/>
                  <a:pt x="74649" y="61723"/>
                </a:cubicBezTo>
                <a:cubicBezTo>
                  <a:pt x="76296" y="61723"/>
                  <a:pt x="77632" y="60387"/>
                  <a:pt x="77632" y="58739"/>
                </a:cubicBezTo>
                <a:cubicBezTo>
                  <a:pt x="77632" y="57092"/>
                  <a:pt x="76296" y="55756"/>
                  <a:pt x="74649" y="55756"/>
                </a:cubicBezTo>
                <a:close/>
                <a:moveTo>
                  <a:pt x="54459" y="53391"/>
                </a:moveTo>
                <a:cubicBezTo>
                  <a:pt x="52896" y="53865"/>
                  <a:pt x="52801" y="55027"/>
                  <a:pt x="52801" y="56210"/>
                </a:cubicBezTo>
                <a:lnTo>
                  <a:pt x="53046" y="56802"/>
                </a:lnTo>
                <a:close/>
                <a:moveTo>
                  <a:pt x="74649" y="52560"/>
                </a:moveTo>
                <a:cubicBezTo>
                  <a:pt x="78062" y="52560"/>
                  <a:pt x="80828" y="55326"/>
                  <a:pt x="80828" y="58739"/>
                </a:cubicBezTo>
                <a:cubicBezTo>
                  <a:pt x="80828" y="62152"/>
                  <a:pt x="78062" y="64919"/>
                  <a:pt x="74649" y="64919"/>
                </a:cubicBezTo>
                <a:cubicBezTo>
                  <a:pt x="71236" y="64919"/>
                  <a:pt x="68469" y="62152"/>
                  <a:pt x="68469" y="58739"/>
                </a:cubicBezTo>
                <a:cubicBezTo>
                  <a:pt x="68469" y="55326"/>
                  <a:pt x="71236" y="52560"/>
                  <a:pt x="74649" y="52560"/>
                </a:cubicBezTo>
                <a:close/>
                <a:moveTo>
                  <a:pt x="141881" y="39788"/>
                </a:moveTo>
                <a:lnTo>
                  <a:pt x="178672" y="63723"/>
                </a:lnTo>
                <a:cubicBezTo>
                  <a:pt x="177440" y="65187"/>
                  <a:pt x="176471" y="66872"/>
                  <a:pt x="175833" y="68713"/>
                </a:cubicBezTo>
                <a:lnTo>
                  <a:pt x="139021" y="44764"/>
                </a:lnTo>
                <a:cubicBezTo>
                  <a:pt x="140340" y="43370"/>
                  <a:pt x="141287" y="41659"/>
                  <a:pt x="141881" y="39788"/>
                </a:cubicBezTo>
                <a:close/>
                <a:moveTo>
                  <a:pt x="112330" y="37891"/>
                </a:moveTo>
                <a:cubicBezTo>
                  <a:pt x="112507" y="38837"/>
                  <a:pt x="112772" y="39752"/>
                  <a:pt x="113128" y="40622"/>
                </a:cubicBezTo>
                <a:lnTo>
                  <a:pt x="85443" y="55007"/>
                </a:lnTo>
                <a:lnTo>
                  <a:pt x="84119" y="52549"/>
                </a:lnTo>
                <a:close/>
                <a:moveTo>
                  <a:pt x="51018" y="33349"/>
                </a:moveTo>
                <a:cubicBezTo>
                  <a:pt x="46167" y="36361"/>
                  <a:pt x="42578" y="40734"/>
                  <a:pt x="40578" y="46004"/>
                </a:cubicBezTo>
                <a:cubicBezTo>
                  <a:pt x="38676" y="51017"/>
                  <a:pt x="38378" y="56493"/>
                  <a:pt x="39800" y="61738"/>
                </a:cubicBezTo>
                <a:cubicBezTo>
                  <a:pt x="40107" y="62884"/>
                  <a:pt x="41225" y="63455"/>
                  <a:pt x="42377" y="63157"/>
                </a:cubicBezTo>
                <a:cubicBezTo>
                  <a:pt x="43528" y="62859"/>
                  <a:pt x="44227" y="61800"/>
                  <a:pt x="43920" y="60654"/>
                </a:cubicBezTo>
                <a:cubicBezTo>
                  <a:pt x="42773" y="56249"/>
                  <a:pt x="42988" y="51772"/>
                  <a:pt x="44598" y="47530"/>
                </a:cubicBezTo>
                <a:cubicBezTo>
                  <a:pt x="46257" y="43160"/>
                  <a:pt x="49293" y="39459"/>
                  <a:pt x="53382" y="36893"/>
                </a:cubicBezTo>
                <a:cubicBezTo>
                  <a:pt x="53739" y="36735"/>
                  <a:pt x="54064" y="36270"/>
                  <a:pt x="54210" y="35884"/>
                </a:cubicBezTo>
                <a:cubicBezTo>
                  <a:pt x="54454" y="35241"/>
                  <a:pt x="54390" y="34629"/>
                  <a:pt x="54017" y="34046"/>
                </a:cubicBezTo>
                <a:cubicBezTo>
                  <a:pt x="53354" y="33059"/>
                  <a:pt x="52008" y="32695"/>
                  <a:pt x="51018" y="33349"/>
                </a:cubicBezTo>
                <a:close/>
                <a:moveTo>
                  <a:pt x="127378" y="32021"/>
                </a:moveTo>
                <a:cubicBezTo>
                  <a:pt x="125730" y="32021"/>
                  <a:pt x="124394" y="33357"/>
                  <a:pt x="124394" y="35005"/>
                </a:cubicBezTo>
                <a:cubicBezTo>
                  <a:pt x="124394" y="36652"/>
                  <a:pt x="125730" y="37988"/>
                  <a:pt x="127378" y="37988"/>
                </a:cubicBezTo>
                <a:cubicBezTo>
                  <a:pt x="129026" y="37988"/>
                  <a:pt x="130361" y="36652"/>
                  <a:pt x="130361" y="35005"/>
                </a:cubicBezTo>
                <a:cubicBezTo>
                  <a:pt x="130361" y="33357"/>
                  <a:pt x="129026" y="32021"/>
                  <a:pt x="127378" y="32021"/>
                </a:cubicBezTo>
                <a:close/>
                <a:moveTo>
                  <a:pt x="127378" y="26779"/>
                </a:moveTo>
                <a:cubicBezTo>
                  <a:pt x="131921" y="26779"/>
                  <a:pt x="135603" y="30462"/>
                  <a:pt x="135603" y="35005"/>
                </a:cubicBezTo>
                <a:cubicBezTo>
                  <a:pt x="135603" y="39547"/>
                  <a:pt x="131921" y="43230"/>
                  <a:pt x="127378" y="43230"/>
                </a:cubicBezTo>
                <a:cubicBezTo>
                  <a:pt x="122835" y="43230"/>
                  <a:pt x="119153" y="39547"/>
                  <a:pt x="119153" y="35005"/>
                </a:cubicBezTo>
                <a:cubicBezTo>
                  <a:pt x="119153" y="30462"/>
                  <a:pt x="122835" y="26779"/>
                  <a:pt x="127378" y="26779"/>
                </a:cubicBezTo>
                <a:close/>
                <a:moveTo>
                  <a:pt x="127378" y="19665"/>
                </a:moveTo>
                <a:cubicBezTo>
                  <a:pt x="119522" y="19665"/>
                  <a:pt x="113045" y="25571"/>
                  <a:pt x="112221" y="33194"/>
                </a:cubicBezTo>
                <a:lnTo>
                  <a:pt x="81032" y="49400"/>
                </a:lnTo>
                <a:cubicBezTo>
                  <a:pt x="79301" y="47956"/>
                  <a:pt x="77062" y="47215"/>
                  <a:pt x="74649" y="47215"/>
                </a:cubicBezTo>
                <a:cubicBezTo>
                  <a:pt x="68284" y="47215"/>
                  <a:pt x="63124" y="52374"/>
                  <a:pt x="63124" y="58739"/>
                </a:cubicBezTo>
                <a:cubicBezTo>
                  <a:pt x="63124" y="62332"/>
                  <a:pt x="64768" y="65540"/>
                  <a:pt x="67447" y="67528"/>
                </a:cubicBezTo>
                <a:lnTo>
                  <a:pt x="67447" y="75802"/>
                </a:lnTo>
                <a:cubicBezTo>
                  <a:pt x="62590" y="78324"/>
                  <a:pt x="59309" y="83413"/>
                  <a:pt x="59309" y="89268"/>
                </a:cubicBezTo>
                <a:cubicBezTo>
                  <a:pt x="59309" y="96246"/>
                  <a:pt x="63968" y="102135"/>
                  <a:pt x="70364" y="103926"/>
                </a:cubicBezTo>
                <a:lnTo>
                  <a:pt x="67362" y="92904"/>
                </a:lnTo>
                <a:cubicBezTo>
                  <a:pt x="66734" y="91836"/>
                  <a:pt x="66423" y="90588"/>
                  <a:pt x="66423" y="89268"/>
                </a:cubicBezTo>
                <a:cubicBezTo>
                  <a:pt x="66423" y="84726"/>
                  <a:pt x="70106" y="81043"/>
                  <a:pt x="74649" y="81043"/>
                </a:cubicBezTo>
                <a:cubicBezTo>
                  <a:pt x="79191" y="81043"/>
                  <a:pt x="82874" y="84726"/>
                  <a:pt x="82874" y="89268"/>
                </a:cubicBezTo>
                <a:cubicBezTo>
                  <a:pt x="82874" y="90589"/>
                  <a:pt x="82563" y="91837"/>
                  <a:pt x="81934" y="92905"/>
                </a:cubicBezTo>
                <a:lnTo>
                  <a:pt x="78933" y="103926"/>
                </a:lnTo>
                <a:cubicBezTo>
                  <a:pt x="85329" y="102135"/>
                  <a:pt x="89988" y="96246"/>
                  <a:pt x="89988" y="89268"/>
                </a:cubicBezTo>
                <a:cubicBezTo>
                  <a:pt x="89988" y="83413"/>
                  <a:pt x="86707" y="78324"/>
                  <a:pt x="81850" y="75802"/>
                </a:cubicBezTo>
                <a:lnTo>
                  <a:pt x="81850" y="67571"/>
                </a:lnTo>
                <a:cubicBezTo>
                  <a:pt x="84348" y="65689"/>
                  <a:pt x="85938" y="62742"/>
                  <a:pt x="86105" y="59416"/>
                </a:cubicBezTo>
                <a:lnTo>
                  <a:pt x="115366" y="44213"/>
                </a:lnTo>
                <a:cubicBezTo>
                  <a:pt x="118006" y="47989"/>
                  <a:pt x="122417" y="50344"/>
                  <a:pt x="127378" y="50344"/>
                </a:cubicBezTo>
                <a:cubicBezTo>
                  <a:pt x="130516" y="50344"/>
                  <a:pt x="133433" y="49402"/>
                  <a:pt x="135803" y="47703"/>
                </a:cubicBezTo>
                <a:lnTo>
                  <a:pt x="174969" y="73183"/>
                </a:lnTo>
                <a:lnTo>
                  <a:pt x="174874" y="74267"/>
                </a:lnTo>
                <a:cubicBezTo>
                  <a:pt x="174874" y="75491"/>
                  <a:pt x="175005" y="76683"/>
                  <a:pt x="175332" y="77815"/>
                </a:cubicBezTo>
                <a:lnTo>
                  <a:pt x="151371" y="104338"/>
                </a:lnTo>
                <a:cubicBezTo>
                  <a:pt x="149374" y="103282"/>
                  <a:pt x="147093" y="102781"/>
                  <a:pt x="144696" y="102781"/>
                </a:cubicBezTo>
                <a:cubicBezTo>
                  <a:pt x="135377" y="102781"/>
                  <a:pt x="127822" y="110336"/>
                  <a:pt x="127822" y="119655"/>
                </a:cubicBezTo>
                <a:cubicBezTo>
                  <a:pt x="127822" y="128974"/>
                  <a:pt x="135377" y="136528"/>
                  <a:pt x="144696" y="136528"/>
                </a:cubicBezTo>
                <a:cubicBezTo>
                  <a:pt x="154014" y="136528"/>
                  <a:pt x="161569" y="128974"/>
                  <a:pt x="161569" y="119655"/>
                </a:cubicBezTo>
                <a:cubicBezTo>
                  <a:pt x="161569" y="119172"/>
                  <a:pt x="161549" y="118693"/>
                  <a:pt x="161425" y="118227"/>
                </a:cubicBezTo>
                <a:lnTo>
                  <a:pt x="186673" y="90279"/>
                </a:lnTo>
                <a:cubicBezTo>
                  <a:pt x="188257" y="90866"/>
                  <a:pt x="189970" y="91141"/>
                  <a:pt x="191748" y="91141"/>
                </a:cubicBezTo>
                <a:cubicBezTo>
                  <a:pt x="201067" y="91141"/>
                  <a:pt x="208621" y="83586"/>
                  <a:pt x="208621" y="74267"/>
                </a:cubicBezTo>
                <a:cubicBezTo>
                  <a:pt x="208621" y="64948"/>
                  <a:pt x="201067" y="57394"/>
                  <a:pt x="191748" y="57394"/>
                </a:cubicBezTo>
                <a:cubicBezTo>
                  <a:pt x="188006" y="57394"/>
                  <a:pt x="184549" y="58612"/>
                  <a:pt x="181782" y="60714"/>
                </a:cubicBezTo>
                <a:lnTo>
                  <a:pt x="142690" y="35282"/>
                </a:lnTo>
                <a:lnTo>
                  <a:pt x="142718" y="35005"/>
                </a:lnTo>
                <a:cubicBezTo>
                  <a:pt x="142718" y="26533"/>
                  <a:pt x="135850" y="19665"/>
                  <a:pt x="127378" y="19665"/>
                </a:cubicBezTo>
                <a:close/>
                <a:moveTo>
                  <a:pt x="41697" y="17736"/>
                </a:moveTo>
                <a:lnTo>
                  <a:pt x="30624" y="26938"/>
                </a:lnTo>
                <a:lnTo>
                  <a:pt x="23278" y="39441"/>
                </a:lnTo>
                <a:lnTo>
                  <a:pt x="20453" y="53252"/>
                </a:lnTo>
                <a:lnTo>
                  <a:pt x="22340" y="67188"/>
                </a:lnTo>
                <a:cubicBezTo>
                  <a:pt x="22641" y="68338"/>
                  <a:pt x="23882" y="68956"/>
                  <a:pt x="25030" y="68653"/>
                </a:cubicBezTo>
                <a:cubicBezTo>
                  <a:pt x="26099" y="68171"/>
                  <a:pt x="26669" y="67056"/>
                  <a:pt x="26368" y="65907"/>
                </a:cubicBezTo>
                <a:cubicBezTo>
                  <a:pt x="23870" y="57711"/>
                  <a:pt x="24057" y="49055"/>
                  <a:pt x="27148" y="40909"/>
                </a:cubicBezTo>
                <a:cubicBezTo>
                  <a:pt x="30288" y="32635"/>
                  <a:pt x="36168" y="25696"/>
                  <a:pt x="43731" y="21318"/>
                </a:cubicBezTo>
                <a:cubicBezTo>
                  <a:pt x="44266" y="21077"/>
                  <a:pt x="44542" y="20739"/>
                  <a:pt x="44738" y="20221"/>
                </a:cubicBezTo>
                <a:cubicBezTo>
                  <a:pt x="44935" y="19704"/>
                  <a:pt x="44873" y="19089"/>
                  <a:pt x="44504" y="18505"/>
                </a:cubicBezTo>
                <a:cubicBezTo>
                  <a:pt x="44024" y="17436"/>
                  <a:pt x="42685" y="17075"/>
                  <a:pt x="41697" y="17736"/>
                </a:cubicBezTo>
                <a:close/>
                <a:moveTo>
                  <a:pt x="30977" y="331"/>
                </a:moveTo>
                <a:cubicBezTo>
                  <a:pt x="18510" y="7693"/>
                  <a:pt x="9294" y="18648"/>
                  <a:pt x="4157" y="32184"/>
                </a:cubicBezTo>
                <a:cubicBezTo>
                  <a:pt x="-882" y="45462"/>
                  <a:pt x="-1335" y="59595"/>
                  <a:pt x="2767" y="73097"/>
                </a:cubicBezTo>
                <a:cubicBezTo>
                  <a:pt x="3075" y="74246"/>
                  <a:pt x="4327" y="74869"/>
                  <a:pt x="5482" y="74570"/>
                </a:cubicBezTo>
                <a:cubicBezTo>
                  <a:pt x="6507" y="74221"/>
                  <a:pt x="7257" y="73031"/>
                  <a:pt x="6900" y="72011"/>
                </a:cubicBezTo>
                <a:cubicBezTo>
                  <a:pt x="3074" y="59350"/>
                  <a:pt x="3493" y="46090"/>
                  <a:pt x="8190" y="33714"/>
                </a:cubicBezTo>
                <a:cubicBezTo>
                  <a:pt x="12984" y="21081"/>
                  <a:pt x="21647" y="10801"/>
                  <a:pt x="33218" y="3836"/>
                </a:cubicBezTo>
                <a:cubicBezTo>
                  <a:pt x="33576" y="3677"/>
                  <a:pt x="33902" y="3211"/>
                  <a:pt x="34048" y="2824"/>
                </a:cubicBezTo>
                <a:cubicBezTo>
                  <a:pt x="34293" y="2180"/>
                  <a:pt x="34229" y="1565"/>
                  <a:pt x="33855" y="981"/>
                </a:cubicBezTo>
                <a:cubicBezTo>
                  <a:pt x="33319" y="41"/>
                  <a:pt x="31970" y="-324"/>
                  <a:pt x="30977" y="33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tIns="72000" rtlCol="0" anchor="ctr">
            <a:noAutofit/>
          </a:bodyPr>
          <a:lstStyle/>
          <a:p>
            <a:pPr>
              <a:spcAft>
                <a:spcPts val="600"/>
              </a:spcAft>
            </a:pPr>
            <a:endParaRPr lang="en-US" sz="1200" dirty="0">
              <a:solidFill>
                <a:srgbClr val="BEC8D2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41" name="Abgerundetes Rechteck 9"/>
          <p:cNvSpPr>
            <a:spLocks noChangeAspect="1"/>
          </p:cNvSpPr>
          <p:nvPr userDrawn="1"/>
        </p:nvSpPr>
        <p:spPr>
          <a:xfrm flipH="1">
            <a:off x="2571016" y="4099786"/>
            <a:ext cx="318082" cy="144016"/>
          </a:xfrm>
          <a:custGeom>
            <a:avLst/>
            <a:gdLst/>
            <a:ahLst/>
            <a:cxnLst/>
            <a:rect l="l" t="t" r="r" b="b"/>
            <a:pathLst>
              <a:path w="318082" h="144016">
                <a:moveTo>
                  <a:pt x="162629" y="80585"/>
                </a:moveTo>
                <a:cubicBezTo>
                  <a:pt x="164338" y="80585"/>
                  <a:pt x="165723" y="81970"/>
                  <a:pt x="165723" y="83679"/>
                </a:cubicBezTo>
                <a:cubicBezTo>
                  <a:pt x="165723" y="85387"/>
                  <a:pt x="164338" y="86772"/>
                  <a:pt x="162629" y="86772"/>
                </a:cubicBezTo>
                <a:cubicBezTo>
                  <a:pt x="160920" y="86772"/>
                  <a:pt x="159535" y="85387"/>
                  <a:pt x="159535" y="83679"/>
                </a:cubicBezTo>
                <a:cubicBezTo>
                  <a:pt x="159535" y="81970"/>
                  <a:pt x="160920" y="80585"/>
                  <a:pt x="162629" y="80585"/>
                </a:cubicBezTo>
                <a:close/>
                <a:moveTo>
                  <a:pt x="162629" y="77491"/>
                </a:moveTo>
                <a:cubicBezTo>
                  <a:pt x="159212" y="77491"/>
                  <a:pt x="156441" y="80261"/>
                  <a:pt x="156441" y="83679"/>
                </a:cubicBezTo>
                <a:cubicBezTo>
                  <a:pt x="156441" y="87096"/>
                  <a:pt x="159212" y="89866"/>
                  <a:pt x="162629" y="89866"/>
                </a:cubicBezTo>
                <a:cubicBezTo>
                  <a:pt x="166046" y="89866"/>
                  <a:pt x="168817" y="87096"/>
                  <a:pt x="168817" y="83679"/>
                </a:cubicBezTo>
                <a:cubicBezTo>
                  <a:pt x="168817" y="80261"/>
                  <a:pt x="166046" y="77491"/>
                  <a:pt x="162629" y="77491"/>
                </a:cubicBezTo>
                <a:close/>
                <a:moveTo>
                  <a:pt x="117847" y="37542"/>
                </a:moveTo>
                <a:lnTo>
                  <a:pt x="19146" y="37542"/>
                </a:lnTo>
                <a:cubicBezTo>
                  <a:pt x="17540" y="37542"/>
                  <a:pt x="16239" y="38844"/>
                  <a:pt x="16239" y="40450"/>
                </a:cubicBezTo>
                <a:lnTo>
                  <a:pt x="16239" y="126907"/>
                </a:lnTo>
                <a:cubicBezTo>
                  <a:pt x="16239" y="128513"/>
                  <a:pt x="17540" y="129815"/>
                  <a:pt x="19146" y="129815"/>
                </a:cubicBezTo>
                <a:lnTo>
                  <a:pt x="150821" y="129815"/>
                </a:lnTo>
                <a:cubicBezTo>
                  <a:pt x="152427" y="129815"/>
                  <a:pt x="153729" y="128513"/>
                  <a:pt x="153729" y="126907"/>
                </a:cubicBezTo>
                <a:lnTo>
                  <a:pt x="153729" y="77417"/>
                </a:lnTo>
                <a:lnTo>
                  <a:pt x="147302" y="77417"/>
                </a:lnTo>
                <a:lnTo>
                  <a:pt x="147302" y="121469"/>
                </a:lnTo>
                <a:cubicBezTo>
                  <a:pt x="147302" y="122476"/>
                  <a:pt x="146486" y="123292"/>
                  <a:pt x="145479" y="123292"/>
                </a:cubicBezTo>
                <a:lnTo>
                  <a:pt x="24230" y="123292"/>
                </a:lnTo>
                <a:cubicBezTo>
                  <a:pt x="23223" y="123292"/>
                  <a:pt x="22407" y="122476"/>
                  <a:pt x="22407" y="121469"/>
                </a:cubicBezTo>
                <a:lnTo>
                  <a:pt x="22407" y="45895"/>
                </a:lnTo>
                <a:cubicBezTo>
                  <a:pt x="22407" y="44888"/>
                  <a:pt x="23223" y="44072"/>
                  <a:pt x="24230" y="44072"/>
                </a:cubicBezTo>
                <a:lnTo>
                  <a:pt x="117847" y="44072"/>
                </a:lnTo>
                <a:close/>
                <a:moveTo>
                  <a:pt x="117847" y="23341"/>
                </a:moveTo>
                <a:lnTo>
                  <a:pt x="20113" y="23341"/>
                </a:lnTo>
                <a:cubicBezTo>
                  <a:pt x="9005" y="23341"/>
                  <a:pt x="0" y="32346"/>
                  <a:pt x="0" y="43454"/>
                </a:cubicBezTo>
                <a:lnTo>
                  <a:pt x="0" y="123903"/>
                </a:lnTo>
                <a:cubicBezTo>
                  <a:pt x="0" y="135011"/>
                  <a:pt x="9005" y="144016"/>
                  <a:pt x="20113" y="144016"/>
                </a:cubicBezTo>
                <a:lnTo>
                  <a:pt x="156959" y="144016"/>
                </a:lnTo>
                <a:cubicBezTo>
                  <a:pt x="168067" y="144016"/>
                  <a:pt x="177072" y="135011"/>
                  <a:pt x="177072" y="123903"/>
                </a:cubicBezTo>
                <a:lnTo>
                  <a:pt x="177072" y="77417"/>
                </a:lnTo>
                <a:lnTo>
                  <a:pt x="170501" y="77417"/>
                </a:lnTo>
                <a:lnTo>
                  <a:pt x="170501" y="123107"/>
                </a:lnTo>
                <a:cubicBezTo>
                  <a:pt x="170501" y="131166"/>
                  <a:pt x="163968" y="137699"/>
                  <a:pt x="155909" y="137699"/>
                </a:cubicBezTo>
                <a:lnTo>
                  <a:pt x="20888" y="137699"/>
                </a:lnTo>
                <a:cubicBezTo>
                  <a:pt x="12829" y="137699"/>
                  <a:pt x="6296" y="131166"/>
                  <a:pt x="6296" y="123107"/>
                </a:cubicBezTo>
                <a:lnTo>
                  <a:pt x="6296" y="44469"/>
                </a:lnTo>
                <a:cubicBezTo>
                  <a:pt x="6296" y="36410"/>
                  <a:pt x="12829" y="29876"/>
                  <a:pt x="20888" y="29876"/>
                </a:cubicBezTo>
                <a:lnTo>
                  <a:pt x="117847" y="29876"/>
                </a:lnTo>
                <a:close/>
                <a:moveTo>
                  <a:pt x="170962" y="12300"/>
                </a:moveTo>
                <a:lnTo>
                  <a:pt x="155547" y="61450"/>
                </a:lnTo>
                <a:lnTo>
                  <a:pt x="149427" y="61450"/>
                </a:lnTo>
                <a:lnTo>
                  <a:pt x="164842" y="12300"/>
                </a:lnTo>
                <a:close/>
                <a:moveTo>
                  <a:pt x="199785" y="12300"/>
                </a:moveTo>
                <a:lnTo>
                  <a:pt x="183784" y="61450"/>
                </a:lnTo>
                <a:lnTo>
                  <a:pt x="163938" y="61450"/>
                </a:lnTo>
                <a:lnTo>
                  <a:pt x="179939" y="12300"/>
                </a:lnTo>
                <a:close/>
                <a:moveTo>
                  <a:pt x="262609" y="12300"/>
                </a:moveTo>
                <a:lnTo>
                  <a:pt x="247195" y="61450"/>
                </a:lnTo>
                <a:lnTo>
                  <a:pt x="241075" y="61450"/>
                </a:lnTo>
                <a:lnTo>
                  <a:pt x="256490" y="12300"/>
                </a:lnTo>
                <a:close/>
                <a:moveTo>
                  <a:pt x="291432" y="12300"/>
                </a:moveTo>
                <a:lnTo>
                  <a:pt x="275432" y="61450"/>
                </a:lnTo>
                <a:lnTo>
                  <a:pt x="255586" y="61450"/>
                </a:lnTo>
                <a:lnTo>
                  <a:pt x="271586" y="12300"/>
                </a:lnTo>
                <a:close/>
                <a:moveTo>
                  <a:pt x="117017" y="9669"/>
                </a:moveTo>
                <a:cubicBezTo>
                  <a:pt x="119480" y="9669"/>
                  <a:pt x="121476" y="11665"/>
                  <a:pt x="121476" y="14127"/>
                </a:cubicBezTo>
                <a:cubicBezTo>
                  <a:pt x="121476" y="16589"/>
                  <a:pt x="119480" y="18585"/>
                  <a:pt x="117017" y="18585"/>
                </a:cubicBezTo>
                <a:cubicBezTo>
                  <a:pt x="114555" y="18585"/>
                  <a:pt x="112559" y="16589"/>
                  <a:pt x="112559" y="14127"/>
                </a:cubicBezTo>
                <a:cubicBezTo>
                  <a:pt x="112559" y="11665"/>
                  <a:pt x="114555" y="9669"/>
                  <a:pt x="117017" y="9669"/>
                </a:cubicBezTo>
                <a:close/>
                <a:moveTo>
                  <a:pt x="316596" y="0"/>
                </a:moveTo>
                <a:lnTo>
                  <a:pt x="293176" y="0"/>
                </a:lnTo>
                <a:lnTo>
                  <a:pt x="195363" y="0"/>
                </a:lnTo>
                <a:lnTo>
                  <a:pt x="108245" y="0"/>
                </a:lnTo>
                <a:cubicBezTo>
                  <a:pt x="106184" y="0"/>
                  <a:pt x="104512" y="1672"/>
                  <a:pt x="104512" y="3733"/>
                </a:cubicBezTo>
                <a:lnTo>
                  <a:pt x="104512" y="18666"/>
                </a:lnTo>
                <a:cubicBezTo>
                  <a:pt x="104512" y="20727"/>
                  <a:pt x="106184" y="22399"/>
                  <a:pt x="108245" y="22399"/>
                </a:cubicBezTo>
                <a:lnTo>
                  <a:pt x="124253" y="22399"/>
                </a:lnTo>
                <a:lnTo>
                  <a:pt x="129163" y="44343"/>
                </a:lnTo>
                <a:lnTo>
                  <a:pt x="132756" y="61294"/>
                </a:lnTo>
                <a:cubicBezTo>
                  <a:pt x="133772" y="66207"/>
                  <a:pt x="138172" y="69806"/>
                  <a:pt x="143413" y="69806"/>
                </a:cubicBezTo>
                <a:lnTo>
                  <a:pt x="186307" y="69806"/>
                </a:lnTo>
                <a:cubicBezTo>
                  <a:pt x="191248" y="69806"/>
                  <a:pt x="195441" y="66607"/>
                  <a:pt x="196548" y="62061"/>
                </a:cubicBezTo>
                <a:lnTo>
                  <a:pt x="211272" y="33216"/>
                </a:lnTo>
                <a:lnTo>
                  <a:pt x="228049" y="66082"/>
                </a:lnTo>
                <a:cubicBezTo>
                  <a:pt x="229733" y="68494"/>
                  <a:pt x="232592" y="69806"/>
                  <a:pt x="235756" y="69806"/>
                </a:cubicBezTo>
                <a:lnTo>
                  <a:pt x="278651" y="69806"/>
                </a:lnTo>
                <a:cubicBezTo>
                  <a:pt x="283526" y="69806"/>
                  <a:pt x="287673" y="66692"/>
                  <a:pt x="289104" y="62306"/>
                </a:cubicBezTo>
                <a:lnTo>
                  <a:pt x="289227" y="62343"/>
                </a:lnTo>
                <a:lnTo>
                  <a:pt x="299790" y="8916"/>
                </a:lnTo>
                <a:lnTo>
                  <a:pt x="316596" y="8916"/>
                </a:lnTo>
                <a:cubicBezTo>
                  <a:pt x="317417" y="8916"/>
                  <a:pt x="318082" y="8251"/>
                  <a:pt x="318082" y="7430"/>
                </a:cubicBezTo>
                <a:lnTo>
                  <a:pt x="318082" y="1486"/>
                </a:lnTo>
                <a:cubicBezTo>
                  <a:pt x="318082" y="665"/>
                  <a:pt x="317417" y="0"/>
                  <a:pt x="31659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A8BBC0"/>
              </a:solidFill>
            </a:endParaRPr>
          </a:p>
        </p:txBody>
      </p:sp>
      <p:sp>
        <p:nvSpPr>
          <p:cNvPr id="42" name="Abgerundetes Rechteck 4"/>
          <p:cNvSpPr>
            <a:spLocks noChangeAspect="1"/>
          </p:cNvSpPr>
          <p:nvPr userDrawn="1"/>
        </p:nvSpPr>
        <p:spPr>
          <a:xfrm>
            <a:off x="3929594" y="4090277"/>
            <a:ext cx="131065" cy="144000"/>
          </a:xfrm>
          <a:custGeom>
            <a:avLst/>
            <a:gdLst/>
            <a:ahLst/>
            <a:cxnLst/>
            <a:rect l="l" t="t" r="r" b="b"/>
            <a:pathLst>
              <a:path w="163119" h="179218">
                <a:moveTo>
                  <a:pt x="19586" y="158111"/>
                </a:moveTo>
                <a:lnTo>
                  <a:pt x="89769" y="158111"/>
                </a:lnTo>
                <a:lnTo>
                  <a:pt x="78620" y="179218"/>
                </a:lnTo>
                <a:lnTo>
                  <a:pt x="30735" y="179218"/>
                </a:lnTo>
                <a:close/>
                <a:moveTo>
                  <a:pt x="53571" y="124356"/>
                </a:moveTo>
                <a:lnTo>
                  <a:pt x="54981" y="124356"/>
                </a:lnTo>
                <a:cubicBezTo>
                  <a:pt x="55175" y="124356"/>
                  <a:pt x="55333" y="124514"/>
                  <a:pt x="55333" y="124709"/>
                </a:cubicBezTo>
                <a:lnTo>
                  <a:pt x="55333" y="131050"/>
                </a:lnTo>
                <a:cubicBezTo>
                  <a:pt x="55333" y="131244"/>
                  <a:pt x="55175" y="131402"/>
                  <a:pt x="54981" y="131402"/>
                </a:cubicBezTo>
                <a:lnTo>
                  <a:pt x="53571" y="131402"/>
                </a:lnTo>
                <a:cubicBezTo>
                  <a:pt x="53377" y="131402"/>
                  <a:pt x="53219" y="131244"/>
                  <a:pt x="53219" y="131050"/>
                </a:cubicBezTo>
                <a:lnTo>
                  <a:pt x="53219" y="124709"/>
                </a:lnTo>
                <a:cubicBezTo>
                  <a:pt x="53219" y="124514"/>
                  <a:pt x="53377" y="124356"/>
                  <a:pt x="53571" y="124356"/>
                </a:cubicBezTo>
                <a:close/>
                <a:moveTo>
                  <a:pt x="78992" y="99927"/>
                </a:moveTo>
                <a:lnTo>
                  <a:pt x="85333" y="99927"/>
                </a:lnTo>
                <a:cubicBezTo>
                  <a:pt x="85527" y="99927"/>
                  <a:pt x="85685" y="100085"/>
                  <a:pt x="85685" y="100280"/>
                </a:cubicBezTo>
                <a:lnTo>
                  <a:pt x="85685" y="101689"/>
                </a:lnTo>
                <a:cubicBezTo>
                  <a:pt x="85685" y="101883"/>
                  <a:pt x="85527" y="102041"/>
                  <a:pt x="85333" y="102041"/>
                </a:cubicBezTo>
                <a:lnTo>
                  <a:pt x="78992" y="102041"/>
                </a:lnTo>
                <a:cubicBezTo>
                  <a:pt x="78797" y="102041"/>
                  <a:pt x="78639" y="101883"/>
                  <a:pt x="78639" y="101689"/>
                </a:cubicBezTo>
                <a:lnTo>
                  <a:pt x="78639" y="100280"/>
                </a:lnTo>
                <a:cubicBezTo>
                  <a:pt x="78639" y="100085"/>
                  <a:pt x="78797" y="99927"/>
                  <a:pt x="78992" y="99927"/>
                </a:cubicBezTo>
                <a:close/>
                <a:moveTo>
                  <a:pt x="23327" y="99927"/>
                </a:moveTo>
                <a:lnTo>
                  <a:pt x="29669" y="99927"/>
                </a:lnTo>
                <a:cubicBezTo>
                  <a:pt x="29863" y="99927"/>
                  <a:pt x="30021" y="100085"/>
                  <a:pt x="30021" y="100280"/>
                </a:cubicBezTo>
                <a:lnTo>
                  <a:pt x="30021" y="101689"/>
                </a:lnTo>
                <a:cubicBezTo>
                  <a:pt x="30021" y="101883"/>
                  <a:pt x="29863" y="102041"/>
                  <a:pt x="29669" y="102041"/>
                </a:cubicBezTo>
                <a:lnTo>
                  <a:pt x="23327" y="102041"/>
                </a:lnTo>
                <a:cubicBezTo>
                  <a:pt x="23133" y="102041"/>
                  <a:pt x="22975" y="101883"/>
                  <a:pt x="22975" y="101689"/>
                </a:cubicBezTo>
                <a:lnTo>
                  <a:pt x="22975" y="100280"/>
                </a:lnTo>
                <a:cubicBezTo>
                  <a:pt x="22975" y="100085"/>
                  <a:pt x="23133" y="99927"/>
                  <a:pt x="23327" y="99927"/>
                </a:cubicBezTo>
                <a:close/>
                <a:moveTo>
                  <a:pt x="77226" y="76960"/>
                </a:moveTo>
                <a:lnTo>
                  <a:pt x="54742" y="104373"/>
                </a:lnTo>
                <a:cubicBezTo>
                  <a:pt x="52271" y="104373"/>
                  <a:pt x="50268" y="102370"/>
                  <a:pt x="50268" y="99899"/>
                </a:cubicBezTo>
                <a:cubicBezTo>
                  <a:pt x="50268" y="98509"/>
                  <a:pt x="50901" y="97268"/>
                  <a:pt x="51991" y="96564"/>
                </a:cubicBezTo>
                <a:close/>
                <a:moveTo>
                  <a:pt x="53571" y="68926"/>
                </a:moveTo>
                <a:lnTo>
                  <a:pt x="54981" y="68926"/>
                </a:lnTo>
                <a:cubicBezTo>
                  <a:pt x="55175" y="68926"/>
                  <a:pt x="55333" y="69084"/>
                  <a:pt x="55333" y="69278"/>
                </a:cubicBezTo>
                <a:lnTo>
                  <a:pt x="55333" y="75619"/>
                </a:lnTo>
                <a:cubicBezTo>
                  <a:pt x="55333" y="75814"/>
                  <a:pt x="55175" y="75972"/>
                  <a:pt x="54981" y="75972"/>
                </a:cubicBezTo>
                <a:lnTo>
                  <a:pt x="53571" y="75972"/>
                </a:lnTo>
                <a:cubicBezTo>
                  <a:pt x="53377" y="75972"/>
                  <a:pt x="53219" y="75814"/>
                  <a:pt x="53219" y="75619"/>
                </a:cubicBezTo>
                <a:lnTo>
                  <a:pt x="53219" y="69278"/>
                </a:lnTo>
                <a:cubicBezTo>
                  <a:pt x="53219" y="69084"/>
                  <a:pt x="53377" y="68926"/>
                  <a:pt x="53571" y="68926"/>
                </a:cubicBezTo>
                <a:close/>
                <a:moveTo>
                  <a:pt x="19223" y="54188"/>
                </a:moveTo>
                <a:cubicBezTo>
                  <a:pt x="12357" y="54188"/>
                  <a:pt x="6791" y="59754"/>
                  <a:pt x="6791" y="66620"/>
                </a:cubicBezTo>
                <a:lnTo>
                  <a:pt x="6791" y="136834"/>
                </a:lnTo>
                <a:cubicBezTo>
                  <a:pt x="6791" y="143700"/>
                  <a:pt x="12357" y="149266"/>
                  <a:pt x="19223" y="149266"/>
                </a:cubicBezTo>
                <a:lnTo>
                  <a:pt x="89437" y="149266"/>
                </a:lnTo>
                <a:cubicBezTo>
                  <a:pt x="96303" y="149266"/>
                  <a:pt x="101869" y="143700"/>
                  <a:pt x="101869" y="136834"/>
                </a:cubicBezTo>
                <a:lnTo>
                  <a:pt x="101869" y="66620"/>
                </a:lnTo>
                <a:cubicBezTo>
                  <a:pt x="101869" y="59754"/>
                  <a:pt x="96303" y="54188"/>
                  <a:pt x="89437" y="54188"/>
                </a:cubicBezTo>
                <a:close/>
                <a:moveTo>
                  <a:pt x="108660" y="53391"/>
                </a:moveTo>
                <a:cubicBezTo>
                  <a:pt x="110223" y="53865"/>
                  <a:pt x="110318" y="55027"/>
                  <a:pt x="110318" y="56210"/>
                </a:cubicBezTo>
                <a:lnTo>
                  <a:pt x="110073" y="56802"/>
                </a:lnTo>
                <a:close/>
                <a:moveTo>
                  <a:pt x="18111" y="47397"/>
                </a:moveTo>
                <a:lnTo>
                  <a:pt x="90550" y="47397"/>
                </a:lnTo>
                <a:cubicBezTo>
                  <a:pt x="100552" y="47397"/>
                  <a:pt x="108660" y="55505"/>
                  <a:pt x="108660" y="65507"/>
                </a:cubicBezTo>
                <a:lnTo>
                  <a:pt x="108660" y="137947"/>
                </a:lnTo>
                <a:cubicBezTo>
                  <a:pt x="108660" y="147949"/>
                  <a:pt x="100552" y="156057"/>
                  <a:pt x="90550" y="156057"/>
                </a:cubicBezTo>
                <a:lnTo>
                  <a:pt x="18111" y="156057"/>
                </a:lnTo>
                <a:cubicBezTo>
                  <a:pt x="8108" y="156057"/>
                  <a:pt x="0" y="147949"/>
                  <a:pt x="0" y="137947"/>
                </a:cubicBezTo>
                <a:lnTo>
                  <a:pt x="0" y="65507"/>
                </a:lnTo>
                <a:cubicBezTo>
                  <a:pt x="0" y="55505"/>
                  <a:pt x="8108" y="47397"/>
                  <a:pt x="18111" y="47397"/>
                </a:cubicBezTo>
                <a:close/>
                <a:moveTo>
                  <a:pt x="112101" y="33349"/>
                </a:moveTo>
                <a:cubicBezTo>
                  <a:pt x="116952" y="36361"/>
                  <a:pt x="120541" y="40734"/>
                  <a:pt x="122541" y="46004"/>
                </a:cubicBezTo>
                <a:cubicBezTo>
                  <a:pt x="124443" y="51017"/>
                  <a:pt x="124741" y="56493"/>
                  <a:pt x="123319" y="61738"/>
                </a:cubicBezTo>
                <a:cubicBezTo>
                  <a:pt x="123012" y="62884"/>
                  <a:pt x="121894" y="63455"/>
                  <a:pt x="120742" y="63157"/>
                </a:cubicBezTo>
                <a:cubicBezTo>
                  <a:pt x="119591" y="62859"/>
                  <a:pt x="118892" y="61800"/>
                  <a:pt x="119199" y="60654"/>
                </a:cubicBezTo>
                <a:cubicBezTo>
                  <a:pt x="120346" y="56249"/>
                  <a:pt x="120131" y="51772"/>
                  <a:pt x="118521" y="47530"/>
                </a:cubicBezTo>
                <a:cubicBezTo>
                  <a:pt x="116862" y="43160"/>
                  <a:pt x="113826" y="39459"/>
                  <a:pt x="109737" y="36893"/>
                </a:cubicBezTo>
                <a:cubicBezTo>
                  <a:pt x="109380" y="36735"/>
                  <a:pt x="109055" y="36270"/>
                  <a:pt x="108909" y="35884"/>
                </a:cubicBezTo>
                <a:cubicBezTo>
                  <a:pt x="108665" y="35241"/>
                  <a:pt x="108729" y="34629"/>
                  <a:pt x="109102" y="34046"/>
                </a:cubicBezTo>
                <a:cubicBezTo>
                  <a:pt x="109765" y="33059"/>
                  <a:pt x="111111" y="32695"/>
                  <a:pt x="112101" y="33349"/>
                </a:cubicBezTo>
                <a:close/>
                <a:moveTo>
                  <a:pt x="30735" y="24384"/>
                </a:moveTo>
                <a:lnTo>
                  <a:pt x="78620" y="24384"/>
                </a:lnTo>
                <a:lnTo>
                  <a:pt x="89769" y="45491"/>
                </a:lnTo>
                <a:lnTo>
                  <a:pt x="19586" y="45491"/>
                </a:lnTo>
                <a:close/>
                <a:moveTo>
                  <a:pt x="121422" y="17736"/>
                </a:moveTo>
                <a:lnTo>
                  <a:pt x="132495" y="26938"/>
                </a:lnTo>
                <a:lnTo>
                  <a:pt x="139841" y="39441"/>
                </a:lnTo>
                <a:lnTo>
                  <a:pt x="142666" y="53252"/>
                </a:lnTo>
                <a:lnTo>
                  <a:pt x="140779" y="67188"/>
                </a:lnTo>
                <a:cubicBezTo>
                  <a:pt x="140478" y="68338"/>
                  <a:pt x="139237" y="68956"/>
                  <a:pt x="138089" y="68653"/>
                </a:cubicBezTo>
                <a:cubicBezTo>
                  <a:pt x="137020" y="68171"/>
                  <a:pt x="136450" y="67056"/>
                  <a:pt x="136751" y="65907"/>
                </a:cubicBezTo>
                <a:cubicBezTo>
                  <a:pt x="139249" y="57711"/>
                  <a:pt x="139062" y="49055"/>
                  <a:pt x="135971" y="40909"/>
                </a:cubicBezTo>
                <a:cubicBezTo>
                  <a:pt x="132831" y="32635"/>
                  <a:pt x="126951" y="25696"/>
                  <a:pt x="119388" y="21318"/>
                </a:cubicBezTo>
                <a:cubicBezTo>
                  <a:pt x="118853" y="21077"/>
                  <a:pt x="118577" y="20739"/>
                  <a:pt x="118381" y="20221"/>
                </a:cubicBezTo>
                <a:cubicBezTo>
                  <a:pt x="118184" y="19704"/>
                  <a:pt x="118246" y="19089"/>
                  <a:pt x="118615" y="18505"/>
                </a:cubicBezTo>
                <a:cubicBezTo>
                  <a:pt x="119095" y="17436"/>
                  <a:pt x="120434" y="17075"/>
                  <a:pt x="121422" y="17736"/>
                </a:cubicBezTo>
                <a:close/>
                <a:moveTo>
                  <a:pt x="132142" y="331"/>
                </a:moveTo>
                <a:cubicBezTo>
                  <a:pt x="144609" y="7693"/>
                  <a:pt x="153825" y="18648"/>
                  <a:pt x="158962" y="32184"/>
                </a:cubicBezTo>
                <a:cubicBezTo>
                  <a:pt x="164001" y="45462"/>
                  <a:pt x="164454" y="59595"/>
                  <a:pt x="160352" y="73097"/>
                </a:cubicBezTo>
                <a:cubicBezTo>
                  <a:pt x="160044" y="74246"/>
                  <a:pt x="158792" y="74869"/>
                  <a:pt x="157637" y="74570"/>
                </a:cubicBezTo>
                <a:cubicBezTo>
                  <a:pt x="156612" y="74221"/>
                  <a:pt x="155862" y="73031"/>
                  <a:pt x="156219" y="72011"/>
                </a:cubicBezTo>
                <a:cubicBezTo>
                  <a:pt x="160045" y="59350"/>
                  <a:pt x="159626" y="46090"/>
                  <a:pt x="154929" y="33714"/>
                </a:cubicBezTo>
                <a:cubicBezTo>
                  <a:pt x="150135" y="21081"/>
                  <a:pt x="141472" y="10801"/>
                  <a:pt x="129901" y="3836"/>
                </a:cubicBezTo>
                <a:cubicBezTo>
                  <a:pt x="129543" y="3677"/>
                  <a:pt x="129217" y="3211"/>
                  <a:pt x="129071" y="2824"/>
                </a:cubicBezTo>
                <a:cubicBezTo>
                  <a:pt x="128826" y="2180"/>
                  <a:pt x="128890" y="1565"/>
                  <a:pt x="129264" y="981"/>
                </a:cubicBezTo>
                <a:cubicBezTo>
                  <a:pt x="129800" y="41"/>
                  <a:pt x="131149" y="-324"/>
                  <a:pt x="132142" y="33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3" name="Freeform 105"/>
          <p:cNvSpPr>
            <a:spLocks/>
          </p:cNvSpPr>
          <p:nvPr userDrawn="1"/>
        </p:nvSpPr>
        <p:spPr bwMode="auto">
          <a:xfrm>
            <a:off x="2977344" y="4101697"/>
            <a:ext cx="119056" cy="142089"/>
          </a:xfrm>
          <a:custGeom>
            <a:avLst/>
            <a:gdLst/>
            <a:ahLst/>
            <a:cxnLst/>
            <a:rect l="l" t="t" r="r" b="b"/>
            <a:pathLst>
              <a:path w="119056" h="142089">
                <a:moveTo>
                  <a:pt x="33073" y="8963"/>
                </a:moveTo>
                <a:cubicBezTo>
                  <a:pt x="31828" y="9584"/>
                  <a:pt x="30894" y="10827"/>
                  <a:pt x="30583" y="12070"/>
                </a:cubicBezTo>
                <a:cubicBezTo>
                  <a:pt x="30272" y="13623"/>
                  <a:pt x="30272" y="14866"/>
                  <a:pt x="30894" y="16109"/>
                </a:cubicBezTo>
                <a:lnTo>
                  <a:pt x="33206" y="19869"/>
                </a:lnTo>
                <a:cubicBezTo>
                  <a:pt x="33680" y="19940"/>
                  <a:pt x="33859" y="20217"/>
                  <a:pt x="34031" y="20503"/>
                </a:cubicBezTo>
                <a:lnTo>
                  <a:pt x="33998" y="20628"/>
                </a:lnTo>
                <a:lnTo>
                  <a:pt x="34050" y="20643"/>
                </a:lnTo>
                <a:cubicBezTo>
                  <a:pt x="63824" y="72497"/>
                  <a:pt x="64139" y="73045"/>
                  <a:pt x="64142" y="73051"/>
                </a:cubicBezTo>
                <a:lnTo>
                  <a:pt x="62591" y="78633"/>
                </a:lnTo>
                <a:cubicBezTo>
                  <a:pt x="61971" y="78943"/>
                  <a:pt x="61350" y="79253"/>
                  <a:pt x="60420" y="79253"/>
                </a:cubicBezTo>
                <a:cubicBezTo>
                  <a:pt x="59179" y="79253"/>
                  <a:pt x="57627" y="78323"/>
                  <a:pt x="57007" y="77082"/>
                </a:cubicBezTo>
                <a:cubicBezTo>
                  <a:pt x="43834" y="54275"/>
                  <a:pt x="36427" y="41452"/>
                  <a:pt x="32263" y="34243"/>
                </a:cubicBezTo>
                <a:cubicBezTo>
                  <a:pt x="31964" y="34325"/>
                  <a:pt x="31894" y="34228"/>
                  <a:pt x="31828" y="34129"/>
                </a:cubicBezTo>
                <a:lnTo>
                  <a:pt x="25848" y="24027"/>
                </a:lnTo>
                <a:cubicBezTo>
                  <a:pt x="25468" y="23080"/>
                  <a:pt x="24618" y="22578"/>
                  <a:pt x="23769" y="22366"/>
                </a:cubicBezTo>
                <a:cubicBezTo>
                  <a:pt x="22214" y="22056"/>
                  <a:pt x="20970" y="22056"/>
                  <a:pt x="19726" y="22987"/>
                </a:cubicBezTo>
                <a:cubicBezTo>
                  <a:pt x="18482" y="23608"/>
                  <a:pt x="17549" y="24850"/>
                  <a:pt x="17238" y="26092"/>
                </a:cubicBezTo>
                <a:cubicBezTo>
                  <a:pt x="16927" y="27334"/>
                  <a:pt x="16927" y="28886"/>
                  <a:pt x="17549" y="30128"/>
                </a:cubicBezTo>
                <a:cubicBezTo>
                  <a:pt x="32476" y="55588"/>
                  <a:pt x="32476" y="55588"/>
                  <a:pt x="32476" y="55588"/>
                </a:cubicBezTo>
                <a:lnTo>
                  <a:pt x="32376" y="55951"/>
                </a:lnTo>
                <a:cubicBezTo>
                  <a:pt x="47319" y="82197"/>
                  <a:pt x="47556" y="82613"/>
                  <a:pt x="47560" y="82619"/>
                </a:cubicBezTo>
                <a:lnTo>
                  <a:pt x="46007" y="88230"/>
                </a:lnTo>
                <a:cubicBezTo>
                  <a:pt x="45386" y="88853"/>
                  <a:pt x="44765" y="88853"/>
                  <a:pt x="44144" y="88853"/>
                </a:cubicBezTo>
                <a:cubicBezTo>
                  <a:pt x="42591" y="88853"/>
                  <a:pt x="41038" y="88230"/>
                  <a:pt x="40417" y="86983"/>
                </a:cubicBezTo>
                <a:cubicBezTo>
                  <a:pt x="33491" y="74970"/>
                  <a:pt x="28472" y="66263"/>
                  <a:pt x="24835" y="59954"/>
                </a:cubicBezTo>
                <a:lnTo>
                  <a:pt x="17597" y="47399"/>
                </a:lnTo>
                <a:cubicBezTo>
                  <a:pt x="17072" y="46293"/>
                  <a:pt x="15968" y="45729"/>
                  <a:pt x="14864" y="45164"/>
                </a:cubicBezTo>
                <a:cubicBezTo>
                  <a:pt x="13635" y="44850"/>
                  <a:pt x="12097" y="45164"/>
                  <a:pt x="10868" y="45793"/>
                </a:cubicBezTo>
                <a:cubicBezTo>
                  <a:pt x="9638" y="46421"/>
                  <a:pt x="9023" y="47678"/>
                  <a:pt x="8408" y="48935"/>
                </a:cubicBezTo>
                <a:cubicBezTo>
                  <a:pt x="8101" y="50506"/>
                  <a:pt x="8408" y="51762"/>
                  <a:pt x="9023" y="53019"/>
                </a:cubicBezTo>
                <a:lnTo>
                  <a:pt x="8977" y="53197"/>
                </a:lnTo>
                <a:cubicBezTo>
                  <a:pt x="27742" y="85143"/>
                  <a:pt x="31021" y="90725"/>
                  <a:pt x="31594" y="91701"/>
                </a:cubicBezTo>
                <a:cubicBezTo>
                  <a:pt x="31688" y="91678"/>
                  <a:pt x="31708" y="91707"/>
                  <a:pt x="31727" y="91736"/>
                </a:cubicBezTo>
                <a:cubicBezTo>
                  <a:pt x="45972" y="116602"/>
                  <a:pt x="45972" y="116602"/>
                  <a:pt x="45972" y="116602"/>
                </a:cubicBezTo>
                <a:cubicBezTo>
                  <a:pt x="55263" y="132764"/>
                  <a:pt x="75392" y="138359"/>
                  <a:pt x="92114" y="129656"/>
                </a:cubicBezTo>
                <a:cubicBezTo>
                  <a:pt x="104192" y="123129"/>
                  <a:pt x="110695" y="111007"/>
                  <a:pt x="110695" y="95777"/>
                </a:cubicBezTo>
                <a:cubicBezTo>
                  <a:pt x="110695" y="40761"/>
                  <a:pt x="110695" y="40761"/>
                  <a:pt x="110695" y="40761"/>
                </a:cubicBezTo>
                <a:cubicBezTo>
                  <a:pt x="110695" y="37964"/>
                  <a:pt x="108527" y="35477"/>
                  <a:pt x="105740" y="35477"/>
                </a:cubicBezTo>
                <a:cubicBezTo>
                  <a:pt x="102643" y="35477"/>
                  <a:pt x="100475" y="37964"/>
                  <a:pt x="100475" y="40761"/>
                </a:cubicBezTo>
                <a:cubicBezTo>
                  <a:pt x="100475" y="61897"/>
                  <a:pt x="100475" y="61897"/>
                  <a:pt x="100475" y="61897"/>
                </a:cubicBezTo>
                <a:cubicBezTo>
                  <a:pt x="100475" y="63762"/>
                  <a:pt x="98927" y="65316"/>
                  <a:pt x="97069" y="65938"/>
                </a:cubicBezTo>
                <a:cubicBezTo>
                  <a:pt x="95521" y="66249"/>
                  <a:pt x="93353" y="65627"/>
                  <a:pt x="92424" y="63762"/>
                </a:cubicBezTo>
                <a:lnTo>
                  <a:pt x="87275" y="53971"/>
                </a:lnTo>
                <a:cubicBezTo>
                  <a:pt x="86540" y="52573"/>
                  <a:pt x="86540" y="52573"/>
                  <a:pt x="86540" y="52573"/>
                </a:cubicBezTo>
                <a:cubicBezTo>
                  <a:pt x="68319" y="21405"/>
                  <a:pt x="65198" y="16066"/>
                  <a:pt x="64663" y="15152"/>
                </a:cubicBezTo>
                <a:cubicBezTo>
                  <a:pt x="64543" y="15183"/>
                  <a:pt x="64517" y="15145"/>
                  <a:pt x="64491" y="15107"/>
                </a:cubicBezTo>
                <a:cubicBezTo>
                  <a:pt x="63866" y="13881"/>
                  <a:pt x="62929" y="12961"/>
                  <a:pt x="61367" y="12654"/>
                </a:cubicBezTo>
                <a:cubicBezTo>
                  <a:pt x="60117" y="12348"/>
                  <a:pt x="58555" y="12348"/>
                  <a:pt x="57306" y="13268"/>
                </a:cubicBezTo>
                <a:cubicBezTo>
                  <a:pt x="56056" y="13881"/>
                  <a:pt x="55431" y="14801"/>
                  <a:pt x="54807" y="16334"/>
                </a:cubicBezTo>
                <a:cubicBezTo>
                  <a:pt x="54494" y="17561"/>
                  <a:pt x="54807" y="19094"/>
                  <a:pt x="55431" y="20320"/>
                </a:cubicBezTo>
                <a:lnTo>
                  <a:pt x="55426" y="20338"/>
                </a:lnTo>
                <a:lnTo>
                  <a:pt x="60648" y="29143"/>
                </a:lnTo>
                <a:lnTo>
                  <a:pt x="61343" y="30586"/>
                </a:lnTo>
                <a:cubicBezTo>
                  <a:pt x="80369" y="63081"/>
                  <a:pt x="80595" y="63466"/>
                  <a:pt x="80597" y="63470"/>
                </a:cubicBezTo>
                <a:lnTo>
                  <a:pt x="79045" y="69343"/>
                </a:lnTo>
                <a:cubicBezTo>
                  <a:pt x="78423" y="69652"/>
                  <a:pt x="77492" y="69652"/>
                  <a:pt x="76871" y="69652"/>
                </a:cubicBezTo>
                <a:cubicBezTo>
                  <a:pt x="75318" y="69652"/>
                  <a:pt x="74076" y="69034"/>
                  <a:pt x="73144" y="67798"/>
                </a:cubicBezTo>
                <a:cubicBezTo>
                  <a:pt x="63531" y="51055"/>
                  <a:pt x="57637" y="40790"/>
                  <a:pt x="54024" y="34497"/>
                </a:cubicBezTo>
                <a:cubicBezTo>
                  <a:pt x="53960" y="34497"/>
                  <a:pt x="53942" y="34469"/>
                  <a:pt x="53925" y="34439"/>
                </a:cubicBezTo>
                <a:cubicBezTo>
                  <a:pt x="40231" y="10827"/>
                  <a:pt x="40231" y="10827"/>
                  <a:pt x="40231" y="10827"/>
                </a:cubicBezTo>
                <a:cubicBezTo>
                  <a:pt x="38675" y="8342"/>
                  <a:pt x="35563" y="7410"/>
                  <a:pt x="33073" y="8963"/>
                </a:cubicBezTo>
                <a:close/>
                <a:moveTo>
                  <a:pt x="39103" y="458"/>
                </a:moveTo>
                <a:cubicBezTo>
                  <a:pt x="42487" y="1351"/>
                  <a:pt x="45522" y="3526"/>
                  <a:pt x="47389" y="6788"/>
                </a:cubicBezTo>
                <a:lnTo>
                  <a:pt x="49597" y="10511"/>
                </a:lnTo>
                <a:cubicBezTo>
                  <a:pt x="49934" y="8264"/>
                  <a:pt x="51491" y="6941"/>
                  <a:pt x="53245" y="5908"/>
                </a:cubicBezTo>
                <a:cubicBezTo>
                  <a:pt x="56369" y="4069"/>
                  <a:pt x="60117" y="3762"/>
                  <a:pt x="63554" y="4682"/>
                </a:cubicBezTo>
                <a:lnTo>
                  <a:pt x="71552" y="10497"/>
                </a:lnTo>
                <a:cubicBezTo>
                  <a:pt x="71848" y="10414"/>
                  <a:pt x="71918" y="10511"/>
                  <a:pt x="71985" y="10612"/>
                </a:cubicBezTo>
                <a:cubicBezTo>
                  <a:pt x="92114" y="45424"/>
                  <a:pt x="92114" y="45424"/>
                  <a:pt x="92114" y="45424"/>
                </a:cubicBezTo>
                <a:cubicBezTo>
                  <a:pt x="92114" y="33301"/>
                  <a:pt x="97998" y="27085"/>
                  <a:pt x="105740" y="27085"/>
                </a:cubicBezTo>
                <a:cubicBezTo>
                  <a:pt x="113172" y="27085"/>
                  <a:pt x="119056" y="33301"/>
                  <a:pt x="119056" y="40761"/>
                </a:cubicBezTo>
                <a:cubicBezTo>
                  <a:pt x="119056" y="95777"/>
                  <a:pt x="119056" y="95777"/>
                  <a:pt x="119056" y="95777"/>
                </a:cubicBezTo>
                <a:cubicBezTo>
                  <a:pt x="119056" y="114115"/>
                  <a:pt x="111005" y="128724"/>
                  <a:pt x="95830" y="136805"/>
                </a:cubicBezTo>
                <a:cubicBezTo>
                  <a:pt x="89327" y="140535"/>
                  <a:pt x="82205" y="142089"/>
                  <a:pt x="75392" y="142089"/>
                </a:cubicBezTo>
                <a:cubicBezTo>
                  <a:pt x="60527" y="142089"/>
                  <a:pt x="46592" y="134629"/>
                  <a:pt x="38540" y="120953"/>
                </a:cubicBezTo>
                <a:cubicBezTo>
                  <a:pt x="27782" y="102175"/>
                  <a:pt x="25149" y="97578"/>
                  <a:pt x="24504" y="96452"/>
                </a:cubicBezTo>
                <a:cubicBezTo>
                  <a:pt x="24329" y="96450"/>
                  <a:pt x="24260" y="96362"/>
                  <a:pt x="24191" y="96271"/>
                </a:cubicBezTo>
                <a:cubicBezTo>
                  <a:pt x="1619" y="57310"/>
                  <a:pt x="1619" y="57310"/>
                  <a:pt x="1619" y="57310"/>
                </a:cubicBezTo>
                <a:lnTo>
                  <a:pt x="1824" y="56534"/>
                </a:lnTo>
                <a:cubicBezTo>
                  <a:pt x="21" y="53692"/>
                  <a:pt x="-436" y="50214"/>
                  <a:pt x="414" y="46735"/>
                </a:cubicBezTo>
                <a:cubicBezTo>
                  <a:pt x="1337" y="43279"/>
                  <a:pt x="3796" y="40452"/>
                  <a:pt x="6871" y="38567"/>
                </a:cubicBezTo>
                <a:lnTo>
                  <a:pt x="12430" y="37706"/>
                </a:lnTo>
                <a:cubicBezTo>
                  <a:pt x="8531" y="31060"/>
                  <a:pt x="8220" y="27334"/>
                  <a:pt x="9153" y="23919"/>
                </a:cubicBezTo>
                <a:cubicBezTo>
                  <a:pt x="10086" y="20503"/>
                  <a:pt x="12263" y="17398"/>
                  <a:pt x="15373" y="15535"/>
                </a:cubicBezTo>
                <a:lnTo>
                  <a:pt x="22972" y="14643"/>
                </a:lnTo>
                <a:cubicBezTo>
                  <a:pt x="21549" y="9630"/>
                  <a:pt x="23997" y="4509"/>
                  <a:pt x="28716" y="1817"/>
                </a:cubicBezTo>
                <a:cubicBezTo>
                  <a:pt x="31984" y="-47"/>
                  <a:pt x="35718" y="-435"/>
                  <a:pt x="39103" y="458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4" name="Trapezoid 6"/>
          <p:cNvSpPr>
            <a:spLocks noChangeAspect="1"/>
          </p:cNvSpPr>
          <p:nvPr userDrawn="1"/>
        </p:nvSpPr>
        <p:spPr>
          <a:xfrm>
            <a:off x="4148905" y="4099786"/>
            <a:ext cx="194683" cy="154834"/>
          </a:xfrm>
          <a:custGeom>
            <a:avLst/>
            <a:gdLst/>
            <a:ahLst/>
            <a:cxnLst/>
            <a:rect l="l" t="t" r="r" b="b"/>
            <a:pathLst>
              <a:path w="194683" h="154834">
                <a:moveTo>
                  <a:pt x="140224" y="130335"/>
                </a:moveTo>
                <a:cubicBezTo>
                  <a:pt x="141787" y="130809"/>
                  <a:pt x="141882" y="131971"/>
                  <a:pt x="141882" y="133154"/>
                </a:cubicBezTo>
                <a:lnTo>
                  <a:pt x="141637" y="133746"/>
                </a:lnTo>
                <a:close/>
                <a:moveTo>
                  <a:pt x="143665" y="110293"/>
                </a:moveTo>
                <a:cubicBezTo>
                  <a:pt x="148516" y="113305"/>
                  <a:pt x="152105" y="117678"/>
                  <a:pt x="154105" y="122948"/>
                </a:cubicBezTo>
                <a:cubicBezTo>
                  <a:pt x="156007" y="127961"/>
                  <a:pt x="156305" y="133437"/>
                  <a:pt x="154883" y="138682"/>
                </a:cubicBezTo>
                <a:cubicBezTo>
                  <a:pt x="154576" y="139828"/>
                  <a:pt x="153458" y="140399"/>
                  <a:pt x="152306" y="140101"/>
                </a:cubicBezTo>
                <a:cubicBezTo>
                  <a:pt x="151155" y="139803"/>
                  <a:pt x="150456" y="138744"/>
                  <a:pt x="150763" y="137598"/>
                </a:cubicBezTo>
                <a:cubicBezTo>
                  <a:pt x="151910" y="133193"/>
                  <a:pt x="151695" y="128716"/>
                  <a:pt x="150085" y="124474"/>
                </a:cubicBezTo>
                <a:cubicBezTo>
                  <a:pt x="148426" y="120104"/>
                  <a:pt x="145390" y="116403"/>
                  <a:pt x="141301" y="113837"/>
                </a:cubicBezTo>
                <a:cubicBezTo>
                  <a:pt x="140944" y="113679"/>
                  <a:pt x="140619" y="113214"/>
                  <a:pt x="140473" y="112828"/>
                </a:cubicBezTo>
                <a:cubicBezTo>
                  <a:pt x="140229" y="112185"/>
                  <a:pt x="140293" y="111573"/>
                  <a:pt x="140666" y="110990"/>
                </a:cubicBezTo>
                <a:cubicBezTo>
                  <a:pt x="141329" y="110003"/>
                  <a:pt x="142675" y="109639"/>
                  <a:pt x="143665" y="110293"/>
                </a:cubicBezTo>
                <a:close/>
                <a:moveTo>
                  <a:pt x="28254" y="110270"/>
                </a:moveTo>
                <a:cubicBezTo>
                  <a:pt x="31819" y="129575"/>
                  <a:pt x="48936" y="143833"/>
                  <a:pt x="69384" y="143833"/>
                </a:cubicBezTo>
                <a:cubicBezTo>
                  <a:pt x="89832" y="143833"/>
                  <a:pt x="106950" y="129575"/>
                  <a:pt x="110515" y="110270"/>
                </a:cubicBezTo>
                <a:close/>
                <a:moveTo>
                  <a:pt x="17197" y="103093"/>
                </a:moveTo>
                <a:lnTo>
                  <a:pt x="120682" y="103093"/>
                </a:lnTo>
                <a:cubicBezTo>
                  <a:pt x="120682" y="131669"/>
                  <a:pt x="97516" y="154834"/>
                  <a:pt x="68939" y="154834"/>
                </a:cubicBezTo>
                <a:cubicBezTo>
                  <a:pt x="40363" y="154834"/>
                  <a:pt x="17197" y="131669"/>
                  <a:pt x="17197" y="103093"/>
                </a:cubicBezTo>
                <a:close/>
                <a:moveTo>
                  <a:pt x="152986" y="94680"/>
                </a:moveTo>
                <a:lnTo>
                  <a:pt x="164059" y="103882"/>
                </a:lnTo>
                <a:lnTo>
                  <a:pt x="171405" y="116385"/>
                </a:lnTo>
                <a:lnTo>
                  <a:pt x="174230" y="130196"/>
                </a:lnTo>
                <a:lnTo>
                  <a:pt x="172343" y="144132"/>
                </a:lnTo>
                <a:cubicBezTo>
                  <a:pt x="172042" y="145282"/>
                  <a:pt x="170801" y="145900"/>
                  <a:pt x="169653" y="145597"/>
                </a:cubicBezTo>
                <a:cubicBezTo>
                  <a:pt x="168584" y="145115"/>
                  <a:pt x="168014" y="144000"/>
                  <a:pt x="168315" y="142851"/>
                </a:cubicBezTo>
                <a:cubicBezTo>
                  <a:pt x="170813" y="134655"/>
                  <a:pt x="170626" y="125999"/>
                  <a:pt x="167535" y="117853"/>
                </a:cubicBezTo>
                <a:cubicBezTo>
                  <a:pt x="164395" y="109579"/>
                  <a:pt x="158515" y="102640"/>
                  <a:pt x="150952" y="98262"/>
                </a:cubicBezTo>
                <a:cubicBezTo>
                  <a:pt x="150417" y="98021"/>
                  <a:pt x="150141" y="97683"/>
                  <a:pt x="149945" y="97165"/>
                </a:cubicBezTo>
                <a:cubicBezTo>
                  <a:pt x="149748" y="96648"/>
                  <a:pt x="149810" y="96033"/>
                  <a:pt x="150179" y="95449"/>
                </a:cubicBezTo>
                <a:cubicBezTo>
                  <a:pt x="150659" y="94380"/>
                  <a:pt x="151998" y="94019"/>
                  <a:pt x="152986" y="94680"/>
                </a:cubicBezTo>
                <a:close/>
                <a:moveTo>
                  <a:pt x="163706" y="77275"/>
                </a:moveTo>
                <a:cubicBezTo>
                  <a:pt x="176173" y="84637"/>
                  <a:pt x="185389" y="95592"/>
                  <a:pt x="190526" y="109128"/>
                </a:cubicBezTo>
                <a:cubicBezTo>
                  <a:pt x="195565" y="122406"/>
                  <a:pt x="196018" y="136539"/>
                  <a:pt x="191916" y="150041"/>
                </a:cubicBezTo>
                <a:cubicBezTo>
                  <a:pt x="191608" y="151190"/>
                  <a:pt x="190356" y="151813"/>
                  <a:pt x="189201" y="151514"/>
                </a:cubicBezTo>
                <a:cubicBezTo>
                  <a:pt x="188176" y="151165"/>
                  <a:pt x="187426" y="149975"/>
                  <a:pt x="187783" y="148955"/>
                </a:cubicBezTo>
                <a:cubicBezTo>
                  <a:pt x="191609" y="136294"/>
                  <a:pt x="191190" y="123034"/>
                  <a:pt x="186493" y="110658"/>
                </a:cubicBezTo>
                <a:cubicBezTo>
                  <a:pt x="181699" y="98025"/>
                  <a:pt x="173036" y="87745"/>
                  <a:pt x="161465" y="80780"/>
                </a:cubicBezTo>
                <a:cubicBezTo>
                  <a:pt x="161107" y="80621"/>
                  <a:pt x="160781" y="80155"/>
                  <a:pt x="160635" y="79768"/>
                </a:cubicBezTo>
                <a:cubicBezTo>
                  <a:pt x="160390" y="79124"/>
                  <a:pt x="160454" y="78509"/>
                  <a:pt x="160828" y="77925"/>
                </a:cubicBezTo>
                <a:cubicBezTo>
                  <a:pt x="161364" y="76985"/>
                  <a:pt x="162713" y="76620"/>
                  <a:pt x="163706" y="77275"/>
                </a:cubicBezTo>
                <a:close/>
                <a:moveTo>
                  <a:pt x="50462" y="0"/>
                </a:moveTo>
                <a:lnTo>
                  <a:pt x="90016" y="0"/>
                </a:lnTo>
                <a:lnTo>
                  <a:pt x="90016" y="11993"/>
                </a:lnTo>
                <a:lnTo>
                  <a:pt x="90254" y="11993"/>
                </a:lnTo>
                <a:lnTo>
                  <a:pt x="133168" y="29521"/>
                </a:lnTo>
                <a:lnTo>
                  <a:pt x="132886" y="29521"/>
                </a:lnTo>
                <a:lnTo>
                  <a:pt x="136564" y="90155"/>
                </a:lnTo>
                <a:lnTo>
                  <a:pt x="136602" y="90155"/>
                </a:lnTo>
                <a:lnTo>
                  <a:pt x="136566" y="90195"/>
                </a:lnTo>
                <a:lnTo>
                  <a:pt x="136602" y="90792"/>
                </a:lnTo>
                <a:lnTo>
                  <a:pt x="136019" y="90792"/>
                </a:lnTo>
                <a:lnTo>
                  <a:pt x="127754" y="99833"/>
                </a:lnTo>
                <a:lnTo>
                  <a:pt x="124924" y="99833"/>
                </a:lnTo>
                <a:lnTo>
                  <a:pt x="122016" y="99833"/>
                </a:lnTo>
                <a:lnTo>
                  <a:pt x="8244" y="99833"/>
                </a:lnTo>
                <a:lnTo>
                  <a:pt x="3156" y="92446"/>
                </a:lnTo>
                <a:lnTo>
                  <a:pt x="0" y="92446"/>
                </a:lnTo>
                <a:lnTo>
                  <a:pt x="0" y="87864"/>
                </a:lnTo>
                <a:lnTo>
                  <a:pt x="123207" y="87864"/>
                </a:lnTo>
                <a:lnTo>
                  <a:pt x="123562" y="82017"/>
                </a:lnTo>
                <a:lnTo>
                  <a:pt x="0" y="82017"/>
                </a:lnTo>
                <a:lnTo>
                  <a:pt x="5456" y="34770"/>
                </a:lnTo>
                <a:lnTo>
                  <a:pt x="117192" y="34770"/>
                </a:lnTo>
                <a:lnTo>
                  <a:pt x="113434" y="29521"/>
                </a:lnTo>
                <a:lnTo>
                  <a:pt x="7310" y="29521"/>
                </a:lnTo>
                <a:lnTo>
                  <a:pt x="50224" y="11993"/>
                </a:lnTo>
                <a:lnTo>
                  <a:pt x="50462" y="119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45" name="Ellipse 6"/>
          <p:cNvSpPr>
            <a:spLocks noChangeAspect="1"/>
          </p:cNvSpPr>
          <p:nvPr userDrawn="1"/>
        </p:nvSpPr>
        <p:spPr>
          <a:xfrm>
            <a:off x="4431834" y="4099786"/>
            <a:ext cx="72213" cy="144000"/>
          </a:xfrm>
          <a:custGeom>
            <a:avLst/>
            <a:gdLst/>
            <a:ahLst/>
            <a:cxnLst/>
            <a:rect l="l" t="t" r="r" b="b"/>
            <a:pathLst>
              <a:path w="1717080" h="3424020">
                <a:moveTo>
                  <a:pt x="997065" y="1823433"/>
                </a:moveTo>
                <a:lnTo>
                  <a:pt x="997065" y="2832556"/>
                </a:lnTo>
                <a:cubicBezTo>
                  <a:pt x="1238754" y="2802524"/>
                  <a:pt x="1474097" y="2677572"/>
                  <a:pt x="1480808" y="2362801"/>
                </a:cubicBezTo>
                <a:cubicBezTo>
                  <a:pt x="1497322" y="2014516"/>
                  <a:pt x="1233753" y="1904288"/>
                  <a:pt x="997065" y="1823433"/>
                </a:cubicBezTo>
                <a:close/>
                <a:moveTo>
                  <a:pt x="818181" y="553548"/>
                </a:moveTo>
                <a:cubicBezTo>
                  <a:pt x="400255" y="600257"/>
                  <a:pt x="343906" y="853119"/>
                  <a:pt x="336263" y="1020769"/>
                </a:cubicBezTo>
                <a:cubicBezTo>
                  <a:pt x="321282" y="1349307"/>
                  <a:pt x="594180" y="1445053"/>
                  <a:pt x="818181" y="1521656"/>
                </a:cubicBezTo>
                <a:close/>
                <a:moveTo>
                  <a:pt x="818181" y="0"/>
                </a:moveTo>
                <a:lnTo>
                  <a:pt x="997065" y="0"/>
                </a:lnTo>
                <a:lnTo>
                  <a:pt x="997065" y="352824"/>
                </a:lnTo>
                <a:cubicBezTo>
                  <a:pt x="1295182" y="363451"/>
                  <a:pt x="1510991" y="439329"/>
                  <a:pt x="1678356" y="546433"/>
                </a:cubicBezTo>
                <a:lnTo>
                  <a:pt x="1588676" y="734427"/>
                </a:lnTo>
                <a:cubicBezTo>
                  <a:pt x="1348085" y="602078"/>
                  <a:pt x="1158506" y="562501"/>
                  <a:pt x="997065" y="553983"/>
                </a:cubicBezTo>
                <a:lnTo>
                  <a:pt x="997065" y="1582206"/>
                </a:lnTo>
                <a:cubicBezTo>
                  <a:pt x="1246586" y="1658347"/>
                  <a:pt x="1741258" y="1803728"/>
                  <a:pt x="1716161" y="2353256"/>
                </a:cubicBezTo>
                <a:cubicBezTo>
                  <a:pt x="1691242" y="2727152"/>
                  <a:pt x="1440616" y="2997721"/>
                  <a:pt x="997065" y="3036274"/>
                </a:cubicBezTo>
                <a:lnTo>
                  <a:pt x="997065" y="3424020"/>
                </a:lnTo>
                <a:lnTo>
                  <a:pt x="818181" y="3424020"/>
                </a:lnTo>
                <a:lnTo>
                  <a:pt x="818181" y="3042669"/>
                </a:lnTo>
                <a:cubicBezTo>
                  <a:pt x="353041" y="3035288"/>
                  <a:pt x="86955" y="2858177"/>
                  <a:pt x="0" y="2802656"/>
                </a:cubicBezTo>
                <a:lnTo>
                  <a:pt x="97282" y="2617644"/>
                </a:lnTo>
                <a:cubicBezTo>
                  <a:pt x="355770" y="2775840"/>
                  <a:pt x="602946" y="2832848"/>
                  <a:pt x="818181" y="2836791"/>
                </a:cubicBezTo>
                <a:lnTo>
                  <a:pt x="818181" y="1760050"/>
                </a:lnTo>
                <a:cubicBezTo>
                  <a:pt x="316515" y="1570031"/>
                  <a:pt x="24472" y="1457773"/>
                  <a:pt x="121662" y="865559"/>
                </a:cubicBezTo>
                <a:cubicBezTo>
                  <a:pt x="188251" y="528508"/>
                  <a:pt x="519920" y="365826"/>
                  <a:pt x="818181" y="35257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5214" tIns="113400" rIns="115214" bIns="113400" spcCol="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46" name="Abgerundetes Rechteck 19"/>
          <p:cNvSpPr>
            <a:spLocks noChangeAspect="1"/>
          </p:cNvSpPr>
          <p:nvPr userDrawn="1"/>
        </p:nvSpPr>
        <p:spPr>
          <a:xfrm>
            <a:off x="4592293" y="4099786"/>
            <a:ext cx="97554" cy="144000"/>
          </a:xfrm>
          <a:custGeom>
            <a:avLst/>
            <a:gdLst/>
            <a:ahLst/>
            <a:cxnLst/>
            <a:rect l="l" t="t" r="r" b="b"/>
            <a:pathLst>
              <a:path w="313933" h="463400">
                <a:moveTo>
                  <a:pt x="149753" y="320062"/>
                </a:moveTo>
                <a:cubicBezTo>
                  <a:pt x="165366" y="329753"/>
                  <a:pt x="176914" y="343827"/>
                  <a:pt x="183350" y="360787"/>
                </a:cubicBezTo>
                <a:cubicBezTo>
                  <a:pt x="189472" y="376919"/>
                  <a:pt x="190429" y="394539"/>
                  <a:pt x="185855" y="411418"/>
                </a:cubicBezTo>
                <a:cubicBezTo>
                  <a:pt x="184867" y="415105"/>
                  <a:pt x="181269" y="416945"/>
                  <a:pt x="177562" y="415986"/>
                </a:cubicBezTo>
                <a:cubicBezTo>
                  <a:pt x="173856" y="415025"/>
                  <a:pt x="171608" y="411619"/>
                  <a:pt x="172596" y="407931"/>
                </a:cubicBezTo>
                <a:cubicBezTo>
                  <a:pt x="176287" y="393754"/>
                  <a:pt x="175594" y="379347"/>
                  <a:pt x="170413" y="365696"/>
                </a:cubicBezTo>
                <a:cubicBezTo>
                  <a:pt x="165076" y="351632"/>
                  <a:pt x="155305" y="339724"/>
                  <a:pt x="142146" y="331466"/>
                </a:cubicBezTo>
                <a:cubicBezTo>
                  <a:pt x="140998" y="330956"/>
                  <a:pt x="139953" y="329460"/>
                  <a:pt x="139482" y="328219"/>
                </a:cubicBezTo>
                <a:cubicBezTo>
                  <a:pt x="138697" y="326150"/>
                  <a:pt x="138903" y="324179"/>
                  <a:pt x="140102" y="322305"/>
                </a:cubicBezTo>
                <a:cubicBezTo>
                  <a:pt x="142238" y="319128"/>
                  <a:pt x="146568" y="317958"/>
                  <a:pt x="149753" y="320062"/>
                </a:cubicBezTo>
                <a:close/>
                <a:moveTo>
                  <a:pt x="179750" y="269817"/>
                </a:moveTo>
                <a:lnTo>
                  <a:pt x="215384" y="299430"/>
                </a:lnTo>
                <a:lnTo>
                  <a:pt x="239022" y="339665"/>
                </a:lnTo>
                <a:lnTo>
                  <a:pt x="248113" y="384111"/>
                </a:lnTo>
                <a:lnTo>
                  <a:pt x="242041" y="428957"/>
                </a:lnTo>
                <a:cubicBezTo>
                  <a:pt x="241071" y="432657"/>
                  <a:pt x="237078" y="434648"/>
                  <a:pt x="233383" y="433671"/>
                </a:cubicBezTo>
                <a:cubicBezTo>
                  <a:pt x="229945" y="432120"/>
                  <a:pt x="228109" y="428533"/>
                  <a:pt x="229079" y="424833"/>
                </a:cubicBezTo>
                <a:cubicBezTo>
                  <a:pt x="237116" y="398459"/>
                  <a:pt x="236517" y="370604"/>
                  <a:pt x="226570" y="344391"/>
                </a:cubicBezTo>
                <a:cubicBezTo>
                  <a:pt x="216464" y="317763"/>
                  <a:pt x="197543" y="295432"/>
                  <a:pt x="173203" y="281346"/>
                </a:cubicBezTo>
                <a:cubicBezTo>
                  <a:pt x="171483" y="280570"/>
                  <a:pt x="170594" y="279480"/>
                  <a:pt x="169963" y="277816"/>
                </a:cubicBezTo>
                <a:cubicBezTo>
                  <a:pt x="169331" y="276151"/>
                  <a:pt x="169530" y="274171"/>
                  <a:pt x="170717" y="272293"/>
                </a:cubicBezTo>
                <a:cubicBezTo>
                  <a:pt x="172260" y="268851"/>
                  <a:pt x="176569" y="267692"/>
                  <a:pt x="179750" y="269817"/>
                </a:cubicBezTo>
                <a:close/>
                <a:moveTo>
                  <a:pt x="214248" y="213808"/>
                </a:moveTo>
                <a:cubicBezTo>
                  <a:pt x="254365" y="237500"/>
                  <a:pt x="284024" y="272754"/>
                  <a:pt x="300554" y="316312"/>
                </a:cubicBezTo>
                <a:cubicBezTo>
                  <a:pt x="316769" y="359041"/>
                  <a:pt x="318227" y="404523"/>
                  <a:pt x="305027" y="447973"/>
                </a:cubicBezTo>
                <a:cubicBezTo>
                  <a:pt x="304036" y="451671"/>
                  <a:pt x="300007" y="453674"/>
                  <a:pt x="296290" y="452712"/>
                </a:cubicBezTo>
                <a:cubicBezTo>
                  <a:pt x="292991" y="451590"/>
                  <a:pt x="290580" y="447760"/>
                  <a:pt x="291728" y="444477"/>
                </a:cubicBezTo>
                <a:cubicBezTo>
                  <a:pt x="304041" y="403735"/>
                  <a:pt x="302691" y="361061"/>
                  <a:pt x="287578" y="321236"/>
                </a:cubicBezTo>
                <a:cubicBezTo>
                  <a:pt x="272150" y="280581"/>
                  <a:pt x="244272" y="247499"/>
                  <a:pt x="207036" y="225088"/>
                </a:cubicBezTo>
                <a:cubicBezTo>
                  <a:pt x="205883" y="224576"/>
                  <a:pt x="204835" y="223076"/>
                  <a:pt x="204363" y="221831"/>
                </a:cubicBezTo>
                <a:cubicBezTo>
                  <a:pt x="203575" y="219757"/>
                  <a:pt x="203783" y="217779"/>
                  <a:pt x="204985" y="215899"/>
                </a:cubicBezTo>
                <a:cubicBezTo>
                  <a:pt x="206710" y="212873"/>
                  <a:pt x="211052" y="211698"/>
                  <a:pt x="214248" y="213808"/>
                </a:cubicBezTo>
                <a:close/>
                <a:moveTo>
                  <a:pt x="73645" y="19462"/>
                </a:moveTo>
                <a:cubicBezTo>
                  <a:pt x="62942" y="19462"/>
                  <a:pt x="54266" y="28139"/>
                  <a:pt x="54266" y="38841"/>
                </a:cubicBezTo>
                <a:lnTo>
                  <a:pt x="54266" y="332230"/>
                </a:lnTo>
                <a:lnTo>
                  <a:pt x="54264" y="332231"/>
                </a:lnTo>
                <a:lnTo>
                  <a:pt x="54264" y="348728"/>
                </a:lnTo>
                <a:cubicBezTo>
                  <a:pt x="37024" y="356321"/>
                  <a:pt x="25029" y="373574"/>
                  <a:pt x="25029" y="393628"/>
                </a:cubicBezTo>
                <a:cubicBezTo>
                  <a:pt x="25029" y="420808"/>
                  <a:pt x="47063" y="442842"/>
                  <a:pt x="74244" y="442842"/>
                </a:cubicBezTo>
                <a:cubicBezTo>
                  <a:pt x="101424" y="442842"/>
                  <a:pt x="123458" y="420808"/>
                  <a:pt x="123458" y="393628"/>
                </a:cubicBezTo>
                <a:cubicBezTo>
                  <a:pt x="123458" y="373106"/>
                  <a:pt x="110898" y="355518"/>
                  <a:pt x="93030" y="348166"/>
                </a:cubicBezTo>
                <a:lnTo>
                  <a:pt x="93030" y="329823"/>
                </a:lnTo>
                <a:cubicBezTo>
                  <a:pt x="93029" y="329822"/>
                  <a:pt x="93026" y="329821"/>
                  <a:pt x="93024" y="329821"/>
                </a:cubicBezTo>
                <a:lnTo>
                  <a:pt x="93024" y="38841"/>
                </a:lnTo>
                <a:cubicBezTo>
                  <a:pt x="93024" y="28139"/>
                  <a:pt x="84348" y="19462"/>
                  <a:pt x="73645" y="19462"/>
                </a:cubicBezTo>
                <a:close/>
                <a:moveTo>
                  <a:pt x="73645" y="0"/>
                </a:moveTo>
                <a:cubicBezTo>
                  <a:pt x="92910" y="0"/>
                  <a:pt x="108528" y="15617"/>
                  <a:pt x="108528" y="34882"/>
                </a:cubicBezTo>
                <a:lnTo>
                  <a:pt x="108528" y="333295"/>
                </a:lnTo>
                <a:cubicBezTo>
                  <a:pt x="129785" y="344933"/>
                  <a:pt x="144016" y="367619"/>
                  <a:pt x="144016" y="393628"/>
                </a:cubicBezTo>
                <a:cubicBezTo>
                  <a:pt x="144016" y="432162"/>
                  <a:pt x="112778" y="463400"/>
                  <a:pt x="74244" y="463400"/>
                </a:cubicBezTo>
                <a:cubicBezTo>
                  <a:pt x="35709" y="463400"/>
                  <a:pt x="4471" y="432162"/>
                  <a:pt x="4471" y="393628"/>
                </a:cubicBezTo>
                <a:cubicBezTo>
                  <a:pt x="4471" y="368116"/>
                  <a:pt x="18164" y="345802"/>
                  <a:pt x="38763" y="333995"/>
                </a:cubicBezTo>
                <a:lnTo>
                  <a:pt x="38763" y="320205"/>
                </a:lnTo>
                <a:lnTo>
                  <a:pt x="7753" y="320205"/>
                </a:lnTo>
                <a:cubicBezTo>
                  <a:pt x="3471" y="320205"/>
                  <a:pt x="0" y="316734"/>
                  <a:pt x="0" y="312452"/>
                </a:cubicBezTo>
                <a:cubicBezTo>
                  <a:pt x="0" y="308171"/>
                  <a:pt x="3471" y="304700"/>
                  <a:pt x="7753" y="304700"/>
                </a:cubicBezTo>
                <a:lnTo>
                  <a:pt x="38763" y="304700"/>
                </a:lnTo>
                <a:lnTo>
                  <a:pt x="38763" y="272139"/>
                </a:lnTo>
                <a:lnTo>
                  <a:pt x="7753" y="272139"/>
                </a:lnTo>
                <a:cubicBezTo>
                  <a:pt x="3471" y="272139"/>
                  <a:pt x="0" y="268668"/>
                  <a:pt x="0" y="264387"/>
                </a:cubicBezTo>
                <a:cubicBezTo>
                  <a:pt x="0" y="260106"/>
                  <a:pt x="3471" y="256635"/>
                  <a:pt x="7753" y="256635"/>
                </a:cubicBezTo>
                <a:lnTo>
                  <a:pt x="38763" y="256635"/>
                </a:lnTo>
                <a:lnTo>
                  <a:pt x="38763" y="224074"/>
                </a:lnTo>
                <a:lnTo>
                  <a:pt x="7753" y="224074"/>
                </a:lnTo>
                <a:cubicBezTo>
                  <a:pt x="3471" y="224074"/>
                  <a:pt x="0" y="220603"/>
                  <a:pt x="0" y="216322"/>
                </a:cubicBezTo>
                <a:cubicBezTo>
                  <a:pt x="0" y="212040"/>
                  <a:pt x="3471" y="208569"/>
                  <a:pt x="7753" y="208569"/>
                </a:cubicBezTo>
                <a:lnTo>
                  <a:pt x="38763" y="208569"/>
                </a:lnTo>
                <a:lnTo>
                  <a:pt x="38763" y="176009"/>
                </a:lnTo>
                <a:lnTo>
                  <a:pt x="7753" y="176009"/>
                </a:lnTo>
                <a:cubicBezTo>
                  <a:pt x="3471" y="176009"/>
                  <a:pt x="0" y="172538"/>
                  <a:pt x="0" y="168256"/>
                </a:cubicBezTo>
                <a:cubicBezTo>
                  <a:pt x="0" y="163975"/>
                  <a:pt x="3471" y="160504"/>
                  <a:pt x="7753" y="160504"/>
                </a:cubicBezTo>
                <a:lnTo>
                  <a:pt x="38763" y="160504"/>
                </a:lnTo>
                <a:lnTo>
                  <a:pt x="38763" y="127943"/>
                </a:lnTo>
                <a:lnTo>
                  <a:pt x="7753" y="127943"/>
                </a:lnTo>
                <a:cubicBezTo>
                  <a:pt x="3471" y="127943"/>
                  <a:pt x="0" y="124472"/>
                  <a:pt x="0" y="120191"/>
                </a:cubicBezTo>
                <a:cubicBezTo>
                  <a:pt x="0" y="115909"/>
                  <a:pt x="3471" y="112438"/>
                  <a:pt x="7753" y="112438"/>
                </a:cubicBezTo>
                <a:lnTo>
                  <a:pt x="38763" y="112438"/>
                </a:lnTo>
                <a:lnTo>
                  <a:pt x="38763" y="79878"/>
                </a:lnTo>
                <a:lnTo>
                  <a:pt x="7753" y="79878"/>
                </a:lnTo>
                <a:cubicBezTo>
                  <a:pt x="3471" y="79878"/>
                  <a:pt x="0" y="76407"/>
                  <a:pt x="0" y="72125"/>
                </a:cubicBezTo>
                <a:cubicBezTo>
                  <a:pt x="0" y="67844"/>
                  <a:pt x="3471" y="64373"/>
                  <a:pt x="7753" y="64373"/>
                </a:cubicBezTo>
                <a:lnTo>
                  <a:pt x="38763" y="64373"/>
                </a:lnTo>
                <a:lnTo>
                  <a:pt x="38763" y="34882"/>
                </a:lnTo>
                <a:cubicBezTo>
                  <a:pt x="38763" y="15617"/>
                  <a:pt x="54380" y="0"/>
                  <a:pt x="73645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7" name="Abgerundetes Rechteck 19"/>
          <p:cNvSpPr>
            <a:spLocks noChangeAspect="1"/>
          </p:cNvSpPr>
          <p:nvPr userDrawn="1"/>
        </p:nvSpPr>
        <p:spPr>
          <a:xfrm>
            <a:off x="3481513" y="4084094"/>
            <a:ext cx="359835" cy="159708"/>
          </a:xfrm>
          <a:custGeom>
            <a:avLst/>
            <a:gdLst/>
            <a:ahLst/>
            <a:cxnLst/>
            <a:rect l="l" t="t" r="r" b="b"/>
            <a:pathLst>
              <a:path w="359835" h="159708">
                <a:moveTo>
                  <a:pt x="108031" y="130216"/>
                </a:moveTo>
                <a:lnTo>
                  <a:pt x="263217" y="130216"/>
                </a:lnTo>
                <a:cubicBezTo>
                  <a:pt x="263454" y="131763"/>
                  <a:pt x="263821" y="133272"/>
                  <a:pt x="264452" y="134689"/>
                </a:cubicBezTo>
                <a:lnTo>
                  <a:pt x="107003" y="134019"/>
                </a:lnTo>
                <a:cubicBezTo>
                  <a:pt x="107535" y="132812"/>
                  <a:pt x="107834" y="131528"/>
                  <a:pt x="108031" y="130216"/>
                </a:cubicBezTo>
                <a:close/>
                <a:moveTo>
                  <a:pt x="299518" y="92544"/>
                </a:moveTo>
                <a:cubicBezTo>
                  <a:pt x="282398" y="92544"/>
                  <a:pt x="268519" y="106423"/>
                  <a:pt x="268519" y="123543"/>
                </a:cubicBezTo>
                <a:cubicBezTo>
                  <a:pt x="268519" y="140663"/>
                  <a:pt x="282398" y="154542"/>
                  <a:pt x="299518" y="154542"/>
                </a:cubicBezTo>
                <a:cubicBezTo>
                  <a:pt x="316639" y="154542"/>
                  <a:pt x="330518" y="140663"/>
                  <a:pt x="330518" y="123543"/>
                </a:cubicBezTo>
                <a:cubicBezTo>
                  <a:pt x="330518" y="106423"/>
                  <a:pt x="316639" y="92544"/>
                  <a:pt x="299518" y="92544"/>
                </a:cubicBezTo>
                <a:close/>
                <a:moveTo>
                  <a:pt x="70885" y="92544"/>
                </a:moveTo>
                <a:cubicBezTo>
                  <a:pt x="53765" y="92544"/>
                  <a:pt x="39886" y="106423"/>
                  <a:pt x="39886" y="123543"/>
                </a:cubicBezTo>
                <a:cubicBezTo>
                  <a:pt x="39886" y="140663"/>
                  <a:pt x="53765" y="154542"/>
                  <a:pt x="70885" y="154542"/>
                </a:cubicBezTo>
                <a:cubicBezTo>
                  <a:pt x="88006" y="154542"/>
                  <a:pt x="101884" y="140663"/>
                  <a:pt x="101884" y="123543"/>
                </a:cubicBezTo>
                <a:cubicBezTo>
                  <a:pt x="101884" y="106423"/>
                  <a:pt x="88006" y="92544"/>
                  <a:pt x="70885" y="92544"/>
                </a:cubicBezTo>
                <a:close/>
                <a:moveTo>
                  <a:pt x="117639" y="89445"/>
                </a:moveTo>
                <a:lnTo>
                  <a:pt x="151513" y="89445"/>
                </a:lnTo>
                <a:lnTo>
                  <a:pt x="151513" y="91992"/>
                </a:lnTo>
                <a:lnTo>
                  <a:pt x="121884" y="91992"/>
                </a:lnTo>
                <a:cubicBezTo>
                  <a:pt x="125097" y="98465"/>
                  <a:pt x="127005" y="105768"/>
                  <a:pt x="127215" y="113518"/>
                </a:cubicBezTo>
                <a:lnTo>
                  <a:pt x="151831" y="113518"/>
                </a:lnTo>
                <a:lnTo>
                  <a:pt x="151831" y="113559"/>
                </a:lnTo>
                <a:lnTo>
                  <a:pt x="201967" y="113559"/>
                </a:lnTo>
                <a:lnTo>
                  <a:pt x="201967" y="116311"/>
                </a:lnTo>
                <a:lnTo>
                  <a:pt x="123971" y="116311"/>
                </a:lnTo>
                <a:cubicBezTo>
                  <a:pt x="123834" y="106598"/>
                  <a:pt x="121547" y="97462"/>
                  <a:pt x="117639" y="89445"/>
                </a:cubicBezTo>
                <a:close/>
                <a:moveTo>
                  <a:pt x="299518" y="87378"/>
                </a:moveTo>
                <a:cubicBezTo>
                  <a:pt x="319492" y="87378"/>
                  <a:pt x="335684" y="103570"/>
                  <a:pt x="335684" y="123543"/>
                </a:cubicBezTo>
                <a:cubicBezTo>
                  <a:pt x="335684" y="143516"/>
                  <a:pt x="319492" y="159708"/>
                  <a:pt x="299518" y="159708"/>
                </a:cubicBezTo>
                <a:cubicBezTo>
                  <a:pt x="279545" y="159708"/>
                  <a:pt x="263353" y="143516"/>
                  <a:pt x="263353" y="123543"/>
                </a:cubicBezTo>
                <a:cubicBezTo>
                  <a:pt x="263353" y="103570"/>
                  <a:pt x="279545" y="87378"/>
                  <a:pt x="299518" y="87378"/>
                </a:cubicBezTo>
                <a:close/>
                <a:moveTo>
                  <a:pt x="70885" y="87378"/>
                </a:moveTo>
                <a:cubicBezTo>
                  <a:pt x="90859" y="87378"/>
                  <a:pt x="107050" y="103570"/>
                  <a:pt x="107050" y="123543"/>
                </a:cubicBezTo>
                <a:cubicBezTo>
                  <a:pt x="107050" y="143516"/>
                  <a:pt x="90859" y="159708"/>
                  <a:pt x="70885" y="159708"/>
                </a:cubicBezTo>
                <a:cubicBezTo>
                  <a:pt x="50912" y="159708"/>
                  <a:pt x="34720" y="143516"/>
                  <a:pt x="34720" y="123543"/>
                </a:cubicBezTo>
                <a:cubicBezTo>
                  <a:pt x="34720" y="103570"/>
                  <a:pt x="50912" y="87378"/>
                  <a:pt x="70885" y="87378"/>
                </a:cubicBezTo>
                <a:close/>
                <a:moveTo>
                  <a:pt x="258512" y="60384"/>
                </a:moveTo>
                <a:lnTo>
                  <a:pt x="243464" y="79981"/>
                </a:lnTo>
                <a:cubicBezTo>
                  <a:pt x="263967" y="78526"/>
                  <a:pt x="279267" y="75976"/>
                  <a:pt x="293768" y="75033"/>
                </a:cubicBezTo>
                <a:lnTo>
                  <a:pt x="298768" y="75221"/>
                </a:lnTo>
                <a:cubicBezTo>
                  <a:pt x="288994" y="70592"/>
                  <a:pt x="274332" y="65187"/>
                  <a:pt x="258512" y="60384"/>
                </a:cubicBezTo>
                <a:close/>
                <a:moveTo>
                  <a:pt x="299463" y="53392"/>
                </a:moveTo>
                <a:cubicBezTo>
                  <a:pt x="301026" y="53866"/>
                  <a:pt x="301121" y="55028"/>
                  <a:pt x="301121" y="56211"/>
                </a:cubicBezTo>
                <a:lnTo>
                  <a:pt x="300876" y="56803"/>
                </a:lnTo>
                <a:close/>
                <a:moveTo>
                  <a:pt x="182660" y="47491"/>
                </a:moveTo>
                <a:cubicBezTo>
                  <a:pt x="165071" y="50657"/>
                  <a:pt x="149670" y="63041"/>
                  <a:pt x="136527" y="72512"/>
                </a:cubicBezTo>
                <a:cubicBezTo>
                  <a:pt x="144367" y="73527"/>
                  <a:pt x="152273" y="74664"/>
                  <a:pt x="160084" y="75754"/>
                </a:cubicBezTo>
                <a:close/>
                <a:moveTo>
                  <a:pt x="190849" y="46698"/>
                </a:moveTo>
                <a:lnTo>
                  <a:pt x="187170" y="47034"/>
                </a:lnTo>
                <a:lnTo>
                  <a:pt x="164632" y="76386"/>
                </a:lnTo>
                <a:cubicBezTo>
                  <a:pt x="183262" y="78993"/>
                  <a:pt x="201150" y="81212"/>
                  <a:pt x="216016" y="81099"/>
                </a:cubicBezTo>
                <a:cubicBezTo>
                  <a:pt x="224143" y="81038"/>
                  <a:pt x="231556" y="80756"/>
                  <a:pt x="238397" y="80321"/>
                </a:cubicBezTo>
                <a:lnTo>
                  <a:pt x="255138" y="59364"/>
                </a:lnTo>
                <a:cubicBezTo>
                  <a:pt x="231627" y="52250"/>
                  <a:pt x="206185" y="46613"/>
                  <a:pt x="190849" y="46698"/>
                </a:cubicBezTo>
                <a:close/>
                <a:moveTo>
                  <a:pt x="189549" y="42495"/>
                </a:moveTo>
                <a:cubicBezTo>
                  <a:pt x="232637" y="43098"/>
                  <a:pt x="295412" y="66203"/>
                  <a:pt x="307810" y="75729"/>
                </a:cubicBezTo>
                <a:cubicBezTo>
                  <a:pt x="319039" y="76610"/>
                  <a:pt x="326559" y="78658"/>
                  <a:pt x="338091" y="85185"/>
                </a:cubicBezTo>
                <a:cubicBezTo>
                  <a:pt x="349185" y="91464"/>
                  <a:pt x="361570" y="101882"/>
                  <a:pt x="359634" y="113908"/>
                </a:cubicBezTo>
                <a:cubicBezTo>
                  <a:pt x="357645" y="126256"/>
                  <a:pt x="345591" y="133577"/>
                  <a:pt x="336492" y="134766"/>
                </a:cubicBezTo>
                <a:cubicBezTo>
                  <a:pt x="337133" y="133326"/>
                  <a:pt x="337509" y="131791"/>
                  <a:pt x="337751" y="130216"/>
                </a:cubicBezTo>
                <a:lnTo>
                  <a:pt x="339724" y="130216"/>
                </a:lnTo>
                <a:cubicBezTo>
                  <a:pt x="342960" y="129423"/>
                  <a:pt x="345535" y="128099"/>
                  <a:pt x="347603" y="126371"/>
                </a:cubicBezTo>
                <a:lnTo>
                  <a:pt x="348197" y="125819"/>
                </a:lnTo>
                <a:lnTo>
                  <a:pt x="349827" y="124173"/>
                </a:lnTo>
                <a:lnTo>
                  <a:pt x="351936" y="121016"/>
                </a:lnTo>
                <a:lnTo>
                  <a:pt x="353834" y="116691"/>
                </a:lnTo>
                <a:lnTo>
                  <a:pt x="354320" y="114726"/>
                </a:lnTo>
                <a:cubicBezTo>
                  <a:pt x="356200" y="103642"/>
                  <a:pt x="344178" y="94040"/>
                  <a:pt x="333409" y="88253"/>
                </a:cubicBezTo>
                <a:cubicBezTo>
                  <a:pt x="318157" y="80056"/>
                  <a:pt x="310135" y="79524"/>
                  <a:pt x="290386" y="78896"/>
                </a:cubicBezTo>
                <a:cubicBezTo>
                  <a:pt x="270667" y="80114"/>
                  <a:pt x="249426" y="84239"/>
                  <a:pt x="214915" y="84487"/>
                </a:cubicBezTo>
                <a:cubicBezTo>
                  <a:pt x="181083" y="84731"/>
                  <a:pt x="131125" y="73160"/>
                  <a:pt x="93548" y="73053"/>
                </a:cubicBezTo>
                <a:cubicBezTo>
                  <a:pt x="91043" y="73045"/>
                  <a:pt x="88592" y="73089"/>
                  <a:pt x="86206" y="73191"/>
                </a:cubicBezTo>
                <a:cubicBezTo>
                  <a:pt x="51383" y="74674"/>
                  <a:pt x="18030" y="79532"/>
                  <a:pt x="6889" y="105027"/>
                </a:cubicBezTo>
                <a:cubicBezTo>
                  <a:pt x="4201" y="111178"/>
                  <a:pt x="4667" y="119585"/>
                  <a:pt x="10632" y="124789"/>
                </a:cubicBezTo>
                <a:lnTo>
                  <a:pt x="13042" y="126499"/>
                </a:lnTo>
                <a:cubicBezTo>
                  <a:pt x="18727" y="128934"/>
                  <a:pt x="24132" y="129857"/>
                  <a:pt x="29626" y="130216"/>
                </a:cubicBezTo>
                <a:lnTo>
                  <a:pt x="33496" y="130216"/>
                </a:lnTo>
                <a:cubicBezTo>
                  <a:pt x="33664" y="131368"/>
                  <a:pt x="33919" y="132497"/>
                  <a:pt x="34382" y="133561"/>
                </a:cubicBezTo>
                <a:cubicBezTo>
                  <a:pt x="29565" y="133295"/>
                  <a:pt x="20546" y="133378"/>
                  <a:pt x="10867" y="129508"/>
                </a:cubicBezTo>
                <a:cubicBezTo>
                  <a:pt x="-509" y="124959"/>
                  <a:pt x="-1768" y="111757"/>
                  <a:pt x="1705" y="103385"/>
                </a:cubicBezTo>
                <a:cubicBezTo>
                  <a:pt x="13183" y="75723"/>
                  <a:pt x="47543" y="70451"/>
                  <a:pt x="83418" y="68842"/>
                </a:cubicBezTo>
                <a:cubicBezTo>
                  <a:pt x="85877" y="68732"/>
                  <a:pt x="88401" y="68685"/>
                  <a:pt x="90982" y="68692"/>
                </a:cubicBezTo>
                <a:cubicBezTo>
                  <a:pt x="103051" y="68729"/>
                  <a:pt x="116359" y="69974"/>
                  <a:pt x="130012" y="71710"/>
                </a:cubicBezTo>
                <a:cubicBezTo>
                  <a:pt x="148545" y="58817"/>
                  <a:pt x="168566" y="43153"/>
                  <a:pt x="189549" y="42495"/>
                </a:cubicBezTo>
                <a:close/>
                <a:moveTo>
                  <a:pt x="302904" y="33350"/>
                </a:moveTo>
                <a:cubicBezTo>
                  <a:pt x="307755" y="36362"/>
                  <a:pt x="311344" y="40735"/>
                  <a:pt x="313344" y="46005"/>
                </a:cubicBezTo>
                <a:cubicBezTo>
                  <a:pt x="315246" y="51018"/>
                  <a:pt x="315544" y="56494"/>
                  <a:pt x="314122" y="61739"/>
                </a:cubicBezTo>
                <a:cubicBezTo>
                  <a:pt x="313815" y="62885"/>
                  <a:pt x="312697" y="63456"/>
                  <a:pt x="311545" y="63158"/>
                </a:cubicBezTo>
                <a:cubicBezTo>
                  <a:pt x="310394" y="62860"/>
                  <a:pt x="309695" y="61801"/>
                  <a:pt x="310002" y="60655"/>
                </a:cubicBezTo>
                <a:cubicBezTo>
                  <a:pt x="311149" y="56250"/>
                  <a:pt x="310934" y="51773"/>
                  <a:pt x="309324" y="47531"/>
                </a:cubicBezTo>
                <a:cubicBezTo>
                  <a:pt x="307665" y="43161"/>
                  <a:pt x="304629" y="39460"/>
                  <a:pt x="300540" y="36894"/>
                </a:cubicBezTo>
                <a:cubicBezTo>
                  <a:pt x="300183" y="36736"/>
                  <a:pt x="299858" y="36271"/>
                  <a:pt x="299712" y="35885"/>
                </a:cubicBezTo>
                <a:cubicBezTo>
                  <a:pt x="299468" y="35242"/>
                  <a:pt x="299532" y="34630"/>
                  <a:pt x="299905" y="34047"/>
                </a:cubicBezTo>
                <a:cubicBezTo>
                  <a:pt x="300568" y="33060"/>
                  <a:pt x="301914" y="32696"/>
                  <a:pt x="302904" y="33350"/>
                </a:cubicBezTo>
                <a:close/>
                <a:moveTo>
                  <a:pt x="312225" y="17737"/>
                </a:moveTo>
                <a:lnTo>
                  <a:pt x="323298" y="26939"/>
                </a:lnTo>
                <a:lnTo>
                  <a:pt x="330644" y="39442"/>
                </a:lnTo>
                <a:lnTo>
                  <a:pt x="333469" y="53253"/>
                </a:lnTo>
                <a:lnTo>
                  <a:pt x="331582" y="67189"/>
                </a:lnTo>
                <a:cubicBezTo>
                  <a:pt x="331281" y="68339"/>
                  <a:pt x="330040" y="68957"/>
                  <a:pt x="328892" y="68654"/>
                </a:cubicBezTo>
                <a:cubicBezTo>
                  <a:pt x="327823" y="68172"/>
                  <a:pt x="327253" y="67057"/>
                  <a:pt x="327554" y="65908"/>
                </a:cubicBezTo>
                <a:cubicBezTo>
                  <a:pt x="330052" y="57712"/>
                  <a:pt x="329865" y="49056"/>
                  <a:pt x="326774" y="40910"/>
                </a:cubicBezTo>
                <a:cubicBezTo>
                  <a:pt x="323634" y="32636"/>
                  <a:pt x="317754" y="25697"/>
                  <a:pt x="310191" y="21319"/>
                </a:cubicBezTo>
                <a:cubicBezTo>
                  <a:pt x="309656" y="21078"/>
                  <a:pt x="309380" y="20740"/>
                  <a:pt x="309184" y="20222"/>
                </a:cubicBezTo>
                <a:cubicBezTo>
                  <a:pt x="308987" y="19705"/>
                  <a:pt x="309049" y="19090"/>
                  <a:pt x="309418" y="18506"/>
                </a:cubicBezTo>
                <a:cubicBezTo>
                  <a:pt x="309898" y="17437"/>
                  <a:pt x="311237" y="17076"/>
                  <a:pt x="312225" y="17737"/>
                </a:cubicBezTo>
                <a:close/>
                <a:moveTo>
                  <a:pt x="322945" y="332"/>
                </a:moveTo>
                <a:cubicBezTo>
                  <a:pt x="335412" y="7694"/>
                  <a:pt x="344628" y="18649"/>
                  <a:pt x="349765" y="32185"/>
                </a:cubicBezTo>
                <a:cubicBezTo>
                  <a:pt x="354804" y="45463"/>
                  <a:pt x="355257" y="59596"/>
                  <a:pt x="351155" y="73098"/>
                </a:cubicBezTo>
                <a:cubicBezTo>
                  <a:pt x="350847" y="74247"/>
                  <a:pt x="349595" y="74870"/>
                  <a:pt x="348440" y="74571"/>
                </a:cubicBezTo>
                <a:cubicBezTo>
                  <a:pt x="347415" y="74222"/>
                  <a:pt x="346665" y="73032"/>
                  <a:pt x="347022" y="72012"/>
                </a:cubicBezTo>
                <a:cubicBezTo>
                  <a:pt x="350848" y="59351"/>
                  <a:pt x="350429" y="46091"/>
                  <a:pt x="345732" y="33715"/>
                </a:cubicBezTo>
                <a:cubicBezTo>
                  <a:pt x="340938" y="21082"/>
                  <a:pt x="332275" y="10802"/>
                  <a:pt x="320704" y="3837"/>
                </a:cubicBezTo>
                <a:cubicBezTo>
                  <a:pt x="320346" y="3678"/>
                  <a:pt x="320020" y="3212"/>
                  <a:pt x="319874" y="2825"/>
                </a:cubicBezTo>
                <a:cubicBezTo>
                  <a:pt x="319629" y="2181"/>
                  <a:pt x="319693" y="1566"/>
                  <a:pt x="320067" y="982"/>
                </a:cubicBezTo>
                <a:cubicBezTo>
                  <a:pt x="320603" y="42"/>
                  <a:pt x="321952" y="-323"/>
                  <a:pt x="322945" y="33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8" name="Rad 444"/>
          <p:cNvSpPr/>
          <p:nvPr userDrawn="1"/>
        </p:nvSpPr>
        <p:spPr>
          <a:xfrm>
            <a:off x="1655676" y="4099805"/>
            <a:ext cx="226739" cy="144000"/>
          </a:xfrm>
          <a:custGeom>
            <a:avLst/>
            <a:gdLst/>
            <a:ahLst/>
            <a:cxnLst/>
            <a:rect l="l" t="t" r="r" b="b"/>
            <a:pathLst>
              <a:path w="226739" h="144000">
                <a:moveTo>
                  <a:pt x="195209" y="47175"/>
                </a:moveTo>
                <a:lnTo>
                  <a:pt x="221773" y="47175"/>
                </a:lnTo>
                <a:cubicBezTo>
                  <a:pt x="223561" y="47175"/>
                  <a:pt x="225011" y="48425"/>
                  <a:pt x="225011" y="49966"/>
                </a:cubicBezTo>
                <a:cubicBezTo>
                  <a:pt x="225011" y="51507"/>
                  <a:pt x="223561" y="52757"/>
                  <a:pt x="221773" y="52757"/>
                </a:cubicBezTo>
                <a:lnTo>
                  <a:pt x="195209" y="52757"/>
                </a:lnTo>
                <a:cubicBezTo>
                  <a:pt x="193420" y="52757"/>
                  <a:pt x="191971" y="51507"/>
                  <a:pt x="191971" y="49966"/>
                </a:cubicBezTo>
                <a:cubicBezTo>
                  <a:pt x="191971" y="48425"/>
                  <a:pt x="193420" y="47175"/>
                  <a:pt x="195209" y="47175"/>
                </a:cubicBezTo>
                <a:close/>
                <a:moveTo>
                  <a:pt x="157056" y="47175"/>
                </a:moveTo>
                <a:lnTo>
                  <a:pt x="157174" y="47175"/>
                </a:lnTo>
                <a:lnTo>
                  <a:pt x="183620" y="47175"/>
                </a:lnTo>
                <a:lnTo>
                  <a:pt x="183737" y="47175"/>
                </a:lnTo>
                <a:cubicBezTo>
                  <a:pt x="185526" y="47175"/>
                  <a:pt x="186976" y="48425"/>
                  <a:pt x="186976" y="49966"/>
                </a:cubicBezTo>
                <a:cubicBezTo>
                  <a:pt x="186976" y="51507"/>
                  <a:pt x="185526" y="52757"/>
                  <a:pt x="183737" y="52757"/>
                </a:cubicBezTo>
                <a:lnTo>
                  <a:pt x="183620" y="52757"/>
                </a:lnTo>
                <a:lnTo>
                  <a:pt x="157174" y="52757"/>
                </a:lnTo>
                <a:lnTo>
                  <a:pt x="157056" y="52757"/>
                </a:lnTo>
                <a:cubicBezTo>
                  <a:pt x="155268" y="52757"/>
                  <a:pt x="153818" y="51507"/>
                  <a:pt x="153818" y="49966"/>
                </a:cubicBezTo>
                <a:cubicBezTo>
                  <a:pt x="153818" y="48425"/>
                  <a:pt x="155268" y="47175"/>
                  <a:pt x="157056" y="47175"/>
                </a:cubicBezTo>
                <a:close/>
                <a:moveTo>
                  <a:pt x="119021" y="47175"/>
                </a:moveTo>
                <a:lnTo>
                  <a:pt x="145585" y="47175"/>
                </a:lnTo>
                <a:lnTo>
                  <a:pt x="147875" y="47993"/>
                </a:lnTo>
                <a:lnTo>
                  <a:pt x="148823" y="49966"/>
                </a:lnTo>
                <a:lnTo>
                  <a:pt x="147875" y="51940"/>
                </a:lnTo>
                <a:cubicBezTo>
                  <a:pt x="147289" y="52445"/>
                  <a:pt x="146479" y="52757"/>
                  <a:pt x="145585" y="52757"/>
                </a:cubicBezTo>
                <a:lnTo>
                  <a:pt x="119021" y="52757"/>
                </a:lnTo>
                <a:cubicBezTo>
                  <a:pt x="117233" y="52757"/>
                  <a:pt x="115783" y="51507"/>
                  <a:pt x="115783" y="49966"/>
                </a:cubicBezTo>
                <a:cubicBezTo>
                  <a:pt x="115783" y="48425"/>
                  <a:pt x="117233" y="47175"/>
                  <a:pt x="119021" y="47175"/>
                </a:cubicBezTo>
                <a:close/>
                <a:moveTo>
                  <a:pt x="43093" y="47175"/>
                </a:moveTo>
                <a:lnTo>
                  <a:pt x="69657" y="47175"/>
                </a:lnTo>
                <a:lnTo>
                  <a:pt x="71947" y="47993"/>
                </a:lnTo>
                <a:lnTo>
                  <a:pt x="72895" y="49966"/>
                </a:lnTo>
                <a:lnTo>
                  <a:pt x="71947" y="51940"/>
                </a:lnTo>
                <a:cubicBezTo>
                  <a:pt x="71360" y="52445"/>
                  <a:pt x="70551" y="52757"/>
                  <a:pt x="69657" y="52757"/>
                </a:cubicBezTo>
                <a:lnTo>
                  <a:pt x="43093" y="52757"/>
                </a:lnTo>
                <a:cubicBezTo>
                  <a:pt x="41304" y="52757"/>
                  <a:pt x="39855" y="51507"/>
                  <a:pt x="39855" y="49966"/>
                </a:cubicBezTo>
                <a:cubicBezTo>
                  <a:pt x="39855" y="48425"/>
                  <a:pt x="41304" y="47175"/>
                  <a:pt x="43093" y="47175"/>
                </a:cubicBezTo>
                <a:close/>
                <a:moveTo>
                  <a:pt x="4940" y="47175"/>
                </a:moveTo>
                <a:lnTo>
                  <a:pt x="31504" y="47175"/>
                </a:lnTo>
                <a:cubicBezTo>
                  <a:pt x="33293" y="47175"/>
                  <a:pt x="34742" y="48425"/>
                  <a:pt x="34742" y="49966"/>
                </a:cubicBezTo>
                <a:cubicBezTo>
                  <a:pt x="34742" y="51507"/>
                  <a:pt x="33293" y="52757"/>
                  <a:pt x="31504" y="52757"/>
                </a:cubicBezTo>
                <a:lnTo>
                  <a:pt x="4940" y="52757"/>
                </a:lnTo>
                <a:cubicBezTo>
                  <a:pt x="3152" y="52757"/>
                  <a:pt x="1702" y="51507"/>
                  <a:pt x="1702" y="49966"/>
                </a:cubicBezTo>
                <a:cubicBezTo>
                  <a:pt x="1702" y="48425"/>
                  <a:pt x="3152" y="47175"/>
                  <a:pt x="4940" y="47175"/>
                </a:cubicBezTo>
                <a:close/>
                <a:moveTo>
                  <a:pt x="95068" y="19385"/>
                </a:moveTo>
                <a:cubicBezTo>
                  <a:pt x="96206" y="19385"/>
                  <a:pt x="97128" y="20378"/>
                  <a:pt x="97128" y="21603"/>
                </a:cubicBezTo>
                <a:lnTo>
                  <a:pt x="97146" y="21603"/>
                </a:lnTo>
                <a:lnTo>
                  <a:pt x="99270" y="47175"/>
                </a:lnTo>
                <a:lnTo>
                  <a:pt x="107432" y="47175"/>
                </a:lnTo>
                <a:lnTo>
                  <a:pt x="107809" y="47175"/>
                </a:lnTo>
                <a:cubicBezTo>
                  <a:pt x="109598" y="47175"/>
                  <a:pt x="111048" y="48425"/>
                  <a:pt x="111048" y="49966"/>
                </a:cubicBezTo>
                <a:cubicBezTo>
                  <a:pt x="111048" y="51507"/>
                  <a:pt x="109598" y="52757"/>
                  <a:pt x="107809" y="52757"/>
                </a:cubicBezTo>
                <a:lnTo>
                  <a:pt x="107432" y="52757"/>
                </a:lnTo>
                <a:lnTo>
                  <a:pt x="99734" y="52757"/>
                </a:lnTo>
                <a:lnTo>
                  <a:pt x="105816" y="125991"/>
                </a:lnTo>
                <a:lnTo>
                  <a:pt x="118008" y="104378"/>
                </a:lnTo>
                <a:cubicBezTo>
                  <a:pt x="118295" y="103870"/>
                  <a:pt x="118705" y="103473"/>
                  <a:pt x="119205" y="103252"/>
                </a:cubicBezTo>
                <a:cubicBezTo>
                  <a:pt x="120149" y="102275"/>
                  <a:pt x="121674" y="102068"/>
                  <a:pt x="122893" y="102801"/>
                </a:cubicBezTo>
                <a:lnTo>
                  <a:pt x="137269" y="111447"/>
                </a:lnTo>
                <a:lnTo>
                  <a:pt x="155601" y="84196"/>
                </a:lnTo>
                <a:cubicBezTo>
                  <a:pt x="156131" y="83408"/>
                  <a:pt x="156960" y="82942"/>
                  <a:pt x="157848" y="82975"/>
                </a:cubicBezTo>
                <a:cubicBezTo>
                  <a:pt x="158075" y="82873"/>
                  <a:pt x="158314" y="82853"/>
                  <a:pt x="158551" y="82906"/>
                </a:cubicBezTo>
                <a:cubicBezTo>
                  <a:pt x="158624" y="82863"/>
                  <a:pt x="158690" y="82873"/>
                  <a:pt x="158756" y="82886"/>
                </a:cubicBezTo>
                <a:lnTo>
                  <a:pt x="158898" y="82945"/>
                </a:lnTo>
                <a:cubicBezTo>
                  <a:pt x="159855" y="83027"/>
                  <a:pt x="160727" y="83601"/>
                  <a:pt x="161205" y="84515"/>
                </a:cubicBezTo>
                <a:lnTo>
                  <a:pt x="170114" y="101524"/>
                </a:lnTo>
                <a:lnTo>
                  <a:pt x="200734" y="101524"/>
                </a:lnTo>
                <a:cubicBezTo>
                  <a:pt x="200839" y="101462"/>
                  <a:pt x="200948" y="101458"/>
                  <a:pt x="201058" y="101458"/>
                </a:cubicBezTo>
                <a:lnTo>
                  <a:pt x="221369" y="101458"/>
                </a:lnTo>
                <a:cubicBezTo>
                  <a:pt x="224335" y="101458"/>
                  <a:pt x="226739" y="103863"/>
                  <a:pt x="226739" y="106828"/>
                </a:cubicBezTo>
                <a:cubicBezTo>
                  <a:pt x="226739" y="109794"/>
                  <a:pt x="224335" y="112198"/>
                  <a:pt x="221369" y="112198"/>
                </a:cubicBezTo>
                <a:lnTo>
                  <a:pt x="201058" y="112198"/>
                </a:lnTo>
                <a:lnTo>
                  <a:pt x="200748" y="112136"/>
                </a:lnTo>
                <a:lnTo>
                  <a:pt x="170024" y="112136"/>
                </a:lnTo>
                <a:cubicBezTo>
                  <a:pt x="169584" y="112136"/>
                  <a:pt x="169166" y="112044"/>
                  <a:pt x="168790" y="111872"/>
                </a:cubicBezTo>
                <a:cubicBezTo>
                  <a:pt x="167482" y="112201"/>
                  <a:pt x="166086" y="111586"/>
                  <a:pt x="165429" y="110332"/>
                </a:cubicBezTo>
                <a:lnTo>
                  <a:pt x="157996" y="96141"/>
                </a:lnTo>
                <a:lnTo>
                  <a:pt x="141768" y="120264"/>
                </a:lnTo>
                <a:cubicBezTo>
                  <a:pt x="141499" y="120663"/>
                  <a:pt x="141154" y="120980"/>
                  <a:pt x="140752" y="121185"/>
                </a:cubicBezTo>
                <a:cubicBezTo>
                  <a:pt x="140750" y="121309"/>
                  <a:pt x="140696" y="121410"/>
                  <a:pt x="140636" y="121509"/>
                </a:cubicBezTo>
                <a:cubicBezTo>
                  <a:pt x="139757" y="122972"/>
                  <a:pt x="137858" y="123445"/>
                  <a:pt x="136396" y="122565"/>
                </a:cubicBezTo>
                <a:lnTo>
                  <a:pt x="122171" y="114010"/>
                </a:lnTo>
                <a:lnTo>
                  <a:pt x="106139" y="142428"/>
                </a:lnTo>
                <a:cubicBezTo>
                  <a:pt x="105301" y="143914"/>
                  <a:pt x="103416" y="144440"/>
                  <a:pt x="101929" y="143601"/>
                </a:cubicBezTo>
                <a:cubicBezTo>
                  <a:pt x="100859" y="142997"/>
                  <a:pt x="100287" y="141851"/>
                  <a:pt x="100388" y="140704"/>
                </a:cubicBezTo>
                <a:lnTo>
                  <a:pt x="100384" y="140698"/>
                </a:lnTo>
                <a:lnTo>
                  <a:pt x="94017" y="63137"/>
                </a:lnTo>
                <a:lnTo>
                  <a:pt x="86492" y="120494"/>
                </a:lnTo>
                <a:lnTo>
                  <a:pt x="86227" y="120456"/>
                </a:lnTo>
                <a:cubicBezTo>
                  <a:pt x="86206" y="120881"/>
                  <a:pt x="86082" y="121306"/>
                  <a:pt x="85862" y="121703"/>
                </a:cubicBezTo>
                <a:cubicBezTo>
                  <a:pt x="85034" y="123196"/>
                  <a:pt x="83153" y="123734"/>
                  <a:pt x="81660" y="122907"/>
                </a:cubicBezTo>
                <a:lnTo>
                  <a:pt x="62249" y="112136"/>
                </a:lnTo>
                <a:lnTo>
                  <a:pt x="25991" y="112136"/>
                </a:lnTo>
                <a:cubicBezTo>
                  <a:pt x="25890" y="112195"/>
                  <a:pt x="25786" y="112198"/>
                  <a:pt x="25681" y="112198"/>
                </a:cubicBezTo>
                <a:lnTo>
                  <a:pt x="5370" y="112198"/>
                </a:lnTo>
                <a:cubicBezTo>
                  <a:pt x="2404" y="112198"/>
                  <a:pt x="0" y="109794"/>
                  <a:pt x="0" y="106828"/>
                </a:cubicBezTo>
                <a:cubicBezTo>
                  <a:pt x="0" y="103863"/>
                  <a:pt x="2404" y="101458"/>
                  <a:pt x="5370" y="101458"/>
                </a:cubicBezTo>
                <a:lnTo>
                  <a:pt x="25681" y="101458"/>
                </a:lnTo>
                <a:lnTo>
                  <a:pt x="26005" y="101524"/>
                </a:lnTo>
                <a:lnTo>
                  <a:pt x="62697" y="101524"/>
                </a:lnTo>
                <a:lnTo>
                  <a:pt x="63720" y="101730"/>
                </a:lnTo>
                <a:cubicBezTo>
                  <a:pt x="63810" y="101729"/>
                  <a:pt x="63888" y="101761"/>
                  <a:pt x="63958" y="101806"/>
                </a:cubicBezTo>
                <a:cubicBezTo>
                  <a:pt x="64282" y="101826"/>
                  <a:pt x="64593" y="101937"/>
                  <a:pt x="64890" y="102102"/>
                </a:cubicBezTo>
                <a:lnTo>
                  <a:pt x="81083" y="111086"/>
                </a:lnTo>
                <a:lnTo>
                  <a:pt x="88827" y="52757"/>
                </a:lnTo>
                <a:lnTo>
                  <a:pt x="81246" y="52757"/>
                </a:lnTo>
                <a:lnTo>
                  <a:pt x="80869" y="52757"/>
                </a:lnTo>
                <a:cubicBezTo>
                  <a:pt x="79080" y="52757"/>
                  <a:pt x="77630" y="51507"/>
                  <a:pt x="77630" y="49966"/>
                </a:cubicBezTo>
                <a:cubicBezTo>
                  <a:pt x="77630" y="48425"/>
                  <a:pt x="79080" y="47175"/>
                  <a:pt x="80869" y="47175"/>
                </a:cubicBezTo>
                <a:lnTo>
                  <a:pt x="81246" y="47175"/>
                </a:lnTo>
                <a:lnTo>
                  <a:pt x="89568" y="47175"/>
                </a:lnTo>
                <a:lnTo>
                  <a:pt x="92963" y="21603"/>
                </a:lnTo>
                <a:lnTo>
                  <a:pt x="93008" y="21603"/>
                </a:lnTo>
                <a:cubicBezTo>
                  <a:pt x="93008" y="20378"/>
                  <a:pt x="93931" y="19385"/>
                  <a:pt x="95068" y="19385"/>
                </a:cubicBezTo>
                <a:close/>
                <a:moveTo>
                  <a:pt x="96004" y="0"/>
                </a:moveTo>
                <a:cubicBezTo>
                  <a:pt x="106780" y="0"/>
                  <a:pt x="115515" y="8735"/>
                  <a:pt x="115515" y="19510"/>
                </a:cubicBezTo>
                <a:cubicBezTo>
                  <a:pt x="115515" y="26170"/>
                  <a:pt x="112178" y="32051"/>
                  <a:pt x="106880" y="35275"/>
                </a:cubicBezTo>
                <a:lnTo>
                  <a:pt x="105151" y="30630"/>
                </a:lnTo>
                <a:cubicBezTo>
                  <a:pt x="108533" y="28109"/>
                  <a:pt x="110606" y="24052"/>
                  <a:pt x="110606" y="19510"/>
                </a:cubicBezTo>
                <a:cubicBezTo>
                  <a:pt x="110606" y="11446"/>
                  <a:pt x="104069" y="4909"/>
                  <a:pt x="96004" y="4909"/>
                </a:cubicBezTo>
                <a:cubicBezTo>
                  <a:pt x="87939" y="4909"/>
                  <a:pt x="81402" y="11446"/>
                  <a:pt x="81402" y="19510"/>
                </a:cubicBezTo>
                <a:cubicBezTo>
                  <a:pt x="81402" y="24052"/>
                  <a:pt x="83475" y="28109"/>
                  <a:pt x="86857" y="30630"/>
                </a:cubicBezTo>
                <a:lnTo>
                  <a:pt x="85128" y="35275"/>
                </a:lnTo>
                <a:cubicBezTo>
                  <a:pt x="79830" y="32051"/>
                  <a:pt x="76493" y="26170"/>
                  <a:pt x="76493" y="19510"/>
                </a:cubicBezTo>
                <a:cubicBezTo>
                  <a:pt x="76493" y="8735"/>
                  <a:pt x="85228" y="0"/>
                  <a:pt x="9600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9" name="Abgerundetes Rechteck 40"/>
          <p:cNvSpPr>
            <a:spLocks noChangeAspect="1"/>
          </p:cNvSpPr>
          <p:nvPr userDrawn="1"/>
        </p:nvSpPr>
        <p:spPr>
          <a:xfrm>
            <a:off x="5012266" y="4099786"/>
            <a:ext cx="171802" cy="144000"/>
          </a:xfrm>
          <a:custGeom>
            <a:avLst/>
            <a:gdLst/>
            <a:ahLst/>
            <a:cxnLst/>
            <a:rect l="l" t="t" r="r" b="b"/>
            <a:pathLst>
              <a:path w="3926172" h="3290823">
                <a:moveTo>
                  <a:pt x="558130" y="1797303"/>
                </a:moveTo>
                <a:lnTo>
                  <a:pt x="1404130" y="1797303"/>
                </a:lnTo>
                <a:lnTo>
                  <a:pt x="1404130" y="2036063"/>
                </a:lnTo>
                <a:lnTo>
                  <a:pt x="558130" y="2036063"/>
                </a:lnTo>
                <a:close/>
                <a:moveTo>
                  <a:pt x="2832790" y="1493683"/>
                </a:moveTo>
                <a:lnTo>
                  <a:pt x="3071550" y="1493683"/>
                </a:lnTo>
                <a:lnTo>
                  <a:pt x="3071550" y="1797303"/>
                </a:lnTo>
                <a:lnTo>
                  <a:pt x="3375170" y="1797303"/>
                </a:lnTo>
                <a:lnTo>
                  <a:pt x="3375170" y="2036063"/>
                </a:lnTo>
                <a:lnTo>
                  <a:pt x="3071550" y="2036063"/>
                </a:lnTo>
                <a:lnTo>
                  <a:pt x="3071550" y="2339683"/>
                </a:lnTo>
                <a:lnTo>
                  <a:pt x="2832790" y="2339683"/>
                </a:lnTo>
                <a:lnTo>
                  <a:pt x="2832790" y="2036063"/>
                </a:lnTo>
                <a:lnTo>
                  <a:pt x="2529170" y="2036063"/>
                </a:lnTo>
                <a:lnTo>
                  <a:pt x="2529170" y="1797303"/>
                </a:lnTo>
                <a:lnTo>
                  <a:pt x="2832790" y="1797303"/>
                </a:lnTo>
                <a:close/>
                <a:moveTo>
                  <a:pt x="365810" y="705103"/>
                </a:moveTo>
                <a:cubicBezTo>
                  <a:pt x="251760" y="705103"/>
                  <a:pt x="159305" y="797558"/>
                  <a:pt x="159305" y="911608"/>
                </a:cubicBezTo>
                <a:lnTo>
                  <a:pt x="159305" y="2911598"/>
                </a:lnTo>
                <a:cubicBezTo>
                  <a:pt x="159305" y="3025648"/>
                  <a:pt x="251760" y="3118103"/>
                  <a:pt x="365810" y="3118103"/>
                </a:cubicBezTo>
                <a:lnTo>
                  <a:pt x="3556282" y="3118103"/>
                </a:lnTo>
                <a:cubicBezTo>
                  <a:pt x="3670332" y="3118103"/>
                  <a:pt x="3762787" y="3025648"/>
                  <a:pt x="3762787" y="2911598"/>
                </a:cubicBezTo>
                <a:lnTo>
                  <a:pt x="3762787" y="911608"/>
                </a:lnTo>
                <a:cubicBezTo>
                  <a:pt x="3762787" y="797558"/>
                  <a:pt x="3670332" y="705103"/>
                  <a:pt x="3556282" y="705103"/>
                </a:cubicBezTo>
                <a:close/>
                <a:moveTo>
                  <a:pt x="330199" y="547623"/>
                </a:moveTo>
                <a:lnTo>
                  <a:pt x="3595973" y="547623"/>
                </a:lnTo>
                <a:cubicBezTo>
                  <a:pt x="3778337" y="547623"/>
                  <a:pt x="3926172" y="695458"/>
                  <a:pt x="3926172" y="877822"/>
                </a:cubicBezTo>
                <a:lnTo>
                  <a:pt x="3926172" y="2960624"/>
                </a:lnTo>
                <a:cubicBezTo>
                  <a:pt x="3926172" y="3142988"/>
                  <a:pt x="3778337" y="3290823"/>
                  <a:pt x="3595973" y="3290823"/>
                </a:cubicBezTo>
                <a:lnTo>
                  <a:pt x="330199" y="3290823"/>
                </a:lnTo>
                <a:cubicBezTo>
                  <a:pt x="147835" y="3290823"/>
                  <a:pt x="0" y="3142988"/>
                  <a:pt x="0" y="2960624"/>
                </a:cubicBezTo>
                <a:lnTo>
                  <a:pt x="0" y="877822"/>
                </a:lnTo>
                <a:cubicBezTo>
                  <a:pt x="0" y="695458"/>
                  <a:pt x="147835" y="547623"/>
                  <a:pt x="330199" y="547623"/>
                </a:cubicBezTo>
                <a:close/>
                <a:moveTo>
                  <a:pt x="2694528" y="0"/>
                </a:moveTo>
                <a:lnTo>
                  <a:pt x="3194572" y="0"/>
                </a:lnTo>
                <a:cubicBezTo>
                  <a:pt x="3301326" y="0"/>
                  <a:pt x="3387868" y="86542"/>
                  <a:pt x="3387868" y="193296"/>
                </a:cubicBezTo>
                <a:lnTo>
                  <a:pt x="3387868" y="466747"/>
                </a:lnTo>
                <a:lnTo>
                  <a:pt x="3217512" y="466747"/>
                </a:lnTo>
                <a:lnTo>
                  <a:pt x="3217512" y="204882"/>
                </a:lnTo>
                <a:cubicBezTo>
                  <a:pt x="3217512" y="176644"/>
                  <a:pt x="3194621" y="153753"/>
                  <a:pt x="3166383" y="153753"/>
                </a:cubicBezTo>
                <a:lnTo>
                  <a:pt x="2721686" y="153753"/>
                </a:lnTo>
                <a:cubicBezTo>
                  <a:pt x="2693448" y="153753"/>
                  <a:pt x="2670557" y="176644"/>
                  <a:pt x="2670557" y="204882"/>
                </a:cubicBezTo>
                <a:lnTo>
                  <a:pt x="2670557" y="466747"/>
                </a:lnTo>
                <a:lnTo>
                  <a:pt x="2501232" y="466747"/>
                </a:lnTo>
                <a:lnTo>
                  <a:pt x="2501232" y="193296"/>
                </a:lnTo>
                <a:cubicBezTo>
                  <a:pt x="2501232" y="86542"/>
                  <a:pt x="2587774" y="0"/>
                  <a:pt x="2694528" y="0"/>
                </a:cubicBezTo>
                <a:close/>
                <a:moveTo>
                  <a:pt x="731108" y="0"/>
                </a:moveTo>
                <a:lnTo>
                  <a:pt x="1231152" y="0"/>
                </a:lnTo>
                <a:cubicBezTo>
                  <a:pt x="1337906" y="0"/>
                  <a:pt x="1424448" y="86542"/>
                  <a:pt x="1424448" y="193296"/>
                </a:cubicBezTo>
                <a:lnTo>
                  <a:pt x="1424448" y="466747"/>
                </a:lnTo>
                <a:lnTo>
                  <a:pt x="1254092" y="466747"/>
                </a:lnTo>
                <a:lnTo>
                  <a:pt x="1254092" y="204882"/>
                </a:lnTo>
                <a:cubicBezTo>
                  <a:pt x="1254092" y="176644"/>
                  <a:pt x="1231201" y="153753"/>
                  <a:pt x="1202963" y="153753"/>
                </a:cubicBezTo>
                <a:lnTo>
                  <a:pt x="758266" y="153753"/>
                </a:lnTo>
                <a:cubicBezTo>
                  <a:pt x="730028" y="153753"/>
                  <a:pt x="707137" y="176644"/>
                  <a:pt x="707137" y="204882"/>
                </a:cubicBezTo>
                <a:lnTo>
                  <a:pt x="707137" y="466747"/>
                </a:lnTo>
                <a:lnTo>
                  <a:pt x="537812" y="466747"/>
                </a:lnTo>
                <a:lnTo>
                  <a:pt x="537812" y="193296"/>
                </a:lnTo>
                <a:cubicBezTo>
                  <a:pt x="537812" y="86542"/>
                  <a:pt x="624354" y="0"/>
                  <a:pt x="731108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</a:endParaRPr>
          </a:p>
        </p:txBody>
      </p:sp>
      <p:sp>
        <p:nvSpPr>
          <p:cNvPr id="50" name="Freeform 3011"/>
          <p:cNvSpPr>
            <a:spLocks noChangeAspect="1"/>
          </p:cNvSpPr>
          <p:nvPr userDrawn="1"/>
        </p:nvSpPr>
        <p:spPr bwMode="auto">
          <a:xfrm>
            <a:off x="4778093" y="4099786"/>
            <a:ext cx="145929" cy="144000"/>
          </a:xfrm>
          <a:custGeom>
            <a:avLst/>
            <a:gdLst/>
            <a:ahLst/>
            <a:cxnLst/>
            <a:rect l="l" t="t" r="r" b="b"/>
            <a:pathLst>
              <a:path w="145929" h="144000">
                <a:moveTo>
                  <a:pt x="91470" y="118488"/>
                </a:moveTo>
                <a:cubicBezTo>
                  <a:pt x="93033" y="118962"/>
                  <a:pt x="93128" y="120124"/>
                  <a:pt x="93128" y="121307"/>
                </a:cubicBezTo>
                <a:lnTo>
                  <a:pt x="92883" y="121899"/>
                </a:lnTo>
                <a:close/>
                <a:moveTo>
                  <a:pt x="94911" y="98446"/>
                </a:moveTo>
                <a:cubicBezTo>
                  <a:pt x="99762" y="101458"/>
                  <a:pt x="103351" y="105831"/>
                  <a:pt x="105351" y="111101"/>
                </a:cubicBezTo>
                <a:cubicBezTo>
                  <a:pt x="107253" y="116114"/>
                  <a:pt x="107551" y="121590"/>
                  <a:pt x="106129" y="126835"/>
                </a:cubicBezTo>
                <a:cubicBezTo>
                  <a:pt x="105822" y="127981"/>
                  <a:pt x="104704" y="128552"/>
                  <a:pt x="103552" y="128254"/>
                </a:cubicBezTo>
                <a:cubicBezTo>
                  <a:pt x="102401" y="127956"/>
                  <a:pt x="101702" y="126897"/>
                  <a:pt x="102009" y="125751"/>
                </a:cubicBezTo>
                <a:cubicBezTo>
                  <a:pt x="103156" y="121346"/>
                  <a:pt x="102941" y="116869"/>
                  <a:pt x="101331" y="112627"/>
                </a:cubicBezTo>
                <a:cubicBezTo>
                  <a:pt x="99672" y="108257"/>
                  <a:pt x="96636" y="104556"/>
                  <a:pt x="92547" y="101990"/>
                </a:cubicBezTo>
                <a:cubicBezTo>
                  <a:pt x="92190" y="101832"/>
                  <a:pt x="91865" y="101367"/>
                  <a:pt x="91719" y="100981"/>
                </a:cubicBezTo>
                <a:cubicBezTo>
                  <a:pt x="91475" y="100338"/>
                  <a:pt x="91539" y="99726"/>
                  <a:pt x="91912" y="99143"/>
                </a:cubicBezTo>
                <a:cubicBezTo>
                  <a:pt x="92575" y="98156"/>
                  <a:pt x="93921" y="97792"/>
                  <a:pt x="94911" y="98446"/>
                </a:cubicBezTo>
                <a:close/>
                <a:moveTo>
                  <a:pt x="104232" y="82833"/>
                </a:moveTo>
                <a:lnTo>
                  <a:pt x="115305" y="92035"/>
                </a:lnTo>
                <a:lnTo>
                  <a:pt x="122651" y="104538"/>
                </a:lnTo>
                <a:lnTo>
                  <a:pt x="125476" y="118349"/>
                </a:lnTo>
                <a:lnTo>
                  <a:pt x="123589" y="132285"/>
                </a:lnTo>
                <a:cubicBezTo>
                  <a:pt x="123288" y="133435"/>
                  <a:pt x="122047" y="134053"/>
                  <a:pt x="120899" y="133750"/>
                </a:cubicBezTo>
                <a:cubicBezTo>
                  <a:pt x="119830" y="133268"/>
                  <a:pt x="119260" y="132153"/>
                  <a:pt x="119561" y="131004"/>
                </a:cubicBezTo>
                <a:cubicBezTo>
                  <a:pt x="122059" y="122808"/>
                  <a:pt x="121872" y="114152"/>
                  <a:pt x="118781" y="106006"/>
                </a:cubicBezTo>
                <a:cubicBezTo>
                  <a:pt x="115641" y="97732"/>
                  <a:pt x="109761" y="90793"/>
                  <a:pt x="102198" y="86415"/>
                </a:cubicBezTo>
                <a:cubicBezTo>
                  <a:pt x="101663" y="86174"/>
                  <a:pt x="101387" y="85836"/>
                  <a:pt x="101191" y="85318"/>
                </a:cubicBezTo>
                <a:cubicBezTo>
                  <a:pt x="100994" y="84801"/>
                  <a:pt x="101056" y="84186"/>
                  <a:pt x="101425" y="83602"/>
                </a:cubicBezTo>
                <a:cubicBezTo>
                  <a:pt x="101905" y="82533"/>
                  <a:pt x="103244" y="82172"/>
                  <a:pt x="104232" y="82833"/>
                </a:cubicBezTo>
                <a:close/>
                <a:moveTo>
                  <a:pt x="114952" y="65428"/>
                </a:moveTo>
                <a:cubicBezTo>
                  <a:pt x="127419" y="72790"/>
                  <a:pt x="136635" y="83745"/>
                  <a:pt x="141772" y="97281"/>
                </a:cubicBezTo>
                <a:cubicBezTo>
                  <a:pt x="146811" y="110559"/>
                  <a:pt x="147264" y="124692"/>
                  <a:pt x="143162" y="138194"/>
                </a:cubicBezTo>
                <a:cubicBezTo>
                  <a:pt x="142854" y="139343"/>
                  <a:pt x="141602" y="139966"/>
                  <a:pt x="140447" y="139667"/>
                </a:cubicBezTo>
                <a:cubicBezTo>
                  <a:pt x="139422" y="139318"/>
                  <a:pt x="138672" y="138128"/>
                  <a:pt x="139029" y="137108"/>
                </a:cubicBezTo>
                <a:cubicBezTo>
                  <a:pt x="142855" y="124447"/>
                  <a:pt x="142436" y="111187"/>
                  <a:pt x="137739" y="98811"/>
                </a:cubicBezTo>
                <a:cubicBezTo>
                  <a:pt x="132945" y="86178"/>
                  <a:pt x="124282" y="75898"/>
                  <a:pt x="112711" y="68933"/>
                </a:cubicBezTo>
                <a:cubicBezTo>
                  <a:pt x="112353" y="68774"/>
                  <a:pt x="112027" y="68308"/>
                  <a:pt x="111881" y="67921"/>
                </a:cubicBezTo>
                <a:cubicBezTo>
                  <a:pt x="111636" y="67277"/>
                  <a:pt x="111700" y="66662"/>
                  <a:pt x="112074" y="66078"/>
                </a:cubicBezTo>
                <a:cubicBezTo>
                  <a:pt x="112610" y="65138"/>
                  <a:pt x="113959" y="64773"/>
                  <a:pt x="114952" y="65428"/>
                </a:cubicBezTo>
                <a:close/>
                <a:moveTo>
                  <a:pt x="60064" y="55515"/>
                </a:moveTo>
                <a:cubicBezTo>
                  <a:pt x="60494" y="55515"/>
                  <a:pt x="60923" y="55830"/>
                  <a:pt x="61209" y="56461"/>
                </a:cubicBezTo>
                <a:lnTo>
                  <a:pt x="65718" y="60321"/>
                </a:lnTo>
                <a:cubicBezTo>
                  <a:pt x="66362" y="60873"/>
                  <a:pt x="66362" y="60873"/>
                  <a:pt x="66362" y="60873"/>
                </a:cubicBezTo>
                <a:lnTo>
                  <a:pt x="74878" y="56461"/>
                </a:lnTo>
                <a:cubicBezTo>
                  <a:pt x="76095" y="55830"/>
                  <a:pt x="76095" y="55830"/>
                  <a:pt x="76095" y="55830"/>
                </a:cubicBezTo>
                <a:cubicBezTo>
                  <a:pt x="77240" y="55200"/>
                  <a:pt x="78385" y="55830"/>
                  <a:pt x="78957" y="56461"/>
                </a:cubicBezTo>
                <a:cubicBezTo>
                  <a:pt x="79530" y="57091"/>
                  <a:pt x="79530" y="58352"/>
                  <a:pt x="78957" y="59612"/>
                </a:cubicBezTo>
                <a:cubicBezTo>
                  <a:pt x="65217" y="80412"/>
                  <a:pt x="65217" y="80412"/>
                  <a:pt x="65217" y="80412"/>
                </a:cubicBezTo>
                <a:lnTo>
                  <a:pt x="65217" y="96800"/>
                </a:lnTo>
                <a:lnTo>
                  <a:pt x="60637" y="81909"/>
                </a:lnTo>
                <a:cubicBezTo>
                  <a:pt x="60637" y="79782"/>
                  <a:pt x="60637" y="79782"/>
                  <a:pt x="60637" y="79782"/>
                </a:cubicBezTo>
                <a:cubicBezTo>
                  <a:pt x="60637" y="79152"/>
                  <a:pt x="61209" y="79152"/>
                  <a:pt x="61209" y="78521"/>
                </a:cubicBezTo>
                <a:lnTo>
                  <a:pt x="69726" y="65836"/>
                </a:lnTo>
                <a:cubicBezTo>
                  <a:pt x="70942" y="64024"/>
                  <a:pt x="70942" y="64024"/>
                  <a:pt x="70942" y="64024"/>
                </a:cubicBezTo>
                <a:cubicBezTo>
                  <a:pt x="66362" y="66546"/>
                  <a:pt x="65217" y="65915"/>
                  <a:pt x="64645" y="65285"/>
                </a:cubicBezTo>
                <a:lnTo>
                  <a:pt x="60064" y="60873"/>
                </a:lnTo>
                <a:lnTo>
                  <a:pt x="55484" y="65285"/>
                </a:lnTo>
                <a:cubicBezTo>
                  <a:pt x="54912" y="65915"/>
                  <a:pt x="53767" y="65915"/>
                  <a:pt x="53194" y="65285"/>
                </a:cubicBezTo>
                <a:lnTo>
                  <a:pt x="48614" y="60873"/>
                </a:lnTo>
                <a:lnTo>
                  <a:pt x="43604" y="65836"/>
                </a:lnTo>
                <a:cubicBezTo>
                  <a:pt x="42889" y="66546"/>
                  <a:pt x="42889" y="66546"/>
                  <a:pt x="42889" y="66546"/>
                </a:cubicBezTo>
                <a:cubicBezTo>
                  <a:pt x="42316" y="66546"/>
                  <a:pt x="41171" y="67176"/>
                  <a:pt x="40599" y="66546"/>
                </a:cubicBezTo>
                <a:lnTo>
                  <a:pt x="45179" y="77339"/>
                </a:lnTo>
                <a:cubicBezTo>
                  <a:pt x="46324" y="79152"/>
                  <a:pt x="46324" y="79152"/>
                  <a:pt x="46324" y="79152"/>
                </a:cubicBezTo>
                <a:cubicBezTo>
                  <a:pt x="46331" y="79159"/>
                  <a:pt x="46897" y="79786"/>
                  <a:pt x="46897" y="80412"/>
                </a:cubicBezTo>
                <a:lnTo>
                  <a:pt x="46897" y="94752"/>
                </a:lnTo>
                <a:cubicBezTo>
                  <a:pt x="46897" y="96800"/>
                  <a:pt x="46897" y="96800"/>
                  <a:pt x="46897" y="96800"/>
                </a:cubicBezTo>
                <a:lnTo>
                  <a:pt x="42316" y="83012"/>
                </a:lnTo>
                <a:cubicBezTo>
                  <a:pt x="42316" y="81042"/>
                  <a:pt x="42316" y="81042"/>
                  <a:pt x="42316" y="81042"/>
                </a:cubicBezTo>
                <a:cubicBezTo>
                  <a:pt x="28576" y="59612"/>
                  <a:pt x="28576" y="59612"/>
                  <a:pt x="28576" y="59612"/>
                </a:cubicBezTo>
                <a:cubicBezTo>
                  <a:pt x="28004" y="58982"/>
                  <a:pt x="28004" y="57721"/>
                  <a:pt x="28576" y="57091"/>
                </a:cubicBezTo>
                <a:cubicBezTo>
                  <a:pt x="29149" y="55830"/>
                  <a:pt x="30294" y="55830"/>
                  <a:pt x="31439" y="56461"/>
                </a:cubicBezTo>
                <a:lnTo>
                  <a:pt x="39955" y="60873"/>
                </a:lnTo>
                <a:cubicBezTo>
                  <a:pt x="41171" y="61503"/>
                  <a:pt x="41171" y="61503"/>
                  <a:pt x="41171" y="61503"/>
                </a:cubicBezTo>
                <a:lnTo>
                  <a:pt x="46682" y="57091"/>
                </a:lnTo>
                <a:cubicBezTo>
                  <a:pt x="47469" y="56461"/>
                  <a:pt x="47469" y="56461"/>
                  <a:pt x="47469" y="56461"/>
                </a:cubicBezTo>
                <a:cubicBezTo>
                  <a:pt x="48042" y="55200"/>
                  <a:pt x="49187" y="55830"/>
                  <a:pt x="50332" y="56461"/>
                </a:cubicBezTo>
                <a:lnTo>
                  <a:pt x="54339" y="60242"/>
                </a:lnTo>
                <a:lnTo>
                  <a:pt x="58919" y="56461"/>
                </a:lnTo>
                <a:cubicBezTo>
                  <a:pt x="59206" y="55830"/>
                  <a:pt x="59635" y="55515"/>
                  <a:pt x="60064" y="55515"/>
                </a:cubicBezTo>
                <a:close/>
                <a:moveTo>
                  <a:pt x="53767" y="4450"/>
                </a:moveTo>
                <a:cubicBezTo>
                  <a:pt x="26530" y="4450"/>
                  <a:pt x="4450" y="24127"/>
                  <a:pt x="4450" y="48400"/>
                </a:cubicBezTo>
                <a:cubicBezTo>
                  <a:pt x="4450" y="60398"/>
                  <a:pt x="9845" y="71273"/>
                  <a:pt x="18644" y="79137"/>
                </a:cubicBezTo>
                <a:lnTo>
                  <a:pt x="23411" y="84391"/>
                </a:lnTo>
                <a:lnTo>
                  <a:pt x="23452" y="84374"/>
                </a:lnTo>
                <a:lnTo>
                  <a:pt x="39932" y="102046"/>
                </a:lnTo>
                <a:cubicBezTo>
                  <a:pt x="40650" y="101743"/>
                  <a:pt x="41427" y="101600"/>
                  <a:pt x="42226" y="101600"/>
                </a:cubicBezTo>
                <a:cubicBezTo>
                  <a:pt x="65308" y="101600"/>
                  <a:pt x="65308" y="101600"/>
                  <a:pt x="65308" y="101600"/>
                </a:cubicBezTo>
                <a:cubicBezTo>
                  <a:pt x="66046" y="101600"/>
                  <a:pt x="66765" y="101722"/>
                  <a:pt x="67435" y="101988"/>
                </a:cubicBezTo>
                <a:lnTo>
                  <a:pt x="83335" y="84938"/>
                </a:lnTo>
                <a:lnTo>
                  <a:pt x="83380" y="84957"/>
                </a:lnTo>
                <a:lnTo>
                  <a:pt x="87604" y="80302"/>
                </a:lnTo>
                <a:lnTo>
                  <a:pt x="87789" y="80161"/>
                </a:lnTo>
                <a:lnTo>
                  <a:pt x="88243" y="79674"/>
                </a:lnTo>
                <a:lnTo>
                  <a:pt x="88286" y="79714"/>
                </a:lnTo>
                <a:cubicBezTo>
                  <a:pt x="97432" y="71784"/>
                  <a:pt x="103083" y="60680"/>
                  <a:pt x="103083" y="48400"/>
                </a:cubicBezTo>
                <a:cubicBezTo>
                  <a:pt x="103083" y="24127"/>
                  <a:pt x="81004" y="4450"/>
                  <a:pt x="53767" y="4450"/>
                </a:cubicBezTo>
                <a:close/>
                <a:moveTo>
                  <a:pt x="53767" y="0"/>
                </a:moveTo>
                <a:cubicBezTo>
                  <a:pt x="83461" y="0"/>
                  <a:pt x="107533" y="21669"/>
                  <a:pt x="107533" y="48400"/>
                </a:cubicBezTo>
                <a:cubicBezTo>
                  <a:pt x="107533" y="61856"/>
                  <a:pt x="101433" y="74029"/>
                  <a:pt x="91543" y="82751"/>
                </a:cubicBezTo>
                <a:lnTo>
                  <a:pt x="91563" y="82770"/>
                </a:lnTo>
                <a:lnTo>
                  <a:pt x="71088" y="104726"/>
                </a:lnTo>
                <a:cubicBezTo>
                  <a:pt x="72169" y="106154"/>
                  <a:pt x="72809" y="108020"/>
                  <a:pt x="72809" y="110112"/>
                </a:cubicBezTo>
                <a:lnTo>
                  <a:pt x="72809" y="124096"/>
                </a:lnTo>
                <a:cubicBezTo>
                  <a:pt x="72809" y="128083"/>
                  <a:pt x="69770" y="131537"/>
                  <a:pt x="66061" y="131916"/>
                </a:cubicBezTo>
                <a:cubicBezTo>
                  <a:pt x="65566" y="133502"/>
                  <a:pt x="64755" y="136100"/>
                  <a:pt x="63426" y="140359"/>
                </a:cubicBezTo>
                <a:cubicBezTo>
                  <a:pt x="63426" y="140966"/>
                  <a:pt x="62858" y="141572"/>
                  <a:pt x="62290" y="141572"/>
                </a:cubicBezTo>
                <a:cubicBezTo>
                  <a:pt x="62283" y="141574"/>
                  <a:pt x="62063" y="141642"/>
                  <a:pt x="54335" y="144000"/>
                </a:cubicBezTo>
                <a:cubicBezTo>
                  <a:pt x="53192" y="143998"/>
                  <a:pt x="52978" y="143933"/>
                  <a:pt x="45244" y="141572"/>
                </a:cubicBezTo>
                <a:cubicBezTo>
                  <a:pt x="44676" y="141572"/>
                  <a:pt x="44108" y="140966"/>
                  <a:pt x="44108" y="140359"/>
                </a:cubicBezTo>
                <a:cubicBezTo>
                  <a:pt x="44105" y="140352"/>
                  <a:pt x="44033" y="140119"/>
                  <a:pt x="41473" y="131916"/>
                </a:cubicBezTo>
                <a:cubicBezTo>
                  <a:pt x="37763" y="131537"/>
                  <a:pt x="34724" y="128083"/>
                  <a:pt x="34724" y="124096"/>
                </a:cubicBezTo>
                <a:lnTo>
                  <a:pt x="34724" y="111860"/>
                </a:lnTo>
                <a:cubicBezTo>
                  <a:pt x="34724" y="110112"/>
                  <a:pt x="34724" y="110112"/>
                  <a:pt x="34724" y="110112"/>
                </a:cubicBezTo>
                <a:cubicBezTo>
                  <a:pt x="34724" y="108084"/>
                  <a:pt x="35326" y="106268"/>
                  <a:pt x="36347" y="104858"/>
                </a:cubicBezTo>
                <a:lnTo>
                  <a:pt x="18380" y="85590"/>
                </a:lnTo>
                <a:lnTo>
                  <a:pt x="18324" y="85614"/>
                </a:lnTo>
                <a:lnTo>
                  <a:pt x="13687" y="80504"/>
                </a:lnTo>
                <a:cubicBezTo>
                  <a:pt x="5144" y="72032"/>
                  <a:pt x="0" y="60757"/>
                  <a:pt x="0" y="48400"/>
                </a:cubicBezTo>
                <a:cubicBezTo>
                  <a:pt x="0" y="21669"/>
                  <a:pt x="24072" y="0"/>
                  <a:pt x="5376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pPr defTabSz="457171"/>
            <a:endParaRPr lang="de-DE">
              <a:solidFill>
                <a:srgbClr val="000000"/>
              </a:solidFill>
              <a:cs typeface="+mn-cs"/>
            </a:endParaRPr>
          </a:p>
        </p:txBody>
      </p:sp>
      <p:sp>
        <p:nvSpPr>
          <p:cNvPr id="51" name="Rechteck 15"/>
          <p:cNvSpPr>
            <a:spLocks noChangeAspect="1"/>
          </p:cNvSpPr>
          <p:nvPr userDrawn="1"/>
        </p:nvSpPr>
        <p:spPr>
          <a:xfrm>
            <a:off x="1000015" y="4100146"/>
            <a:ext cx="140488" cy="144000"/>
          </a:xfrm>
          <a:custGeom>
            <a:avLst/>
            <a:gdLst/>
            <a:ahLst/>
            <a:cxnLst/>
            <a:rect l="l" t="t" r="r" b="b"/>
            <a:pathLst>
              <a:path w="2880000" h="2952000">
                <a:moveTo>
                  <a:pt x="0" y="0"/>
                </a:moveTo>
                <a:lnTo>
                  <a:pt x="144000" y="0"/>
                </a:lnTo>
                <a:lnTo>
                  <a:pt x="144000" y="2485477"/>
                </a:lnTo>
                <a:cubicBezTo>
                  <a:pt x="444309" y="2466093"/>
                  <a:pt x="723884" y="2394104"/>
                  <a:pt x="966815" y="2283942"/>
                </a:cubicBezTo>
                <a:cubicBezTo>
                  <a:pt x="985912" y="2275783"/>
                  <a:pt x="1004775" y="2267003"/>
                  <a:pt x="1022798" y="2256385"/>
                </a:cubicBezTo>
                <a:cubicBezTo>
                  <a:pt x="1056146" y="2241969"/>
                  <a:pt x="1088061" y="2225377"/>
                  <a:pt x="1118929" y="2207596"/>
                </a:cubicBezTo>
                <a:cubicBezTo>
                  <a:pt x="1712525" y="1886753"/>
                  <a:pt x="2204161" y="1280449"/>
                  <a:pt x="2422454" y="507594"/>
                </a:cubicBezTo>
                <a:lnTo>
                  <a:pt x="2459624" y="350979"/>
                </a:lnTo>
                <a:lnTo>
                  <a:pt x="2433620" y="350979"/>
                </a:lnTo>
                <a:lnTo>
                  <a:pt x="2638159" y="116382"/>
                </a:lnTo>
                <a:lnTo>
                  <a:pt x="2842698" y="350979"/>
                </a:lnTo>
                <a:lnTo>
                  <a:pt x="2794888" y="350979"/>
                </a:lnTo>
                <a:cubicBezTo>
                  <a:pt x="2779795" y="432904"/>
                  <a:pt x="2759926" y="514661"/>
                  <a:pt x="2736841" y="596393"/>
                </a:cubicBezTo>
                <a:cubicBezTo>
                  <a:pt x="2364310" y="1915315"/>
                  <a:pt x="1274470" y="2801647"/>
                  <a:pt x="144000" y="2798931"/>
                </a:cubicBezTo>
                <a:lnTo>
                  <a:pt x="144000" y="2808000"/>
                </a:lnTo>
                <a:lnTo>
                  <a:pt x="2880000" y="2808000"/>
                </a:lnTo>
                <a:lnTo>
                  <a:pt x="2880000" y="2952000"/>
                </a:lnTo>
                <a:lnTo>
                  <a:pt x="0" y="2952000"/>
                </a:lnTo>
                <a:lnTo>
                  <a:pt x="0" y="2880000"/>
                </a:lnTo>
                <a:lnTo>
                  <a:pt x="0" y="280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52" name="Abgerundetes Rechteck 20"/>
          <p:cNvSpPr>
            <a:spLocks noChangeAspect="1"/>
          </p:cNvSpPr>
          <p:nvPr userDrawn="1"/>
        </p:nvSpPr>
        <p:spPr>
          <a:xfrm>
            <a:off x="2312962" y="4097592"/>
            <a:ext cx="113814" cy="144000"/>
          </a:xfrm>
          <a:custGeom>
            <a:avLst/>
            <a:gdLst/>
            <a:ahLst/>
            <a:cxnLst/>
            <a:rect l="l" t="t" r="r" b="b"/>
            <a:pathLst>
              <a:path w="3942080" h="4987626">
                <a:moveTo>
                  <a:pt x="2627944" y="2319651"/>
                </a:moveTo>
                <a:cubicBezTo>
                  <a:pt x="2542661" y="2600955"/>
                  <a:pt x="2280581" y="2804161"/>
                  <a:pt x="1971040" y="2804161"/>
                </a:cubicBezTo>
                <a:cubicBezTo>
                  <a:pt x="1664276" y="2804161"/>
                  <a:pt x="1404126" y="2604585"/>
                  <a:pt x="1316468" y="2327166"/>
                </a:cubicBezTo>
                <a:lnTo>
                  <a:pt x="975173" y="2363502"/>
                </a:lnTo>
                <a:lnTo>
                  <a:pt x="497690" y="2417724"/>
                </a:lnTo>
                <a:cubicBezTo>
                  <a:pt x="380588" y="2417724"/>
                  <a:pt x="306613" y="2487889"/>
                  <a:pt x="306613" y="2604991"/>
                </a:cubicBezTo>
                <a:lnTo>
                  <a:pt x="306613" y="2958294"/>
                </a:lnTo>
                <a:lnTo>
                  <a:pt x="306000" y="2958060"/>
                </a:lnTo>
                <a:lnTo>
                  <a:pt x="306000" y="3648332"/>
                </a:lnTo>
                <a:lnTo>
                  <a:pt x="694896" y="3648332"/>
                </a:lnTo>
                <a:lnTo>
                  <a:pt x="694896" y="3267270"/>
                </a:lnTo>
                <a:cubicBezTo>
                  <a:pt x="694896" y="3182770"/>
                  <a:pt x="763396" y="3114270"/>
                  <a:pt x="847896" y="3114270"/>
                </a:cubicBezTo>
                <a:cubicBezTo>
                  <a:pt x="932396" y="3114270"/>
                  <a:pt x="1000896" y="3182770"/>
                  <a:pt x="1000896" y="3267270"/>
                </a:cubicBezTo>
                <a:lnTo>
                  <a:pt x="1000896" y="3801332"/>
                </a:lnTo>
                <a:lnTo>
                  <a:pt x="1000896" y="4681626"/>
                </a:lnTo>
                <a:lnTo>
                  <a:pt x="2942796" y="4681626"/>
                </a:lnTo>
                <a:lnTo>
                  <a:pt x="2942796" y="3809317"/>
                </a:lnTo>
                <a:lnTo>
                  <a:pt x="2941184" y="3801332"/>
                </a:lnTo>
                <a:cubicBezTo>
                  <a:pt x="2941184" y="3798629"/>
                  <a:pt x="2941254" y="3795943"/>
                  <a:pt x="2942796" y="3793347"/>
                </a:cubicBezTo>
                <a:lnTo>
                  <a:pt x="2942796" y="3267270"/>
                </a:lnTo>
                <a:cubicBezTo>
                  <a:pt x="2942796" y="3182770"/>
                  <a:pt x="3011296" y="3114270"/>
                  <a:pt x="3095796" y="3114270"/>
                </a:cubicBezTo>
                <a:cubicBezTo>
                  <a:pt x="3180296" y="3114270"/>
                  <a:pt x="3248796" y="3182770"/>
                  <a:pt x="3248796" y="3267270"/>
                </a:cubicBezTo>
                <a:lnTo>
                  <a:pt x="3248796" y="3648332"/>
                </a:lnTo>
                <a:lnTo>
                  <a:pt x="3636080" y="3648332"/>
                </a:lnTo>
                <a:lnTo>
                  <a:pt x="3636080" y="2948657"/>
                </a:lnTo>
                <a:lnTo>
                  <a:pt x="3632109" y="2950173"/>
                </a:lnTo>
                <a:lnTo>
                  <a:pt x="3632109" y="2596870"/>
                </a:lnTo>
                <a:cubicBezTo>
                  <a:pt x="3632109" y="2479768"/>
                  <a:pt x="3558134" y="2409603"/>
                  <a:pt x="3441033" y="2409603"/>
                </a:cubicBezTo>
                <a:lnTo>
                  <a:pt x="2963550" y="2355381"/>
                </a:lnTo>
                <a:close/>
                <a:moveTo>
                  <a:pt x="2428875" y="1995718"/>
                </a:moveTo>
                <a:lnTo>
                  <a:pt x="2553771" y="2008076"/>
                </a:lnTo>
                <a:lnTo>
                  <a:pt x="2574039" y="2006182"/>
                </a:lnTo>
                <a:lnTo>
                  <a:pt x="3421284" y="2096385"/>
                </a:lnTo>
                <a:lnTo>
                  <a:pt x="3425728" y="2096357"/>
                </a:lnTo>
                <a:cubicBezTo>
                  <a:pt x="3663468" y="2096357"/>
                  <a:pt x="3938110" y="2302419"/>
                  <a:pt x="3938110" y="2540158"/>
                </a:cubicBezTo>
                <a:cubicBezTo>
                  <a:pt x="3938110" y="2544099"/>
                  <a:pt x="3938057" y="2548028"/>
                  <a:pt x="3937140" y="2551922"/>
                </a:cubicBezTo>
                <a:cubicBezTo>
                  <a:pt x="3941388" y="2559562"/>
                  <a:pt x="3942080" y="2567895"/>
                  <a:pt x="3942080" y="2576390"/>
                </a:cubicBezTo>
                <a:lnTo>
                  <a:pt x="3942080" y="3801332"/>
                </a:lnTo>
                <a:lnTo>
                  <a:pt x="3930057" y="3860887"/>
                </a:lnTo>
                <a:lnTo>
                  <a:pt x="3897267" y="3909520"/>
                </a:lnTo>
                <a:lnTo>
                  <a:pt x="3848635" y="3942309"/>
                </a:lnTo>
                <a:cubicBezTo>
                  <a:pt x="3830330" y="3950051"/>
                  <a:pt x="3810205" y="3954332"/>
                  <a:pt x="3789080" y="3954332"/>
                </a:cubicBezTo>
                <a:lnTo>
                  <a:pt x="3248796" y="3954332"/>
                </a:lnTo>
                <a:lnTo>
                  <a:pt x="3248796" y="4834626"/>
                </a:lnTo>
                <a:lnTo>
                  <a:pt x="3236773" y="4894181"/>
                </a:lnTo>
                <a:lnTo>
                  <a:pt x="3203984" y="4942814"/>
                </a:lnTo>
                <a:lnTo>
                  <a:pt x="3155351" y="4975603"/>
                </a:lnTo>
                <a:cubicBezTo>
                  <a:pt x="3137046" y="4983345"/>
                  <a:pt x="3116921" y="4987626"/>
                  <a:pt x="3095796" y="4987626"/>
                </a:cubicBezTo>
                <a:lnTo>
                  <a:pt x="847896" y="4987626"/>
                </a:lnTo>
                <a:cubicBezTo>
                  <a:pt x="805646" y="4987626"/>
                  <a:pt x="767396" y="4970501"/>
                  <a:pt x="739708" y="4942814"/>
                </a:cubicBezTo>
                <a:cubicBezTo>
                  <a:pt x="725864" y="4928970"/>
                  <a:pt x="714661" y="4912486"/>
                  <a:pt x="706919" y="4894181"/>
                </a:cubicBezTo>
                <a:cubicBezTo>
                  <a:pt x="699177" y="4875876"/>
                  <a:pt x="694896" y="4855751"/>
                  <a:pt x="694896" y="4834626"/>
                </a:cubicBezTo>
                <a:lnTo>
                  <a:pt x="694896" y="3954332"/>
                </a:lnTo>
                <a:lnTo>
                  <a:pt x="153000" y="3954332"/>
                </a:lnTo>
                <a:cubicBezTo>
                  <a:pt x="110750" y="3954332"/>
                  <a:pt x="72500" y="3937207"/>
                  <a:pt x="44812" y="3909520"/>
                </a:cubicBezTo>
                <a:cubicBezTo>
                  <a:pt x="30968" y="3895676"/>
                  <a:pt x="19765" y="3879192"/>
                  <a:pt x="12023" y="3860887"/>
                </a:cubicBezTo>
                <a:cubicBezTo>
                  <a:pt x="4281" y="3842582"/>
                  <a:pt x="0" y="3822457"/>
                  <a:pt x="0" y="3801332"/>
                </a:cubicBezTo>
                <a:lnTo>
                  <a:pt x="0" y="2576390"/>
                </a:lnTo>
                <a:lnTo>
                  <a:pt x="2080" y="2566084"/>
                </a:lnTo>
                <a:cubicBezTo>
                  <a:pt x="735" y="2560209"/>
                  <a:pt x="613" y="2554258"/>
                  <a:pt x="613" y="2548279"/>
                </a:cubicBezTo>
                <a:cubicBezTo>
                  <a:pt x="612" y="2310540"/>
                  <a:pt x="275254" y="2104478"/>
                  <a:pt x="512994" y="2104478"/>
                </a:cubicBezTo>
                <a:lnTo>
                  <a:pt x="517438" y="2104506"/>
                </a:lnTo>
                <a:lnTo>
                  <a:pt x="1364683" y="2014303"/>
                </a:lnTo>
                <a:lnTo>
                  <a:pt x="1372446" y="2015029"/>
                </a:lnTo>
                <a:lnTo>
                  <a:pt x="1492885" y="2003338"/>
                </a:lnTo>
                <a:cubicBezTo>
                  <a:pt x="1516224" y="2020562"/>
                  <a:pt x="1545254" y="2036215"/>
                  <a:pt x="1578994" y="2049782"/>
                </a:cubicBezTo>
                <a:lnTo>
                  <a:pt x="1572717" y="2112051"/>
                </a:lnTo>
                <a:cubicBezTo>
                  <a:pt x="1572717" y="2332039"/>
                  <a:pt x="1751052" y="2510374"/>
                  <a:pt x="1971040" y="2510374"/>
                </a:cubicBezTo>
                <a:cubicBezTo>
                  <a:pt x="2191028" y="2510374"/>
                  <a:pt x="2369363" y="2332039"/>
                  <a:pt x="2369363" y="2112051"/>
                </a:cubicBezTo>
                <a:lnTo>
                  <a:pt x="2363001" y="2048941"/>
                </a:lnTo>
                <a:close/>
                <a:moveTo>
                  <a:pt x="1997750" y="299878"/>
                </a:moveTo>
                <a:cubicBezTo>
                  <a:pt x="1636593" y="299878"/>
                  <a:pt x="1343818" y="592653"/>
                  <a:pt x="1343818" y="953810"/>
                </a:cubicBezTo>
                <a:cubicBezTo>
                  <a:pt x="1343818" y="1314967"/>
                  <a:pt x="1636593" y="1607742"/>
                  <a:pt x="1997750" y="1607742"/>
                </a:cubicBezTo>
                <a:cubicBezTo>
                  <a:pt x="2358907" y="1607742"/>
                  <a:pt x="2651682" y="1314967"/>
                  <a:pt x="2651682" y="953810"/>
                </a:cubicBezTo>
                <a:cubicBezTo>
                  <a:pt x="2651682" y="592653"/>
                  <a:pt x="2358907" y="299878"/>
                  <a:pt x="1997750" y="299878"/>
                </a:cubicBezTo>
                <a:close/>
                <a:moveTo>
                  <a:pt x="1997750" y="0"/>
                </a:moveTo>
                <a:cubicBezTo>
                  <a:pt x="2524525" y="0"/>
                  <a:pt x="2951560" y="427035"/>
                  <a:pt x="2951560" y="953810"/>
                </a:cubicBezTo>
                <a:cubicBezTo>
                  <a:pt x="2951560" y="1480585"/>
                  <a:pt x="2524525" y="1907620"/>
                  <a:pt x="1997750" y="1907620"/>
                </a:cubicBezTo>
                <a:cubicBezTo>
                  <a:pt x="1470975" y="1907620"/>
                  <a:pt x="1043940" y="1480585"/>
                  <a:pt x="1043940" y="953810"/>
                </a:cubicBezTo>
                <a:cubicBezTo>
                  <a:pt x="1043940" y="427035"/>
                  <a:pt x="1470975" y="0"/>
                  <a:pt x="1997750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55" name="Rechteck 54"/>
          <p:cNvSpPr/>
          <p:nvPr userDrawn="1"/>
        </p:nvSpPr>
        <p:spPr bwMode="auto">
          <a:xfrm>
            <a:off x="9162796" y="84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6" name="Rechteck 55"/>
          <p:cNvSpPr/>
          <p:nvPr userDrawn="1"/>
        </p:nvSpPr>
        <p:spPr bwMode="auto">
          <a:xfrm>
            <a:off x="9162796" y="255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7" name="Rechteck 56"/>
          <p:cNvSpPr/>
          <p:nvPr userDrawn="1"/>
        </p:nvSpPr>
        <p:spPr bwMode="auto">
          <a:xfrm>
            <a:off x="9162796" y="267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8" name="Rechteck 57"/>
          <p:cNvSpPr/>
          <p:nvPr userDrawn="1"/>
        </p:nvSpPr>
        <p:spPr bwMode="auto">
          <a:xfrm>
            <a:off x="9162796" y="438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9" name="Rechteck 58"/>
          <p:cNvSpPr/>
          <p:nvPr userDrawn="1"/>
        </p:nvSpPr>
        <p:spPr bwMode="auto">
          <a:xfrm rot="5400000">
            <a:off x="7083284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0" name="Rechteck 59"/>
          <p:cNvSpPr/>
          <p:nvPr userDrawn="1"/>
        </p:nvSpPr>
        <p:spPr bwMode="auto">
          <a:xfrm rot="5400000">
            <a:off x="6957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1" name="Rechteck 60"/>
          <p:cNvSpPr/>
          <p:nvPr userDrawn="1"/>
        </p:nvSpPr>
        <p:spPr bwMode="auto">
          <a:xfrm rot="5400000">
            <a:off x="5391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4" name="Rad 63"/>
          <p:cNvSpPr/>
          <p:nvPr/>
        </p:nvSpPr>
        <p:spPr>
          <a:xfrm>
            <a:off x="4877439" y="2354581"/>
            <a:ext cx="852541" cy="852541"/>
          </a:xfrm>
          <a:prstGeom prst="donut">
            <a:avLst>
              <a:gd name="adj" fmla="val 3046"/>
            </a:avLst>
          </a:prstGeom>
          <a:solidFill>
            <a:schemeClr val="accent5">
              <a:alpha val="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grpSp>
        <p:nvGrpSpPr>
          <p:cNvPr id="2" name="Gruppieren 1"/>
          <p:cNvGrpSpPr>
            <a:grpSpLocks noChangeAspect="1"/>
          </p:cNvGrpSpPr>
          <p:nvPr userDrawn="1"/>
        </p:nvGrpSpPr>
        <p:grpSpPr>
          <a:xfrm>
            <a:off x="454747" y="4113063"/>
            <a:ext cx="310163" cy="252000"/>
            <a:chOff x="3950993" y="1371507"/>
            <a:chExt cx="2707700" cy="2199942"/>
          </a:xfrm>
          <a:solidFill>
            <a:schemeClr val="accent2"/>
          </a:solidFill>
        </p:grpSpPr>
        <p:sp>
          <p:nvSpPr>
            <p:cNvPr id="65" name="Freeform 8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950993" y="2568533"/>
              <a:ext cx="1315743" cy="1002916"/>
            </a:xfrm>
            <a:custGeom>
              <a:avLst/>
              <a:gdLst/>
              <a:ahLst/>
              <a:cxnLst/>
              <a:rect l="l" t="t" r="r" b="b"/>
              <a:pathLst>
                <a:path w="1315743" h="1002916">
                  <a:moveTo>
                    <a:pt x="725639" y="1939"/>
                  </a:moveTo>
                  <a:cubicBezTo>
                    <a:pt x="747194" y="5173"/>
                    <a:pt x="768330" y="12478"/>
                    <a:pt x="787794" y="24044"/>
                  </a:cubicBezTo>
                  <a:cubicBezTo>
                    <a:pt x="787794" y="24044"/>
                    <a:pt x="787794" y="24044"/>
                    <a:pt x="938831" y="115314"/>
                  </a:cubicBezTo>
                  <a:cubicBezTo>
                    <a:pt x="930376" y="146609"/>
                    <a:pt x="926446" y="179496"/>
                    <a:pt x="926446" y="213301"/>
                  </a:cubicBezTo>
                  <a:cubicBezTo>
                    <a:pt x="926446" y="436338"/>
                    <a:pt x="1097499" y="619419"/>
                    <a:pt x="1315743" y="636338"/>
                  </a:cubicBezTo>
                  <a:lnTo>
                    <a:pt x="1315743" y="837336"/>
                  </a:lnTo>
                  <a:cubicBezTo>
                    <a:pt x="1315743" y="927431"/>
                    <a:pt x="1242755" y="1002916"/>
                    <a:pt x="1150303" y="1002916"/>
                  </a:cubicBezTo>
                  <a:cubicBezTo>
                    <a:pt x="1150303" y="1002916"/>
                    <a:pt x="1150303" y="1002916"/>
                    <a:pt x="96837" y="1002916"/>
                  </a:cubicBezTo>
                  <a:cubicBezTo>
                    <a:pt x="6818" y="1002916"/>
                    <a:pt x="-27244" y="942041"/>
                    <a:pt x="23848" y="866556"/>
                  </a:cubicBezTo>
                  <a:cubicBezTo>
                    <a:pt x="23848" y="866556"/>
                    <a:pt x="23848" y="866556"/>
                    <a:pt x="554231" y="77614"/>
                  </a:cubicBezTo>
                  <a:cubicBezTo>
                    <a:pt x="592550" y="19174"/>
                    <a:pt x="660976" y="-7763"/>
                    <a:pt x="725639" y="1939"/>
                  </a:cubicBezTo>
                  <a:close/>
                </a:path>
              </a:pathLst>
            </a:custGeom>
            <a:grpFill/>
            <a:ln>
              <a:noFill/>
              <a:prstDash val="dash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68" name="Freeform 9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4696266" y="1371507"/>
              <a:ext cx="1215843" cy="1269539"/>
            </a:xfrm>
            <a:custGeom>
              <a:avLst/>
              <a:gdLst/>
              <a:ahLst/>
              <a:cxnLst/>
              <a:rect l="l" t="t" r="r" b="b"/>
              <a:pathLst>
                <a:path w="1215843" h="1269539">
                  <a:moveTo>
                    <a:pt x="606706" y="0"/>
                  </a:moveTo>
                  <a:cubicBezTo>
                    <a:pt x="640162" y="0"/>
                    <a:pt x="673618" y="22120"/>
                    <a:pt x="699167" y="66362"/>
                  </a:cubicBezTo>
                  <a:cubicBezTo>
                    <a:pt x="699167" y="66362"/>
                    <a:pt x="699167" y="66362"/>
                    <a:pt x="1188239" y="916938"/>
                  </a:cubicBezTo>
                  <a:cubicBezTo>
                    <a:pt x="1239336" y="1005421"/>
                    <a:pt x="1217437" y="1122447"/>
                    <a:pt x="1139575" y="1176678"/>
                  </a:cubicBezTo>
                  <a:cubicBezTo>
                    <a:pt x="1139575" y="1176678"/>
                    <a:pt x="1139575" y="1176678"/>
                    <a:pt x="1009001" y="1269539"/>
                  </a:cubicBezTo>
                  <a:cubicBezTo>
                    <a:pt x="952366" y="1102707"/>
                    <a:pt x="794061" y="983515"/>
                    <a:pt x="607922" y="983515"/>
                  </a:cubicBezTo>
                  <a:cubicBezTo>
                    <a:pt x="421783" y="983515"/>
                    <a:pt x="263478" y="1102707"/>
                    <a:pt x="206844" y="1269539"/>
                  </a:cubicBezTo>
                  <a:lnTo>
                    <a:pt x="76269" y="1176678"/>
                  </a:lnTo>
                  <a:cubicBezTo>
                    <a:pt x="-1593" y="1122447"/>
                    <a:pt x="-23492" y="1005421"/>
                    <a:pt x="27605" y="916938"/>
                  </a:cubicBezTo>
                  <a:cubicBezTo>
                    <a:pt x="27605" y="916938"/>
                    <a:pt x="27605" y="916938"/>
                    <a:pt x="514244" y="66362"/>
                  </a:cubicBezTo>
                  <a:cubicBezTo>
                    <a:pt x="539793" y="22120"/>
                    <a:pt x="573249" y="0"/>
                    <a:pt x="606706" y="0"/>
                  </a:cubicBezTo>
                  <a:close/>
                </a:path>
              </a:pathLst>
            </a:custGeom>
            <a:grpFill/>
            <a:ln>
              <a:noFill/>
              <a:prstDash val="dash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71" name="Freeform 7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5325869" y="2568533"/>
              <a:ext cx="1332824" cy="1002916"/>
            </a:xfrm>
            <a:custGeom>
              <a:avLst/>
              <a:gdLst/>
              <a:ahLst/>
              <a:cxnLst/>
              <a:rect l="l" t="t" r="r" b="b"/>
              <a:pathLst>
                <a:path w="1332824" h="1002916">
                  <a:moveTo>
                    <a:pt x="604725" y="1939"/>
                  </a:moveTo>
                  <a:cubicBezTo>
                    <a:pt x="669391" y="-7763"/>
                    <a:pt x="737820" y="19174"/>
                    <a:pt x="776140" y="77614"/>
                  </a:cubicBezTo>
                  <a:cubicBezTo>
                    <a:pt x="776140" y="77614"/>
                    <a:pt x="776140" y="77614"/>
                    <a:pt x="1308976" y="866556"/>
                  </a:cubicBezTo>
                  <a:cubicBezTo>
                    <a:pt x="1360070" y="942041"/>
                    <a:pt x="1326008" y="1002916"/>
                    <a:pt x="1235985" y="1002916"/>
                  </a:cubicBezTo>
                  <a:cubicBezTo>
                    <a:pt x="1235985" y="1002916"/>
                    <a:pt x="1235985" y="1002916"/>
                    <a:pt x="165447" y="1002916"/>
                  </a:cubicBezTo>
                  <a:cubicBezTo>
                    <a:pt x="75425" y="1002916"/>
                    <a:pt x="0" y="927431"/>
                    <a:pt x="0" y="837336"/>
                  </a:cubicBezTo>
                  <a:cubicBezTo>
                    <a:pt x="0" y="837336"/>
                    <a:pt x="0" y="837336"/>
                    <a:pt x="0" y="637928"/>
                  </a:cubicBezTo>
                  <a:cubicBezTo>
                    <a:pt x="225655" y="628235"/>
                    <a:pt x="405066" y="441723"/>
                    <a:pt x="405066" y="213301"/>
                  </a:cubicBezTo>
                  <a:cubicBezTo>
                    <a:pt x="405066" y="179557"/>
                    <a:pt x="401151" y="146727"/>
                    <a:pt x="392733" y="115481"/>
                  </a:cubicBezTo>
                  <a:lnTo>
                    <a:pt x="542568" y="24044"/>
                  </a:lnTo>
                  <a:cubicBezTo>
                    <a:pt x="562033" y="12478"/>
                    <a:pt x="583170" y="5173"/>
                    <a:pt x="604725" y="1939"/>
                  </a:cubicBezTo>
                  <a:close/>
                </a:path>
              </a:pathLst>
            </a:custGeom>
            <a:grpFill/>
            <a:ln>
              <a:noFill/>
              <a:prstDash val="solid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</p:grpSp>
      <p:sp>
        <p:nvSpPr>
          <p:cNvPr id="63" name="Rechteck 62"/>
          <p:cNvSpPr/>
          <p:nvPr userDrawn="1"/>
        </p:nvSpPr>
        <p:spPr>
          <a:xfrm>
            <a:off x="804723" y="4056380"/>
            <a:ext cx="36000" cy="351534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53" name="Rechteck 52"/>
          <p:cNvSpPr/>
          <p:nvPr userDrawn="1"/>
        </p:nvSpPr>
        <p:spPr>
          <a:xfrm>
            <a:off x="431540" y="1095586"/>
            <a:ext cx="4824000" cy="29160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4016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0" y="842965"/>
            <a:ext cx="9144000" cy="356552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" name="Ellipse 6"/>
          <p:cNvSpPr/>
          <p:nvPr userDrawn="1"/>
        </p:nvSpPr>
        <p:spPr>
          <a:xfrm>
            <a:off x="432000" y="842964"/>
            <a:ext cx="8279598" cy="3565525"/>
          </a:xfrm>
          <a:custGeom>
            <a:avLst/>
            <a:gdLst/>
            <a:ahLst/>
            <a:cxnLst/>
            <a:rect l="l" t="t" r="r" b="b"/>
            <a:pathLst>
              <a:path w="8279598" h="3565525">
                <a:moveTo>
                  <a:pt x="4139799" y="320473"/>
                </a:moveTo>
                <a:cubicBezTo>
                  <a:pt x="3362605" y="320473"/>
                  <a:pt x="2732564" y="950514"/>
                  <a:pt x="2732564" y="1727708"/>
                </a:cubicBezTo>
                <a:cubicBezTo>
                  <a:pt x="2732564" y="2504902"/>
                  <a:pt x="3362605" y="3134943"/>
                  <a:pt x="4139799" y="3134943"/>
                </a:cubicBezTo>
                <a:cubicBezTo>
                  <a:pt x="4916993" y="3134943"/>
                  <a:pt x="5547034" y="2504902"/>
                  <a:pt x="5547034" y="1727708"/>
                </a:cubicBezTo>
                <a:cubicBezTo>
                  <a:pt x="5547034" y="950514"/>
                  <a:pt x="4916993" y="320473"/>
                  <a:pt x="4139799" y="320473"/>
                </a:cubicBezTo>
                <a:close/>
                <a:moveTo>
                  <a:pt x="402663" y="0"/>
                </a:moveTo>
                <a:lnTo>
                  <a:pt x="7876935" y="0"/>
                </a:lnTo>
                <a:cubicBezTo>
                  <a:pt x="8135169" y="539733"/>
                  <a:pt x="8279598" y="1144231"/>
                  <a:pt x="8279598" y="1782463"/>
                </a:cubicBezTo>
                <a:cubicBezTo>
                  <a:pt x="8279598" y="2420929"/>
                  <a:pt x="8135064" y="3025636"/>
                  <a:pt x="7876664" y="3565525"/>
                </a:cubicBezTo>
                <a:lnTo>
                  <a:pt x="402934" y="3565525"/>
                </a:lnTo>
                <a:cubicBezTo>
                  <a:pt x="144535" y="3025636"/>
                  <a:pt x="0" y="2420929"/>
                  <a:pt x="0" y="1782463"/>
                </a:cubicBezTo>
                <a:cubicBezTo>
                  <a:pt x="0" y="1144231"/>
                  <a:pt x="144429" y="539733"/>
                  <a:pt x="402663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7" name="Kreis 42"/>
          <p:cNvSpPr/>
          <p:nvPr userDrawn="1"/>
        </p:nvSpPr>
        <p:spPr>
          <a:xfrm>
            <a:off x="647540" y="842964"/>
            <a:ext cx="7820747" cy="3565525"/>
          </a:xfrm>
          <a:custGeom>
            <a:avLst/>
            <a:gdLst/>
            <a:ahLst/>
            <a:cxnLst/>
            <a:rect l="l" t="t" r="r" b="b"/>
            <a:pathLst>
              <a:path w="7820747" h="3565525">
                <a:moveTo>
                  <a:pt x="429298" y="0"/>
                </a:moveTo>
                <a:lnTo>
                  <a:pt x="7391763" y="0"/>
                </a:lnTo>
                <a:cubicBezTo>
                  <a:pt x="7651122" y="505499"/>
                  <a:pt x="7803791" y="1075686"/>
                  <a:pt x="7819421" y="1681629"/>
                </a:cubicBezTo>
                <a:cubicBezTo>
                  <a:pt x="7836912" y="2359709"/>
                  <a:pt x="7680714" y="3001920"/>
                  <a:pt x="7391117" y="3565525"/>
                </a:cubicBezTo>
                <a:lnTo>
                  <a:pt x="3956445" y="3565525"/>
                </a:lnTo>
                <a:lnTo>
                  <a:pt x="3945292" y="3133881"/>
                </a:lnTo>
                <a:cubicBezTo>
                  <a:pt x="4712796" y="3123537"/>
                  <a:pt x="5331494" y="2497875"/>
                  <a:pt x="5331494" y="1727708"/>
                </a:cubicBezTo>
                <a:cubicBezTo>
                  <a:pt x="5331494" y="950514"/>
                  <a:pt x="4701453" y="320473"/>
                  <a:pt x="3924259" y="320473"/>
                </a:cubicBezTo>
                <a:cubicBezTo>
                  <a:pt x="3147065" y="320473"/>
                  <a:pt x="2517024" y="950514"/>
                  <a:pt x="2517024" y="1727708"/>
                </a:cubicBezTo>
                <a:cubicBezTo>
                  <a:pt x="2517024" y="2504902"/>
                  <a:pt x="3147065" y="3134943"/>
                  <a:pt x="3924259" y="3134943"/>
                </a:cubicBezTo>
                <a:cubicBezTo>
                  <a:pt x="3931208" y="3134943"/>
                  <a:pt x="3938146" y="3134893"/>
                  <a:pt x="3945058" y="3133893"/>
                </a:cubicBezTo>
                <a:lnTo>
                  <a:pt x="3956136" y="3565525"/>
                </a:lnTo>
                <a:lnTo>
                  <a:pt x="429264" y="3565525"/>
                </a:lnTo>
                <a:cubicBezTo>
                  <a:pt x="169693" y="3059773"/>
                  <a:pt x="16904" y="2489260"/>
                  <a:pt x="1317" y="1882960"/>
                </a:cubicBezTo>
                <a:cubicBezTo>
                  <a:pt x="-16106" y="1205243"/>
                  <a:pt x="139971" y="563372"/>
                  <a:pt x="429298" y="0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9" name="Ellipse 7"/>
          <p:cNvSpPr/>
          <p:nvPr userDrawn="1"/>
        </p:nvSpPr>
        <p:spPr>
          <a:xfrm>
            <a:off x="2053725" y="842964"/>
            <a:ext cx="5036148" cy="3565525"/>
          </a:xfrm>
          <a:custGeom>
            <a:avLst/>
            <a:gdLst/>
            <a:ahLst/>
            <a:cxnLst/>
            <a:rect l="l" t="t" r="r" b="b"/>
            <a:pathLst>
              <a:path w="5036148" h="3565525">
                <a:moveTo>
                  <a:pt x="2518074" y="320473"/>
                </a:moveTo>
                <a:cubicBezTo>
                  <a:pt x="1740880" y="320473"/>
                  <a:pt x="1110839" y="950514"/>
                  <a:pt x="1110839" y="1727708"/>
                </a:cubicBezTo>
                <a:cubicBezTo>
                  <a:pt x="1110839" y="2504902"/>
                  <a:pt x="1740880" y="3134943"/>
                  <a:pt x="2518074" y="3134943"/>
                </a:cubicBezTo>
                <a:cubicBezTo>
                  <a:pt x="3295268" y="3134943"/>
                  <a:pt x="3925309" y="2504902"/>
                  <a:pt x="3925309" y="1727708"/>
                </a:cubicBezTo>
                <a:cubicBezTo>
                  <a:pt x="3925309" y="950514"/>
                  <a:pt x="3295268" y="320473"/>
                  <a:pt x="2518074" y="320473"/>
                </a:cubicBezTo>
                <a:close/>
                <a:moveTo>
                  <a:pt x="739635" y="0"/>
                </a:moveTo>
                <a:lnTo>
                  <a:pt x="4296514" y="0"/>
                </a:lnTo>
                <a:cubicBezTo>
                  <a:pt x="4753473" y="455745"/>
                  <a:pt x="5036148" y="1086093"/>
                  <a:pt x="5036148" y="1782463"/>
                </a:cubicBezTo>
                <a:cubicBezTo>
                  <a:pt x="5036148" y="2479153"/>
                  <a:pt x="4753213" y="3109761"/>
                  <a:pt x="4295855" y="3565525"/>
                </a:cubicBezTo>
                <a:lnTo>
                  <a:pt x="740294" y="3565525"/>
                </a:lnTo>
                <a:cubicBezTo>
                  <a:pt x="282935" y="3109761"/>
                  <a:pt x="0" y="2479153"/>
                  <a:pt x="0" y="1782463"/>
                </a:cubicBezTo>
                <a:cubicBezTo>
                  <a:pt x="0" y="1086093"/>
                  <a:pt x="282675" y="455745"/>
                  <a:pt x="739635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</p:spTree>
    <p:extLst>
      <p:ext uri="{BB962C8B-B14F-4D97-AF65-F5344CB8AC3E}">
        <p14:creationId xmlns:p14="http://schemas.microsoft.com/office/powerpoint/2010/main" val="83752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32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3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9" grpId="0" animBg="1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9" name="Rectangle 5"/>
          <p:cNvSpPr/>
          <p:nvPr userDrawn="1"/>
        </p:nvSpPr>
        <p:spPr>
          <a:xfrm>
            <a:off x="378000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 algn="r"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Rectangle 7"/>
          <p:cNvSpPr/>
          <p:nvPr userDrawn="1"/>
        </p:nvSpPr>
        <p:spPr>
          <a:xfrm>
            <a:off x="545423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90000" rIns="90000" bIns="90000" anchor="t"/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endParaRPr lang="en-US" sz="1600" dirty="0">
              <a:solidFill>
                <a:srgbClr val="001135"/>
              </a:solidFill>
              <a:cs typeface="Arial" pitchFamily="34" charset="0"/>
            </a:endParaRPr>
          </a:p>
        </p:txBody>
      </p:sp>
      <p:sp>
        <p:nvSpPr>
          <p:cNvPr id="21" name="Rectangle 11"/>
          <p:cNvSpPr/>
          <p:nvPr userDrawn="1"/>
        </p:nvSpPr>
        <p:spPr>
          <a:xfrm>
            <a:off x="378000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anchor="t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2" name="Rectangle 12"/>
          <p:cNvSpPr/>
          <p:nvPr userDrawn="1"/>
        </p:nvSpPr>
        <p:spPr>
          <a:xfrm>
            <a:off x="545423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90000" bIns="90000" anchor="ctr"/>
          <a:lstStyle/>
          <a:p>
            <a:pPr algn="r">
              <a:lnSpc>
                <a:spcPct val="90000"/>
              </a:lnSpc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3" name="Rectangle 7"/>
          <p:cNvSpPr/>
          <p:nvPr userDrawn="1"/>
        </p:nvSpPr>
        <p:spPr>
          <a:xfrm>
            <a:off x="712846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anchor="ctr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4" name="Rectangle 8"/>
          <p:cNvSpPr/>
          <p:nvPr userDrawn="1"/>
        </p:nvSpPr>
        <p:spPr>
          <a:xfrm>
            <a:off x="712846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144000" bIns="90000" anchor="t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001135"/>
              </a:solidFill>
              <a:cs typeface="Arial" pitchFamily="34" charset="0"/>
            </a:endParaRPr>
          </a:p>
        </p:txBody>
      </p:sp>
      <p:sp>
        <p:nvSpPr>
          <p:cNvPr id="25" name="Rectangle 8"/>
          <p:cNvSpPr/>
          <p:nvPr userDrawn="1"/>
        </p:nvSpPr>
        <p:spPr>
          <a:xfrm>
            <a:off x="210577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90000" rIns="144000" bIns="90000" anchor="t"/>
          <a:lstStyle/>
          <a:p>
            <a:pPr algn="r">
              <a:lnSpc>
                <a:spcPct val="90000"/>
              </a:lnSpc>
              <a:spcAft>
                <a:spcPts val="600"/>
              </a:spcAft>
              <a:defRPr/>
            </a:pPr>
            <a:endParaRPr lang="en-GB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6" name="Rectangle 9"/>
          <p:cNvSpPr/>
          <p:nvPr userDrawn="1"/>
        </p:nvSpPr>
        <p:spPr>
          <a:xfrm>
            <a:off x="210577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124191"/>
              </a:solidFill>
              <a:cs typeface="Arial" pitchFamily="34" charset="0"/>
            </a:endParaRPr>
          </a:p>
        </p:txBody>
      </p:sp>
      <p:sp>
        <p:nvSpPr>
          <p:cNvPr id="27" name="Rectangle 4"/>
          <p:cNvSpPr/>
          <p:nvPr userDrawn="1"/>
        </p:nvSpPr>
        <p:spPr>
          <a:xfrm>
            <a:off x="43154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8" name="Rectangle 4"/>
          <p:cNvSpPr/>
          <p:nvPr userDrawn="1"/>
        </p:nvSpPr>
        <p:spPr>
          <a:xfrm>
            <a:off x="43154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34321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727247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Nokia White 0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35222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8191197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2041407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264643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9013017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180000"/>
            <a:ext cx="8244000" cy="22536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17600" y="2217675"/>
            <a:ext cx="8244000" cy="20304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46621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20000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500624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2877963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5057676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433155" y="842963"/>
            <a:ext cx="8280400" cy="35655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648" name="Ellipse 647"/>
          <p:cNvSpPr/>
          <p:nvPr userDrawn="1"/>
        </p:nvSpPr>
        <p:spPr>
          <a:xfrm>
            <a:off x="432000" y="848312"/>
            <a:ext cx="8175694" cy="3560176"/>
          </a:xfrm>
          <a:custGeom>
            <a:avLst/>
            <a:gdLst/>
            <a:ahLst/>
            <a:cxnLst/>
            <a:rect l="l" t="t" r="r" b="b"/>
            <a:pathLst>
              <a:path w="8175694" h="3560176">
                <a:moveTo>
                  <a:pt x="409070" y="0"/>
                </a:moveTo>
                <a:lnTo>
                  <a:pt x="7766624" y="0"/>
                </a:lnTo>
                <a:cubicBezTo>
                  <a:pt x="8028794" y="538970"/>
                  <a:pt x="8175694" y="1144279"/>
                  <a:pt x="8175694" y="1783897"/>
                </a:cubicBezTo>
                <a:cubicBezTo>
                  <a:pt x="8175694" y="2420472"/>
                  <a:pt x="8030189" y="3023062"/>
                  <a:pt x="7770526" y="3560176"/>
                </a:cubicBezTo>
                <a:lnTo>
                  <a:pt x="405168" y="3560176"/>
                </a:lnTo>
                <a:cubicBezTo>
                  <a:pt x="145505" y="3023062"/>
                  <a:pt x="0" y="2420472"/>
                  <a:pt x="0" y="1783897"/>
                </a:cubicBezTo>
                <a:cubicBezTo>
                  <a:pt x="0" y="1144279"/>
                  <a:pt x="146900" y="538970"/>
                  <a:pt x="409070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43" name="Ellipse 642"/>
          <p:cNvSpPr/>
          <p:nvPr userDrawn="1"/>
        </p:nvSpPr>
        <p:spPr>
          <a:xfrm>
            <a:off x="628166" y="280400"/>
            <a:ext cx="7783363" cy="4703618"/>
          </a:xfrm>
          <a:custGeom>
            <a:avLst/>
            <a:gdLst/>
            <a:ahLst/>
            <a:cxnLst/>
            <a:rect l="l" t="t" r="r" b="b"/>
            <a:pathLst>
              <a:path w="7783363" h="4703618">
                <a:moveTo>
                  <a:pt x="2351806" y="0"/>
                </a:moveTo>
                <a:cubicBezTo>
                  <a:pt x="2941384" y="0"/>
                  <a:pt x="3480291" y="216949"/>
                  <a:pt x="3891682" y="576946"/>
                </a:cubicBezTo>
                <a:cubicBezTo>
                  <a:pt x="4303073" y="216949"/>
                  <a:pt x="4841979" y="0"/>
                  <a:pt x="5431557" y="0"/>
                </a:cubicBezTo>
                <a:cubicBezTo>
                  <a:pt x="6730424" y="0"/>
                  <a:pt x="7783363" y="1052941"/>
                  <a:pt x="7783363" y="2351809"/>
                </a:cubicBezTo>
                <a:cubicBezTo>
                  <a:pt x="7783363" y="3650677"/>
                  <a:pt x="6730424" y="4703618"/>
                  <a:pt x="5431557" y="4703618"/>
                </a:cubicBezTo>
                <a:cubicBezTo>
                  <a:pt x="4841979" y="4703618"/>
                  <a:pt x="4303073" y="4486670"/>
                  <a:pt x="3891682" y="4126673"/>
                </a:cubicBezTo>
                <a:cubicBezTo>
                  <a:pt x="3480291" y="4486670"/>
                  <a:pt x="2941384" y="4703618"/>
                  <a:pt x="2351806" y="4703618"/>
                </a:cubicBezTo>
                <a:cubicBezTo>
                  <a:pt x="1052939" y="4703618"/>
                  <a:pt x="0" y="3650677"/>
                  <a:pt x="0" y="2351809"/>
                </a:cubicBezTo>
                <a:cubicBezTo>
                  <a:pt x="0" y="1052941"/>
                  <a:pt x="1052939" y="0"/>
                  <a:pt x="2351806" y="0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638" name="Ellipse 7"/>
          <p:cNvSpPr/>
          <p:nvPr userDrawn="1"/>
        </p:nvSpPr>
        <p:spPr>
          <a:xfrm>
            <a:off x="2053725" y="842964"/>
            <a:ext cx="5036148" cy="3565525"/>
          </a:xfrm>
          <a:custGeom>
            <a:avLst/>
            <a:gdLst/>
            <a:ahLst/>
            <a:cxnLst/>
            <a:rect l="l" t="t" r="r" b="b"/>
            <a:pathLst>
              <a:path w="5036148" h="3565525">
                <a:moveTo>
                  <a:pt x="739635" y="0"/>
                </a:moveTo>
                <a:lnTo>
                  <a:pt x="4296514" y="0"/>
                </a:lnTo>
                <a:cubicBezTo>
                  <a:pt x="4753473" y="455745"/>
                  <a:pt x="5036148" y="1086093"/>
                  <a:pt x="5036148" y="1782463"/>
                </a:cubicBezTo>
                <a:cubicBezTo>
                  <a:pt x="5036148" y="2479153"/>
                  <a:pt x="4753213" y="3109761"/>
                  <a:pt x="4295855" y="3565525"/>
                </a:cubicBezTo>
                <a:lnTo>
                  <a:pt x="740294" y="3565525"/>
                </a:lnTo>
                <a:cubicBezTo>
                  <a:pt x="282935" y="3109761"/>
                  <a:pt x="0" y="2479153"/>
                  <a:pt x="0" y="1782463"/>
                </a:cubicBezTo>
                <a:cubicBezTo>
                  <a:pt x="0" y="1086093"/>
                  <a:pt x="282675" y="455745"/>
                  <a:pt x="739635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39" name="Ellipse 638"/>
          <p:cNvSpPr/>
          <p:nvPr userDrawn="1"/>
        </p:nvSpPr>
        <p:spPr>
          <a:xfrm flipH="1">
            <a:off x="4416754" y="2513498"/>
            <a:ext cx="310492" cy="244200"/>
          </a:xfrm>
          <a:prstGeom prst="ellipse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40" name="Ellipse 19"/>
          <p:cNvSpPr/>
          <p:nvPr userDrawn="1"/>
        </p:nvSpPr>
        <p:spPr>
          <a:xfrm flipH="1">
            <a:off x="3527978" y="1594144"/>
            <a:ext cx="2082610" cy="2082912"/>
          </a:xfrm>
          <a:custGeom>
            <a:avLst/>
            <a:gdLst/>
            <a:ahLst/>
            <a:cxnLst/>
            <a:rect l="l" t="t" r="r" b="b"/>
            <a:pathLst>
              <a:path w="2082610" h="2082912">
                <a:moveTo>
                  <a:pt x="1058406" y="0"/>
                </a:moveTo>
                <a:lnTo>
                  <a:pt x="1058406" y="340217"/>
                </a:lnTo>
                <a:cubicBezTo>
                  <a:pt x="1058406" y="350158"/>
                  <a:pt x="1050347" y="358217"/>
                  <a:pt x="1040406" y="358217"/>
                </a:cubicBezTo>
                <a:cubicBezTo>
                  <a:pt x="1030465" y="358217"/>
                  <a:pt x="1022406" y="350158"/>
                  <a:pt x="1022406" y="340217"/>
                </a:cubicBezTo>
                <a:lnTo>
                  <a:pt x="1022406" y="101"/>
                </a:lnTo>
                <a:cubicBezTo>
                  <a:pt x="461516" y="9307"/>
                  <a:pt x="8761" y="462394"/>
                  <a:pt x="0" y="1023454"/>
                </a:cubicBezTo>
                <a:lnTo>
                  <a:pt x="346260" y="1023454"/>
                </a:lnTo>
                <a:cubicBezTo>
                  <a:pt x="356201" y="1023454"/>
                  <a:pt x="364260" y="1031513"/>
                  <a:pt x="364260" y="1041454"/>
                </a:cubicBezTo>
                <a:cubicBezTo>
                  <a:pt x="364260" y="1051395"/>
                  <a:pt x="356201" y="1059454"/>
                  <a:pt x="346260" y="1059454"/>
                </a:cubicBezTo>
                <a:lnTo>
                  <a:pt x="10" y="1059454"/>
                </a:lnTo>
                <a:cubicBezTo>
                  <a:pt x="8767" y="1620516"/>
                  <a:pt x="461515" y="2073613"/>
                  <a:pt x="1022406" y="2082821"/>
                </a:cubicBezTo>
                <a:lnTo>
                  <a:pt x="1022406" y="1735592"/>
                </a:lnTo>
                <a:cubicBezTo>
                  <a:pt x="1022406" y="1725651"/>
                  <a:pt x="1030465" y="1717592"/>
                  <a:pt x="1040406" y="1717592"/>
                </a:cubicBezTo>
                <a:cubicBezTo>
                  <a:pt x="1050347" y="1717592"/>
                  <a:pt x="1058406" y="1725651"/>
                  <a:pt x="1058406" y="1735592"/>
                </a:cubicBezTo>
                <a:lnTo>
                  <a:pt x="1058406" y="2082912"/>
                </a:lnTo>
                <a:cubicBezTo>
                  <a:pt x="1620131" y="2074588"/>
                  <a:pt x="2073844" y="1621119"/>
                  <a:pt x="2082610" y="1059454"/>
                </a:cubicBezTo>
                <a:lnTo>
                  <a:pt x="1742482" y="1059454"/>
                </a:lnTo>
                <a:cubicBezTo>
                  <a:pt x="1732541" y="1059454"/>
                  <a:pt x="1724482" y="1051395"/>
                  <a:pt x="1724482" y="1041454"/>
                </a:cubicBezTo>
                <a:cubicBezTo>
                  <a:pt x="1724482" y="1031513"/>
                  <a:pt x="1732541" y="1023454"/>
                  <a:pt x="1742482" y="1023454"/>
                </a:cubicBezTo>
                <a:lnTo>
                  <a:pt x="2082610" y="1023454"/>
                </a:lnTo>
                <a:cubicBezTo>
                  <a:pt x="2073841" y="461791"/>
                  <a:pt x="1620130" y="8324"/>
                  <a:pt x="1058406" y="0"/>
                </a:cubicBezTo>
                <a:close/>
              </a:path>
            </a:pathLst>
          </a:custGeom>
          <a:gradFill flip="none" rotWithShape="1">
            <a:gsLst>
              <a:gs pos="1000">
                <a:schemeClr val="accent1">
                  <a:alpha val="0"/>
                </a:schemeClr>
              </a:gs>
              <a:gs pos="100000">
                <a:schemeClr val="accent1"/>
              </a:gs>
            </a:gsLst>
            <a:path path="circle">
              <a:fillToRect l="50000" t="50000" r="50000" b="50000"/>
            </a:path>
            <a:tileRect/>
          </a:gradFill>
          <a:effectLst/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41" name="Rechteck 640">
            <a:hlinkClick r:id="" action="ppaction://hlinkshowjump?jump=previousslide"/>
          </p:cNvPr>
          <p:cNvSpPr/>
          <p:nvPr userDrawn="1"/>
        </p:nvSpPr>
        <p:spPr>
          <a:xfrm>
            <a:off x="1" y="842963"/>
            <a:ext cx="359532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642" name="Rechteck 641">
            <a:hlinkClick r:id="" action="ppaction://hlinkshowjump?jump=nextslide"/>
          </p:cNvPr>
          <p:cNvSpPr/>
          <p:nvPr userDrawn="1"/>
        </p:nvSpPr>
        <p:spPr>
          <a:xfrm>
            <a:off x="8784468" y="842963"/>
            <a:ext cx="359532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0"/>
            <a:ext cx="9144000" cy="8429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4" name="Rechteck 3"/>
          <p:cNvSpPr/>
          <p:nvPr userDrawn="1"/>
        </p:nvSpPr>
        <p:spPr>
          <a:xfrm>
            <a:off x="7021279" y="3240376"/>
            <a:ext cx="1692276" cy="116811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FFFFFF"/>
                </a:solidFill>
              </a:rPr>
              <a:t>Brooklyn</a:t>
            </a:r>
            <a:br>
              <a:rPr lang="en-US" sz="1600" dirty="0">
                <a:solidFill>
                  <a:srgbClr val="FFFFFF"/>
                </a:solidFill>
              </a:rPr>
            </a:br>
            <a:r>
              <a:rPr lang="en-US" sz="1600" dirty="0">
                <a:solidFill>
                  <a:srgbClr val="FFFFFF"/>
                </a:solidFill>
              </a:rPr>
              <a:t>5G Summits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908616" y="552857"/>
            <a:ext cx="7227780" cy="4145738"/>
            <a:chOff x="827584" y="663478"/>
            <a:chExt cx="6842062" cy="3924496"/>
          </a:xfrm>
        </p:grpSpPr>
        <p:grpSp>
          <p:nvGrpSpPr>
            <p:cNvPr id="11" name="Gruppieren 10"/>
            <p:cNvGrpSpPr/>
            <p:nvPr userDrawn="1"/>
          </p:nvGrpSpPr>
          <p:grpSpPr>
            <a:xfrm>
              <a:off x="827584" y="663478"/>
              <a:ext cx="6842062" cy="3924496"/>
              <a:chOff x="1223628" y="1275606"/>
              <a:chExt cx="4643859" cy="2663639"/>
            </a:xfrm>
            <a:solidFill>
              <a:schemeClr val="bg1"/>
            </a:solidFill>
          </p:grpSpPr>
          <p:sp>
            <p:nvSpPr>
              <p:cNvPr id="12" name="Ellipse 11"/>
              <p:cNvSpPr/>
              <p:nvPr/>
            </p:nvSpPr>
            <p:spPr>
              <a:xfrm>
                <a:off x="1223628" y="1275606"/>
                <a:ext cx="2663639" cy="2663639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3154"/>
                  </a:solidFill>
                </a:endParaRPr>
              </a:p>
            </p:txBody>
          </p:sp>
          <p:sp>
            <p:nvSpPr>
              <p:cNvPr id="13" name="Ellipse 12"/>
              <p:cNvSpPr/>
              <p:nvPr/>
            </p:nvSpPr>
            <p:spPr>
              <a:xfrm>
                <a:off x="3203848" y="1275606"/>
                <a:ext cx="2663639" cy="2663639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3154"/>
                  </a:solidFill>
                </a:endParaRPr>
              </a:p>
            </p:txBody>
          </p:sp>
        </p:grpSp>
        <p:grpSp>
          <p:nvGrpSpPr>
            <p:cNvPr id="21" name="Gruppieren 20"/>
            <p:cNvGrpSpPr/>
            <p:nvPr userDrawn="1"/>
          </p:nvGrpSpPr>
          <p:grpSpPr>
            <a:xfrm>
              <a:off x="1031428" y="1270113"/>
              <a:ext cx="6216263" cy="2921817"/>
              <a:chOff x="1802724" y="1270113"/>
              <a:chExt cx="5538554" cy="2603275"/>
            </a:xfrm>
            <a:solidFill>
              <a:schemeClr val="accent1">
                <a:alpha val="16000"/>
              </a:schemeClr>
            </a:solidFill>
          </p:grpSpPr>
          <p:grpSp>
            <p:nvGrpSpPr>
              <p:cNvPr id="22" name="Group 337"/>
              <p:cNvGrpSpPr>
                <a:grpSpLocks/>
              </p:cNvGrpSpPr>
              <p:nvPr/>
            </p:nvGrpSpPr>
            <p:grpSpPr bwMode="auto">
              <a:xfrm>
                <a:off x="2848300" y="2566931"/>
                <a:ext cx="840961" cy="1306457"/>
                <a:chOff x="2174876" y="3565526"/>
                <a:chExt cx="1246188" cy="1936750"/>
              </a:xfrm>
              <a:grpFill/>
            </p:grpSpPr>
            <p:sp>
              <p:nvSpPr>
                <p:cNvPr id="604" name="Freeform 108"/>
                <p:cNvSpPr>
                  <a:spLocks/>
                </p:cNvSpPr>
                <p:nvPr/>
              </p:nvSpPr>
              <p:spPr bwMode="auto">
                <a:xfrm>
                  <a:off x="2230439" y="3565526"/>
                  <a:ext cx="319088" cy="469900"/>
                </a:xfrm>
                <a:custGeom>
                  <a:avLst/>
                  <a:gdLst>
                    <a:gd name="T0" fmla="*/ 2147483647 w 201"/>
                    <a:gd name="T1" fmla="*/ 2147483647 h 296"/>
                    <a:gd name="T2" fmla="*/ 2147483647 w 201"/>
                    <a:gd name="T3" fmla="*/ 2147483647 h 296"/>
                    <a:gd name="T4" fmla="*/ 2147483647 w 201"/>
                    <a:gd name="T5" fmla="*/ 2147483647 h 296"/>
                    <a:gd name="T6" fmla="*/ 2147483647 w 201"/>
                    <a:gd name="T7" fmla="*/ 2147483647 h 296"/>
                    <a:gd name="T8" fmla="*/ 2147483647 w 201"/>
                    <a:gd name="T9" fmla="*/ 2147483647 h 296"/>
                    <a:gd name="T10" fmla="*/ 2147483647 w 201"/>
                    <a:gd name="T11" fmla="*/ 2147483647 h 296"/>
                    <a:gd name="T12" fmla="*/ 2147483647 w 201"/>
                    <a:gd name="T13" fmla="*/ 2147483647 h 296"/>
                    <a:gd name="T14" fmla="*/ 2147483647 w 201"/>
                    <a:gd name="T15" fmla="*/ 2147483647 h 296"/>
                    <a:gd name="T16" fmla="*/ 0 w 201"/>
                    <a:gd name="T17" fmla="*/ 2147483647 h 296"/>
                    <a:gd name="T18" fmla="*/ 2147483647 w 201"/>
                    <a:gd name="T19" fmla="*/ 2147483647 h 296"/>
                    <a:gd name="T20" fmla="*/ 2147483647 w 201"/>
                    <a:gd name="T21" fmla="*/ 2147483647 h 296"/>
                    <a:gd name="T22" fmla="*/ 2147483647 w 201"/>
                    <a:gd name="T23" fmla="*/ 2147483647 h 296"/>
                    <a:gd name="T24" fmla="*/ 2147483647 w 201"/>
                    <a:gd name="T25" fmla="*/ 2147483647 h 296"/>
                    <a:gd name="T26" fmla="*/ 2147483647 w 201"/>
                    <a:gd name="T27" fmla="*/ 2147483647 h 296"/>
                    <a:gd name="T28" fmla="*/ 2147483647 w 201"/>
                    <a:gd name="T29" fmla="*/ 2147483647 h 296"/>
                    <a:gd name="T30" fmla="*/ 2147483647 w 201"/>
                    <a:gd name="T31" fmla="*/ 2147483647 h 296"/>
                    <a:gd name="T32" fmla="*/ 2147483647 w 201"/>
                    <a:gd name="T33" fmla="*/ 2147483647 h 296"/>
                    <a:gd name="T34" fmla="*/ 2147483647 w 201"/>
                    <a:gd name="T35" fmla="*/ 2147483647 h 296"/>
                    <a:gd name="T36" fmla="*/ 2147483647 w 201"/>
                    <a:gd name="T37" fmla="*/ 2147483647 h 296"/>
                    <a:gd name="T38" fmla="*/ 2147483647 w 201"/>
                    <a:gd name="T39" fmla="*/ 2147483647 h 296"/>
                    <a:gd name="T40" fmla="*/ 2147483647 w 201"/>
                    <a:gd name="T41" fmla="*/ 2147483647 h 296"/>
                    <a:gd name="T42" fmla="*/ 2147483647 w 201"/>
                    <a:gd name="T43" fmla="*/ 2147483647 h 296"/>
                    <a:gd name="T44" fmla="*/ 2147483647 w 201"/>
                    <a:gd name="T45" fmla="*/ 2147483647 h 296"/>
                    <a:gd name="T46" fmla="*/ 2147483647 w 201"/>
                    <a:gd name="T47" fmla="*/ 2147483647 h 296"/>
                    <a:gd name="T48" fmla="*/ 2147483647 w 201"/>
                    <a:gd name="T49" fmla="*/ 2147483647 h 296"/>
                    <a:gd name="T50" fmla="*/ 2147483647 w 201"/>
                    <a:gd name="T51" fmla="*/ 2147483647 h 296"/>
                    <a:gd name="T52" fmla="*/ 2147483647 w 201"/>
                    <a:gd name="T53" fmla="*/ 2147483647 h 296"/>
                    <a:gd name="T54" fmla="*/ 2147483647 w 201"/>
                    <a:gd name="T55" fmla="*/ 0 h 296"/>
                    <a:gd name="T56" fmla="*/ 2147483647 w 201"/>
                    <a:gd name="T57" fmla="*/ 0 h 296"/>
                    <a:gd name="T58" fmla="*/ 2147483647 w 201"/>
                    <a:gd name="T59" fmla="*/ 2147483647 h 29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01"/>
                    <a:gd name="T91" fmla="*/ 0 h 296"/>
                    <a:gd name="T92" fmla="*/ 201 w 201"/>
                    <a:gd name="T93" fmla="*/ 296 h 29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01" h="296">
                      <a:moveTo>
                        <a:pt x="87" y="18"/>
                      </a:moveTo>
                      <a:lnTo>
                        <a:pt x="70" y="18"/>
                      </a:lnTo>
                      <a:lnTo>
                        <a:pt x="61" y="52"/>
                      </a:lnTo>
                      <a:lnTo>
                        <a:pt x="35" y="70"/>
                      </a:lnTo>
                      <a:lnTo>
                        <a:pt x="26" y="96"/>
                      </a:lnTo>
                      <a:lnTo>
                        <a:pt x="35" y="113"/>
                      </a:lnTo>
                      <a:lnTo>
                        <a:pt x="26" y="157"/>
                      </a:lnTo>
                      <a:lnTo>
                        <a:pt x="9" y="174"/>
                      </a:lnTo>
                      <a:lnTo>
                        <a:pt x="0" y="192"/>
                      </a:lnTo>
                      <a:lnTo>
                        <a:pt x="44" y="218"/>
                      </a:lnTo>
                      <a:lnTo>
                        <a:pt x="70" y="218"/>
                      </a:lnTo>
                      <a:lnTo>
                        <a:pt x="113" y="262"/>
                      </a:lnTo>
                      <a:lnTo>
                        <a:pt x="148" y="262"/>
                      </a:lnTo>
                      <a:lnTo>
                        <a:pt x="148" y="288"/>
                      </a:lnTo>
                      <a:lnTo>
                        <a:pt x="157" y="296"/>
                      </a:lnTo>
                      <a:lnTo>
                        <a:pt x="166" y="235"/>
                      </a:lnTo>
                      <a:lnTo>
                        <a:pt x="148" y="218"/>
                      </a:lnTo>
                      <a:lnTo>
                        <a:pt x="174" y="209"/>
                      </a:lnTo>
                      <a:lnTo>
                        <a:pt x="166" y="192"/>
                      </a:lnTo>
                      <a:lnTo>
                        <a:pt x="201" y="183"/>
                      </a:lnTo>
                      <a:lnTo>
                        <a:pt x="201" y="157"/>
                      </a:lnTo>
                      <a:lnTo>
                        <a:pt x="201" y="122"/>
                      </a:lnTo>
                      <a:lnTo>
                        <a:pt x="201" y="105"/>
                      </a:lnTo>
                      <a:lnTo>
                        <a:pt x="166" y="113"/>
                      </a:lnTo>
                      <a:lnTo>
                        <a:pt x="157" y="96"/>
                      </a:lnTo>
                      <a:lnTo>
                        <a:pt x="113" y="70"/>
                      </a:lnTo>
                      <a:lnTo>
                        <a:pt x="113" y="35"/>
                      </a:lnTo>
                      <a:lnTo>
                        <a:pt x="140" y="0"/>
                      </a:lnTo>
                      <a:lnTo>
                        <a:pt x="131" y="0"/>
                      </a:lnTo>
                      <a:lnTo>
                        <a:pt x="87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5" name="Freeform 109"/>
                <p:cNvSpPr>
                  <a:spLocks/>
                </p:cNvSpPr>
                <p:nvPr/>
              </p:nvSpPr>
              <p:spPr bwMode="auto">
                <a:xfrm>
                  <a:off x="2230439" y="3565526"/>
                  <a:ext cx="319088" cy="469900"/>
                </a:xfrm>
                <a:custGeom>
                  <a:avLst/>
                  <a:gdLst>
                    <a:gd name="T0" fmla="*/ 2147483647 w 201"/>
                    <a:gd name="T1" fmla="*/ 2147483647 h 296"/>
                    <a:gd name="T2" fmla="*/ 2147483647 w 201"/>
                    <a:gd name="T3" fmla="*/ 2147483647 h 296"/>
                    <a:gd name="T4" fmla="*/ 2147483647 w 201"/>
                    <a:gd name="T5" fmla="*/ 2147483647 h 296"/>
                    <a:gd name="T6" fmla="*/ 2147483647 w 201"/>
                    <a:gd name="T7" fmla="*/ 2147483647 h 296"/>
                    <a:gd name="T8" fmla="*/ 2147483647 w 201"/>
                    <a:gd name="T9" fmla="*/ 2147483647 h 296"/>
                    <a:gd name="T10" fmla="*/ 2147483647 w 201"/>
                    <a:gd name="T11" fmla="*/ 2147483647 h 296"/>
                    <a:gd name="T12" fmla="*/ 2147483647 w 201"/>
                    <a:gd name="T13" fmla="*/ 2147483647 h 296"/>
                    <a:gd name="T14" fmla="*/ 2147483647 w 201"/>
                    <a:gd name="T15" fmla="*/ 2147483647 h 296"/>
                    <a:gd name="T16" fmla="*/ 0 w 201"/>
                    <a:gd name="T17" fmla="*/ 2147483647 h 296"/>
                    <a:gd name="T18" fmla="*/ 2147483647 w 201"/>
                    <a:gd name="T19" fmla="*/ 2147483647 h 296"/>
                    <a:gd name="T20" fmla="*/ 2147483647 w 201"/>
                    <a:gd name="T21" fmla="*/ 2147483647 h 296"/>
                    <a:gd name="T22" fmla="*/ 2147483647 w 201"/>
                    <a:gd name="T23" fmla="*/ 2147483647 h 296"/>
                    <a:gd name="T24" fmla="*/ 2147483647 w 201"/>
                    <a:gd name="T25" fmla="*/ 2147483647 h 296"/>
                    <a:gd name="T26" fmla="*/ 2147483647 w 201"/>
                    <a:gd name="T27" fmla="*/ 2147483647 h 296"/>
                    <a:gd name="T28" fmla="*/ 2147483647 w 201"/>
                    <a:gd name="T29" fmla="*/ 2147483647 h 296"/>
                    <a:gd name="T30" fmla="*/ 2147483647 w 201"/>
                    <a:gd name="T31" fmla="*/ 2147483647 h 296"/>
                    <a:gd name="T32" fmla="*/ 2147483647 w 201"/>
                    <a:gd name="T33" fmla="*/ 2147483647 h 296"/>
                    <a:gd name="T34" fmla="*/ 2147483647 w 201"/>
                    <a:gd name="T35" fmla="*/ 2147483647 h 296"/>
                    <a:gd name="T36" fmla="*/ 2147483647 w 201"/>
                    <a:gd name="T37" fmla="*/ 2147483647 h 296"/>
                    <a:gd name="T38" fmla="*/ 2147483647 w 201"/>
                    <a:gd name="T39" fmla="*/ 2147483647 h 296"/>
                    <a:gd name="T40" fmla="*/ 2147483647 w 201"/>
                    <a:gd name="T41" fmla="*/ 2147483647 h 296"/>
                    <a:gd name="T42" fmla="*/ 2147483647 w 201"/>
                    <a:gd name="T43" fmla="*/ 2147483647 h 296"/>
                    <a:gd name="T44" fmla="*/ 2147483647 w 201"/>
                    <a:gd name="T45" fmla="*/ 2147483647 h 296"/>
                    <a:gd name="T46" fmla="*/ 2147483647 w 201"/>
                    <a:gd name="T47" fmla="*/ 2147483647 h 296"/>
                    <a:gd name="T48" fmla="*/ 2147483647 w 201"/>
                    <a:gd name="T49" fmla="*/ 2147483647 h 296"/>
                    <a:gd name="T50" fmla="*/ 2147483647 w 201"/>
                    <a:gd name="T51" fmla="*/ 2147483647 h 296"/>
                    <a:gd name="T52" fmla="*/ 2147483647 w 201"/>
                    <a:gd name="T53" fmla="*/ 2147483647 h 296"/>
                    <a:gd name="T54" fmla="*/ 2147483647 w 201"/>
                    <a:gd name="T55" fmla="*/ 0 h 296"/>
                    <a:gd name="T56" fmla="*/ 2147483647 w 201"/>
                    <a:gd name="T57" fmla="*/ 0 h 296"/>
                    <a:gd name="T58" fmla="*/ 2147483647 w 201"/>
                    <a:gd name="T59" fmla="*/ 2147483647 h 29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01"/>
                    <a:gd name="T91" fmla="*/ 0 h 296"/>
                    <a:gd name="T92" fmla="*/ 201 w 201"/>
                    <a:gd name="T93" fmla="*/ 296 h 29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01" h="296">
                      <a:moveTo>
                        <a:pt x="87" y="18"/>
                      </a:moveTo>
                      <a:lnTo>
                        <a:pt x="70" y="18"/>
                      </a:lnTo>
                      <a:lnTo>
                        <a:pt x="61" y="52"/>
                      </a:lnTo>
                      <a:lnTo>
                        <a:pt x="35" y="70"/>
                      </a:lnTo>
                      <a:lnTo>
                        <a:pt x="26" y="96"/>
                      </a:lnTo>
                      <a:lnTo>
                        <a:pt x="35" y="113"/>
                      </a:lnTo>
                      <a:lnTo>
                        <a:pt x="26" y="157"/>
                      </a:lnTo>
                      <a:lnTo>
                        <a:pt x="9" y="174"/>
                      </a:lnTo>
                      <a:lnTo>
                        <a:pt x="0" y="192"/>
                      </a:lnTo>
                      <a:lnTo>
                        <a:pt x="44" y="218"/>
                      </a:lnTo>
                      <a:lnTo>
                        <a:pt x="70" y="218"/>
                      </a:lnTo>
                      <a:lnTo>
                        <a:pt x="113" y="262"/>
                      </a:lnTo>
                      <a:lnTo>
                        <a:pt x="148" y="262"/>
                      </a:lnTo>
                      <a:lnTo>
                        <a:pt x="148" y="288"/>
                      </a:lnTo>
                      <a:lnTo>
                        <a:pt x="157" y="296"/>
                      </a:lnTo>
                      <a:lnTo>
                        <a:pt x="166" y="235"/>
                      </a:lnTo>
                      <a:lnTo>
                        <a:pt x="148" y="218"/>
                      </a:lnTo>
                      <a:lnTo>
                        <a:pt x="174" y="209"/>
                      </a:lnTo>
                      <a:lnTo>
                        <a:pt x="166" y="192"/>
                      </a:lnTo>
                      <a:lnTo>
                        <a:pt x="201" y="183"/>
                      </a:lnTo>
                      <a:lnTo>
                        <a:pt x="201" y="157"/>
                      </a:lnTo>
                      <a:lnTo>
                        <a:pt x="201" y="122"/>
                      </a:lnTo>
                      <a:lnTo>
                        <a:pt x="201" y="105"/>
                      </a:lnTo>
                      <a:lnTo>
                        <a:pt x="166" y="113"/>
                      </a:lnTo>
                      <a:lnTo>
                        <a:pt x="157" y="96"/>
                      </a:lnTo>
                      <a:lnTo>
                        <a:pt x="113" y="70"/>
                      </a:lnTo>
                      <a:lnTo>
                        <a:pt x="113" y="35"/>
                      </a:lnTo>
                      <a:lnTo>
                        <a:pt x="140" y="0"/>
                      </a:lnTo>
                      <a:lnTo>
                        <a:pt x="131" y="0"/>
                      </a:lnTo>
                      <a:lnTo>
                        <a:pt x="87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6" name="Freeform 118"/>
                <p:cNvSpPr>
                  <a:spLocks/>
                </p:cNvSpPr>
                <p:nvPr/>
              </p:nvSpPr>
              <p:spPr bwMode="auto">
                <a:xfrm>
                  <a:off x="2174876" y="3870326"/>
                  <a:ext cx="166688" cy="179388"/>
                </a:xfrm>
                <a:custGeom>
                  <a:avLst/>
                  <a:gdLst>
                    <a:gd name="T0" fmla="*/ 2147483647 w 105"/>
                    <a:gd name="T1" fmla="*/ 2147483647 h 113"/>
                    <a:gd name="T2" fmla="*/ 2147483647 w 105"/>
                    <a:gd name="T3" fmla="*/ 2147483647 h 113"/>
                    <a:gd name="T4" fmla="*/ 2147483647 w 105"/>
                    <a:gd name="T5" fmla="*/ 2147483647 h 113"/>
                    <a:gd name="T6" fmla="*/ 2147483647 w 105"/>
                    <a:gd name="T7" fmla="*/ 2147483647 h 113"/>
                    <a:gd name="T8" fmla="*/ 2147483647 w 105"/>
                    <a:gd name="T9" fmla="*/ 2147483647 h 113"/>
                    <a:gd name="T10" fmla="*/ 2147483647 w 105"/>
                    <a:gd name="T11" fmla="*/ 2147483647 h 113"/>
                    <a:gd name="T12" fmla="*/ 2147483647 w 105"/>
                    <a:gd name="T13" fmla="*/ 0 h 113"/>
                    <a:gd name="T14" fmla="*/ 0 w 105"/>
                    <a:gd name="T15" fmla="*/ 2147483647 h 113"/>
                    <a:gd name="T16" fmla="*/ 0 w 105"/>
                    <a:gd name="T17" fmla="*/ 2147483647 h 113"/>
                    <a:gd name="T18" fmla="*/ 2147483647 w 105"/>
                    <a:gd name="T19" fmla="*/ 2147483647 h 113"/>
                    <a:gd name="T20" fmla="*/ 2147483647 w 105"/>
                    <a:gd name="T21" fmla="*/ 2147483647 h 113"/>
                    <a:gd name="T22" fmla="*/ 2147483647 w 105"/>
                    <a:gd name="T23" fmla="*/ 2147483647 h 11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5"/>
                    <a:gd name="T37" fmla="*/ 0 h 113"/>
                    <a:gd name="T38" fmla="*/ 105 w 105"/>
                    <a:gd name="T39" fmla="*/ 113 h 11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5" h="113">
                      <a:moveTo>
                        <a:pt x="18" y="104"/>
                      </a:moveTo>
                      <a:lnTo>
                        <a:pt x="44" y="113"/>
                      </a:lnTo>
                      <a:lnTo>
                        <a:pt x="52" y="87"/>
                      </a:lnTo>
                      <a:lnTo>
                        <a:pt x="105" y="52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35" y="0"/>
                      </a:lnTo>
                      <a:lnTo>
                        <a:pt x="0" y="52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18" y="104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7" name="Freeform 119"/>
                <p:cNvSpPr>
                  <a:spLocks/>
                </p:cNvSpPr>
                <p:nvPr/>
              </p:nvSpPr>
              <p:spPr bwMode="auto">
                <a:xfrm>
                  <a:off x="2174876" y="3870326"/>
                  <a:ext cx="166688" cy="179388"/>
                </a:xfrm>
                <a:custGeom>
                  <a:avLst/>
                  <a:gdLst>
                    <a:gd name="T0" fmla="*/ 2147483647 w 105"/>
                    <a:gd name="T1" fmla="*/ 2147483647 h 113"/>
                    <a:gd name="T2" fmla="*/ 2147483647 w 105"/>
                    <a:gd name="T3" fmla="*/ 2147483647 h 113"/>
                    <a:gd name="T4" fmla="*/ 2147483647 w 105"/>
                    <a:gd name="T5" fmla="*/ 2147483647 h 113"/>
                    <a:gd name="T6" fmla="*/ 2147483647 w 105"/>
                    <a:gd name="T7" fmla="*/ 2147483647 h 113"/>
                    <a:gd name="T8" fmla="*/ 2147483647 w 105"/>
                    <a:gd name="T9" fmla="*/ 2147483647 h 113"/>
                    <a:gd name="T10" fmla="*/ 2147483647 w 105"/>
                    <a:gd name="T11" fmla="*/ 2147483647 h 113"/>
                    <a:gd name="T12" fmla="*/ 2147483647 w 105"/>
                    <a:gd name="T13" fmla="*/ 0 h 113"/>
                    <a:gd name="T14" fmla="*/ 0 w 105"/>
                    <a:gd name="T15" fmla="*/ 2147483647 h 113"/>
                    <a:gd name="T16" fmla="*/ 0 w 105"/>
                    <a:gd name="T17" fmla="*/ 2147483647 h 113"/>
                    <a:gd name="T18" fmla="*/ 2147483647 w 105"/>
                    <a:gd name="T19" fmla="*/ 2147483647 h 113"/>
                    <a:gd name="T20" fmla="*/ 2147483647 w 105"/>
                    <a:gd name="T21" fmla="*/ 2147483647 h 113"/>
                    <a:gd name="T22" fmla="*/ 2147483647 w 105"/>
                    <a:gd name="T23" fmla="*/ 2147483647 h 11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5"/>
                    <a:gd name="T37" fmla="*/ 0 h 113"/>
                    <a:gd name="T38" fmla="*/ 105 w 105"/>
                    <a:gd name="T39" fmla="*/ 113 h 11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5" h="113">
                      <a:moveTo>
                        <a:pt x="18" y="104"/>
                      </a:moveTo>
                      <a:lnTo>
                        <a:pt x="44" y="113"/>
                      </a:lnTo>
                      <a:lnTo>
                        <a:pt x="52" y="87"/>
                      </a:lnTo>
                      <a:lnTo>
                        <a:pt x="105" y="52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35" y="0"/>
                      </a:lnTo>
                      <a:lnTo>
                        <a:pt x="0" y="52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18" y="104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8" name="Freeform 120"/>
                <p:cNvSpPr>
                  <a:spLocks/>
                </p:cNvSpPr>
                <p:nvPr/>
              </p:nvSpPr>
              <p:spPr bwMode="auto">
                <a:xfrm>
                  <a:off x="2174876" y="3911601"/>
                  <a:ext cx="360363" cy="539750"/>
                </a:xfrm>
                <a:custGeom>
                  <a:avLst/>
                  <a:gdLst>
                    <a:gd name="T0" fmla="*/ 2147483647 w 227"/>
                    <a:gd name="T1" fmla="*/ 2147483647 h 340"/>
                    <a:gd name="T2" fmla="*/ 2147483647 w 227"/>
                    <a:gd name="T3" fmla="*/ 2147483647 h 340"/>
                    <a:gd name="T4" fmla="*/ 2147483647 w 227"/>
                    <a:gd name="T5" fmla="*/ 0 h 340"/>
                    <a:gd name="T6" fmla="*/ 2147483647 w 227"/>
                    <a:gd name="T7" fmla="*/ 2147483647 h 340"/>
                    <a:gd name="T8" fmla="*/ 2147483647 w 227"/>
                    <a:gd name="T9" fmla="*/ 2147483647 h 340"/>
                    <a:gd name="T10" fmla="*/ 2147483647 w 227"/>
                    <a:gd name="T11" fmla="*/ 2147483647 h 340"/>
                    <a:gd name="T12" fmla="*/ 2147483647 w 227"/>
                    <a:gd name="T13" fmla="*/ 2147483647 h 340"/>
                    <a:gd name="T14" fmla="*/ 2147483647 w 227"/>
                    <a:gd name="T15" fmla="*/ 2147483647 h 340"/>
                    <a:gd name="T16" fmla="*/ 0 w 227"/>
                    <a:gd name="T17" fmla="*/ 2147483647 h 340"/>
                    <a:gd name="T18" fmla="*/ 0 w 227"/>
                    <a:gd name="T19" fmla="*/ 2147483647 h 340"/>
                    <a:gd name="T20" fmla="*/ 2147483647 w 227"/>
                    <a:gd name="T21" fmla="*/ 2147483647 h 340"/>
                    <a:gd name="T22" fmla="*/ 2147483647 w 227"/>
                    <a:gd name="T23" fmla="*/ 2147483647 h 340"/>
                    <a:gd name="T24" fmla="*/ 2147483647 w 227"/>
                    <a:gd name="T25" fmla="*/ 2147483647 h 340"/>
                    <a:gd name="T26" fmla="*/ 2147483647 w 227"/>
                    <a:gd name="T27" fmla="*/ 2147483647 h 340"/>
                    <a:gd name="T28" fmla="*/ 2147483647 w 227"/>
                    <a:gd name="T29" fmla="*/ 2147483647 h 340"/>
                    <a:gd name="T30" fmla="*/ 2147483647 w 227"/>
                    <a:gd name="T31" fmla="*/ 2147483647 h 340"/>
                    <a:gd name="T32" fmla="*/ 2147483647 w 227"/>
                    <a:gd name="T33" fmla="*/ 2147483647 h 340"/>
                    <a:gd name="T34" fmla="*/ 2147483647 w 227"/>
                    <a:gd name="T35" fmla="*/ 2147483647 h 340"/>
                    <a:gd name="T36" fmla="*/ 2147483647 w 227"/>
                    <a:gd name="T37" fmla="*/ 2147483647 h 340"/>
                    <a:gd name="T38" fmla="*/ 2147483647 w 227"/>
                    <a:gd name="T39" fmla="*/ 2147483647 h 340"/>
                    <a:gd name="T40" fmla="*/ 2147483647 w 227"/>
                    <a:gd name="T41" fmla="*/ 2147483647 h 340"/>
                    <a:gd name="T42" fmla="*/ 2147483647 w 227"/>
                    <a:gd name="T43" fmla="*/ 2147483647 h 340"/>
                    <a:gd name="T44" fmla="*/ 2147483647 w 227"/>
                    <a:gd name="T45" fmla="*/ 2147483647 h 340"/>
                    <a:gd name="T46" fmla="*/ 2147483647 w 227"/>
                    <a:gd name="T47" fmla="*/ 2147483647 h 340"/>
                    <a:gd name="T48" fmla="*/ 2147483647 w 227"/>
                    <a:gd name="T49" fmla="*/ 2147483647 h 340"/>
                    <a:gd name="T50" fmla="*/ 2147483647 w 227"/>
                    <a:gd name="T51" fmla="*/ 2147483647 h 340"/>
                    <a:gd name="T52" fmla="*/ 2147483647 w 227"/>
                    <a:gd name="T53" fmla="*/ 2147483647 h 340"/>
                    <a:gd name="T54" fmla="*/ 2147483647 w 227"/>
                    <a:gd name="T55" fmla="*/ 2147483647 h 340"/>
                    <a:gd name="T56" fmla="*/ 2147483647 w 227"/>
                    <a:gd name="T57" fmla="*/ 2147483647 h 34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340"/>
                    <a:gd name="T89" fmla="*/ 227 w 227"/>
                    <a:gd name="T90" fmla="*/ 340 h 34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340">
                      <a:moveTo>
                        <a:pt x="183" y="44"/>
                      </a:moveTo>
                      <a:lnTo>
                        <a:pt x="148" y="44"/>
                      </a:lnTo>
                      <a:lnTo>
                        <a:pt x="105" y="0"/>
                      </a:lnTo>
                      <a:lnTo>
                        <a:pt x="105" y="26"/>
                      </a:lnTo>
                      <a:lnTo>
                        <a:pt x="52" y="61"/>
                      </a:lnTo>
                      <a:lnTo>
                        <a:pt x="44" y="87"/>
                      </a:lnTo>
                      <a:lnTo>
                        <a:pt x="18" y="78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0" y="113"/>
                      </a:lnTo>
                      <a:lnTo>
                        <a:pt x="26" y="122"/>
                      </a:lnTo>
                      <a:lnTo>
                        <a:pt x="70" y="218"/>
                      </a:lnTo>
                      <a:lnTo>
                        <a:pt x="87" y="235"/>
                      </a:lnTo>
                      <a:lnTo>
                        <a:pt x="87" y="261"/>
                      </a:lnTo>
                      <a:lnTo>
                        <a:pt x="175" y="314"/>
                      </a:lnTo>
                      <a:lnTo>
                        <a:pt x="192" y="340"/>
                      </a:lnTo>
                      <a:lnTo>
                        <a:pt x="218" y="331"/>
                      </a:lnTo>
                      <a:lnTo>
                        <a:pt x="227" y="305"/>
                      </a:lnTo>
                      <a:lnTo>
                        <a:pt x="218" y="288"/>
                      </a:lnTo>
                      <a:lnTo>
                        <a:pt x="218" y="261"/>
                      </a:lnTo>
                      <a:lnTo>
                        <a:pt x="218" y="235"/>
                      </a:lnTo>
                      <a:lnTo>
                        <a:pt x="218" y="209"/>
                      </a:lnTo>
                      <a:lnTo>
                        <a:pt x="192" y="209"/>
                      </a:lnTo>
                      <a:lnTo>
                        <a:pt x="183" y="174"/>
                      </a:lnTo>
                      <a:lnTo>
                        <a:pt x="157" y="183"/>
                      </a:lnTo>
                      <a:lnTo>
                        <a:pt x="131" y="131"/>
                      </a:lnTo>
                      <a:lnTo>
                        <a:pt x="157" y="87"/>
                      </a:lnTo>
                      <a:lnTo>
                        <a:pt x="183" y="70"/>
                      </a:lnTo>
                      <a:lnTo>
                        <a:pt x="183" y="44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9" name="Freeform 121"/>
                <p:cNvSpPr>
                  <a:spLocks/>
                </p:cNvSpPr>
                <p:nvPr/>
              </p:nvSpPr>
              <p:spPr bwMode="auto">
                <a:xfrm>
                  <a:off x="2174876" y="3911601"/>
                  <a:ext cx="360363" cy="539750"/>
                </a:xfrm>
                <a:custGeom>
                  <a:avLst/>
                  <a:gdLst>
                    <a:gd name="T0" fmla="*/ 2147483647 w 227"/>
                    <a:gd name="T1" fmla="*/ 2147483647 h 340"/>
                    <a:gd name="T2" fmla="*/ 2147483647 w 227"/>
                    <a:gd name="T3" fmla="*/ 2147483647 h 340"/>
                    <a:gd name="T4" fmla="*/ 2147483647 w 227"/>
                    <a:gd name="T5" fmla="*/ 0 h 340"/>
                    <a:gd name="T6" fmla="*/ 2147483647 w 227"/>
                    <a:gd name="T7" fmla="*/ 2147483647 h 340"/>
                    <a:gd name="T8" fmla="*/ 2147483647 w 227"/>
                    <a:gd name="T9" fmla="*/ 2147483647 h 340"/>
                    <a:gd name="T10" fmla="*/ 2147483647 w 227"/>
                    <a:gd name="T11" fmla="*/ 2147483647 h 340"/>
                    <a:gd name="T12" fmla="*/ 2147483647 w 227"/>
                    <a:gd name="T13" fmla="*/ 2147483647 h 340"/>
                    <a:gd name="T14" fmla="*/ 2147483647 w 227"/>
                    <a:gd name="T15" fmla="*/ 2147483647 h 340"/>
                    <a:gd name="T16" fmla="*/ 0 w 227"/>
                    <a:gd name="T17" fmla="*/ 2147483647 h 340"/>
                    <a:gd name="T18" fmla="*/ 0 w 227"/>
                    <a:gd name="T19" fmla="*/ 2147483647 h 340"/>
                    <a:gd name="T20" fmla="*/ 2147483647 w 227"/>
                    <a:gd name="T21" fmla="*/ 2147483647 h 340"/>
                    <a:gd name="T22" fmla="*/ 2147483647 w 227"/>
                    <a:gd name="T23" fmla="*/ 2147483647 h 340"/>
                    <a:gd name="T24" fmla="*/ 2147483647 w 227"/>
                    <a:gd name="T25" fmla="*/ 2147483647 h 340"/>
                    <a:gd name="T26" fmla="*/ 2147483647 w 227"/>
                    <a:gd name="T27" fmla="*/ 2147483647 h 340"/>
                    <a:gd name="T28" fmla="*/ 2147483647 w 227"/>
                    <a:gd name="T29" fmla="*/ 2147483647 h 340"/>
                    <a:gd name="T30" fmla="*/ 2147483647 w 227"/>
                    <a:gd name="T31" fmla="*/ 2147483647 h 340"/>
                    <a:gd name="T32" fmla="*/ 2147483647 w 227"/>
                    <a:gd name="T33" fmla="*/ 2147483647 h 340"/>
                    <a:gd name="T34" fmla="*/ 2147483647 w 227"/>
                    <a:gd name="T35" fmla="*/ 2147483647 h 340"/>
                    <a:gd name="T36" fmla="*/ 2147483647 w 227"/>
                    <a:gd name="T37" fmla="*/ 2147483647 h 340"/>
                    <a:gd name="T38" fmla="*/ 2147483647 w 227"/>
                    <a:gd name="T39" fmla="*/ 2147483647 h 340"/>
                    <a:gd name="T40" fmla="*/ 2147483647 w 227"/>
                    <a:gd name="T41" fmla="*/ 2147483647 h 340"/>
                    <a:gd name="T42" fmla="*/ 2147483647 w 227"/>
                    <a:gd name="T43" fmla="*/ 2147483647 h 340"/>
                    <a:gd name="T44" fmla="*/ 2147483647 w 227"/>
                    <a:gd name="T45" fmla="*/ 2147483647 h 340"/>
                    <a:gd name="T46" fmla="*/ 2147483647 w 227"/>
                    <a:gd name="T47" fmla="*/ 2147483647 h 340"/>
                    <a:gd name="T48" fmla="*/ 2147483647 w 227"/>
                    <a:gd name="T49" fmla="*/ 2147483647 h 340"/>
                    <a:gd name="T50" fmla="*/ 2147483647 w 227"/>
                    <a:gd name="T51" fmla="*/ 2147483647 h 340"/>
                    <a:gd name="T52" fmla="*/ 2147483647 w 227"/>
                    <a:gd name="T53" fmla="*/ 2147483647 h 340"/>
                    <a:gd name="T54" fmla="*/ 2147483647 w 227"/>
                    <a:gd name="T55" fmla="*/ 2147483647 h 340"/>
                    <a:gd name="T56" fmla="*/ 2147483647 w 227"/>
                    <a:gd name="T57" fmla="*/ 2147483647 h 34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340"/>
                    <a:gd name="T89" fmla="*/ 227 w 227"/>
                    <a:gd name="T90" fmla="*/ 340 h 34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340">
                      <a:moveTo>
                        <a:pt x="183" y="44"/>
                      </a:moveTo>
                      <a:lnTo>
                        <a:pt x="148" y="44"/>
                      </a:lnTo>
                      <a:lnTo>
                        <a:pt x="105" y="0"/>
                      </a:lnTo>
                      <a:lnTo>
                        <a:pt x="105" y="26"/>
                      </a:lnTo>
                      <a:lnTo>
                        <a:pt x="52" y="61"/>
                      </a:lnTo>
                      <a:lnTo>
                        <a:pt x="44" y="87"/>
                      </a:lnTo>
                      <a:lnTo>
                        <a:pt x="18" y="78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0" y="113"/>
                      </a:lnTo>
                      <a:lnTo>
                        <a:pt x="26" y="122"/>
                      </a:lnTo>
                      <a:lnTo>
                        <a:pt x="70" y="218"/>
                      </a:lnTo>
                      <a:lnTo>
                        <a:pt x="87" y="235"/>
                      </a:lnTo>
                      <a:lnTo>
                        <a:pt x="87" y="261"/>
                      </a:lnTo>
                      <a:lnTo>
                        <a:pt x="175" y="314"/>
                      </a:lnTo>
                      <a:lnTo>
                        <a:pt x="192" y="340"/>
                      </a:lnTo>
                      <a:lnTo>
                        <a:pt x="218" y="331"/>
                      </a:lnTo>
                      <a:lnTo>
                        <a:pt x="227" y="305"/>
                      </a:lnTo>
                      <a:lnTo>
                        <a:pt x="218" y="288"/>
                      </a:lnTo>
                      <a:lnTo>
                        <a:pt x="218" y="261"/>
                      </a:lnTo>
                      <a:lnTo>
                        <a:pt x="218" y="235"/>
                      </a:lnTo>
                      <a:lnTo>
                        <a:pt x="218" y="209"/>
                      </a:lnTo>
                      <a:lnTo>
                        <a:pt x="192" y="209"/>
                      </a:lnTo>
                      <a:lnTo>
                        <a:pt x="183" y="174"/>
                      </a:lnTo>
                      <a:lnTo>
                        <a:pt x="157" y="183"/>
                      </a:lnTo>
                      <a:lnTo>
                        <a:pt x="131" y="131"/>
                      </a:lnTo>
                      <a:lnTo>
                        <a:pt x="157" y="87"/>
                      </a:lnTo>
                      <a:lnTo>
                        <a:pt x="183" y="70"/>
                      </a:lnTo>
                      <a:lnTo>
                        <a:pt x="183" y="44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0" name="Freeform 122"/>
                <p:cNvSpPr>
                  <a:spLocks/>
                </p:cNvSpPr>
                <p:nvPr/>
              </p:nvSpPr>
              <p:spPr bwMode="auto">
                <a:xfrm>
                  <a:off x="2520951" y="4187826"/>
                  <a:ext cx="331788" cy="387350"/>
                </a:xfrm>
                <a:custGeom>
                  <a:avLst/>
                  <a:gdLst>
                    <a:gd name="T0" fmla="*/ 0 w 209"/>
                    <a:gd name="T1" fmla="*/ 2147483647 h 244"/>
                    <a:gd name="T2" fmla="*/ 0 w 209"/>
                    <a:gd name="T3" fmla="*/ 2147483647 h 244"/>
                    <a:gd name="T4" fmla="*/ 0 w 209"/>
                    <a:gd name="T5" fmla="*/ 2147483647 h 244"/>
                    <a:gd name="T6" fmla="*/ 2147483647 w 209"/>
                    <a:gd name="T7" fmla="*/ 2147483647 h 244"/>
                    <a:gd name="T8" fmla="*/ 0 w 209"/>
                    <a:gd name="T9" fmla="*/ 2147483647 h 244"/>
                    <a:gd name="T10" fmla="*/ 2147483647 w 209"/>
                    <a:gd name="T11" fmla="*/ 2147483647 h 244"/>
                    <a:gd name="T12" fmla="*/ 2147483647 w 209"/>
                    <a:gd name="T13" fmla="*/ 2147483647 h 244"/>
                    <a:gd name="T14" fmla="*/ 2147483647 w 209"/>
                    <a:gd name="T15" fmla="*/ 2147483647 h 244"/>
                    <a:gd name="T16" fmla="*/ 2147483647 w 209"/>
                    <a:gd name="T17" fmla="*/ 2147483647 h 244"/>
                    <a:gd name="T18" fmla="*/ 2147483647 w 209"/>
                    <a:gd name="T19" fmla="*/ 2147483647 h 244"/>
                    <a:gd name="T20" fmla="*/ 2147483647 w 209"/>
                    <a:gd name="T21" fmla="*/ 2147483647 h 244"/>
                    <a:gd name="T22" fmla="*/ 2147483647 w 209"/>
                    <a:gd name="T23" fmla="*/ 2147483647 h 244"/>
                    <a:gd name="T24" fmla="*/ 2147483647 w 209"/>
                    <a:gd name="T25" fmla="*/ 2147483647 h 244"/>
                    <a:gd name="T26" fmla="*/ 2147483647 w 209"/>
                    <a:gd name="T27" fmla="*/ 2147483647 h 244"/>
                    <a:gd name="T28" fmla="*/ 2147483647 w 209"/>
                    <a:gd name="T29" fmla="*/ 2147483647 h 244"/>
                    <a:gd name="T30" fmla="*/ 2147483647 w 209"/>
                    <a:gd name="T31" fmla="*/ 2147483647 h 244"/>
                    <a:gd name="T32" fmla="*/ 2147483647 w 209"/>
                    <a:gd name="T33" fmla="*/ 2147483647 h 244"/>
                    <a:gd name="T34" fmla="*/ 2147483647 w 209"/>
                    <a:gd name="T35" fmla="*/ 2147483647 h 244"/>
                    <a:gd name="T36" fmla="*/ 2147483647 w 209"/>
                    <a:gd name="T37" fmla="*/ 0 h 244"/>
                    <a:gd name="T38" fmla="*/ 0 w 209"/>
                    <a:gd name="T39" fmla="*/ 2147483647 h 244"/>
                    <a:gd name="T40" fmla="*/ 0 w 209"/>
                    <a:gd name="T41" fmla="*/ 2147483647 h 24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9"/>
                    <a:gd name="T64" fmla="*/ 0 h 244"/>
                    <a:gd name="T65" fmla="*/ 209 w 209"/>
                    <a:gd name="T66" fmla="*/ 244 h 24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9" h="244">
                      <a:moveTo>
                        <a:pt x="0" y="61"/>
                      </a:moveTo>
                      <a:lnTo>
                        <a:pt x="0" y="87"/>
                      </a:lnTo>
                      <a:lnTo>
                        <a:pt x="0" y="114"/>
                      </a:lnTo>
                      <a:lnTo>
                        <a:pt x="9" y="131"/>
                      </a:lnTo>
                      <a:lnTo>
                        <a:pt x="0" y="157"/>
                      </a:lnTo>
                      <a:lnTo>
                        <a:pt x="44" y="244"/>
                      </a:lnTo>
                      <a:lnTo>
                        <a:pt x="87" y="236"/>
                      </a:lnTo>
                      <a:lnTo>
                        <a:pt x="96" y="244"/>
                      </a:lnTo>
                      <a:lnTo>
                        <a:pt x="105" y="227"/>
                      </a:lnTo>
                      <a:lnTo>
                        <a:pt x="122" y="227"/>
                      </a:lnTo>
                      <a:lnTo>
                        <a:pt x="131" y="192"/>
                      </a:lnTo>
                      <a:lnTo>
                        <a:pt x="166" y="183"/>
                      </a:lnTo>
                      <a:lnTo>
                        <a:pt x="192" y="183"/>
                      </a:lnTo>
                      <a:lnTo>
                        <a:pt x="209" y="166"/>
                      </a:lnTo>
                      <a:lnTo>
                        <a:pt x="183" y="122"/>
                      </a:lnTo>
                      <a:lnTo>
                        <a:pt x="157" y="114"/>
                      </a:lnTo>
                      <a:lnTo>
                        <a:pt x="140" y="70"/>
                      </a:lnTo>
                      <a:lnTo>
                        <a:pt x="70" y="44"/>
                      </a:lnTo>
                      <a:lnTo>
                        <a:pt x="44" y="0"/>
                      </a:lnTo>
                      <a:lnTo>
                        <a:pt x="0" y="35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1" name="Freeform 123"/>
                <p:cNvSpPr>
                  <a:spLocks/>
                </p:cNvSpPr>
                <p:nvPr/>
              </p:nvSpPr>
              <p:spPr bwMode="auto">
                <a:xfrm>
                  <a:off x="2520951" y="4187826"/>
                  <a:ext cx="331788" cy="387350"/>
                </a:xfrm>
                <a:custGeom>
                  <a:avLst/>
                  <a:gdLst>
                    <a:gd name="T0" fmla="*/ 0 w 209"/>
                    <a:gd name="T1" fmla="*/ 2147483647 h 244"/>
                    <a:gd name="T2" fmla="*/ 0 w 209"/>
                    <a:gd name="T3" fmla="*/ 2147483647 h 244"/>
                    <a:gd name="T4" fmla="*/ 0 w 209"/>
                    <a:gd name="T5" fmla="*/ 2147483647 h 244"/>
                    <a:gd name="T6" fmla="*/ 2147483647 w 209"/>
                    <a:gd name="T7" fmla="*/ 2147483647 h 244"/>
                    <a:gd name="T8" fmla="*/ 0 w 209"/>
                    <a:gd name="T9" fmla="*/ 2147483647 h 244"/>
                    <a:gd name="T10" fmla="*/ 2147483647 w 209"/>
                    <a:gd name="T11" fmla="*/ 2147483647 h 244"/>
                    <a:gd name="T12" fmla="*/ 2147483647 w 209"/>
                    <a:gd name="T13" fmla="*/ 2147483647 h 244"/>
                    <a:gd name="T14" fmla="*/ 2147483647 w 209"/>
                    <a:gd name="T15" fmla="*/ 2147483647 h 244"/>
                    <a:gd name="T16" fmla="*/ 2147483647 w 209"/>
                    <a:gd name="T17" fmla="*/ 2147483647 h 244"/>
                    <a:gd name="T18" fmla="*/ 2147483647 w 209"/>
                    <a:gd name="T19" fmla="*/ 2147483647 h 244"/>
                    <a:gd name="T20" fmla="*/ 2147483647 w 209"/>
                    <a:gd name="T21" fmla="*/ 2147483647 h 244"/>
                    <a:gd name="T22" fmla="*/ 2147483647 w 209"/>
                    <a:gd name="T23" fmla="*/ 2147483647 h 244"/>
                    <a:gd name="T24" fmla="*/ 2147483647 w 209"/>
                    <a:gd name="T25" fmla="*/ 2147483647 h 244"/>
                    <a:gd name="T26" fmla="*/ 2147483647 w 209"/>
                    <a:gd name="T27" fmla="*/ 2147483647 h 244"/>
                    <a:gd name="T28" fmla="*/ 2147483647 w 209"/>
                    <a:gd name="T29" fmla="*/ 2147483647 h 244"/>
                    <a:gd name="T30" fmla="*/ 2147483647 w 209"/>
                    <a:gd name="T31" fmla="*/ 2147483647 h 244"/>
                    <a:gd name="T32" fmla="*/ 2147483647 w 209"/>
                    <a:gd name="T33" fmla="*/ 2147483647 h 244"/>
                    <a:gd name="T34" fmla="*/ 2147483647 w 209"/>
                    <a:gd name="T35" fmla="*/ 2147483647 h 244"/>
                    <a:gd name="T36" fmla="*/ 2147483647 w 209"/>
                    <a:gd name="T37" fmla="*/ 0 h 244"/>
                    <a:gd name="T38" fmla="*/ 0 w 209"/>
                    <a:gd name="T39" fmla="*/ 2147483647 h 244"/>
                    <a:gd name="T40" fmla="*/ 0 w 209"/>
                    <a:gd name="T41" fmla="*/ 2147483647 h 24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9"/>
                    <a:gd name="T64" fmla="*/ 0 h 244"/>
                    <a:gd name="T65" fmla="*/ 209 w 209"/>
                    <a:gd name="T66" fmla="*/ 244 h 24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9" h="244">
                      <a:moveTo>
                        <a:pt x="0" y="61"/>
                      </a:moveTo>
                      <a:lnTo>
                        <a:pt x="0" y="87"/>
                      </a:lnTo>
                      <a:lnTo>
                        <a:pt x="0" y="114"/>
                      </a:lnTo>
                      <a:lnTo>
                        <a:pt x="9" y="131"/>
                      </a:lnTo>
                      <a:lnTo>
                        <a:pt x="0" y="157"/>
                      </a:lnTo>
                      <a:lnTo>
                        <a:pt x="44" y="244"/>
                      </a:lnTo>
                      <a:lnTo>
                        <a:pt x="87" y="236"/>
                      </a:lnTo>
                      <a:lnTo>
                        <a:pt x="96" y="244"/>
                      </a:lnTo>
                      <a:lnTo>
                        <a:pt x="105" y="227"/>
                      </a:lnTo>
                      <a:lnTo>
                        <a:pt x="122" y="227"/>
                      </a:lnTo>
                      <a:lnTo>
                        <a:pt x="131" y="192"/>
                      </a:lnTo>
                      <a:lnTo>
                        <a:pt x="166" y="183"/>
                      </a:lnTo>
                      <a:lnTo>
                        <a:pt x="192" y="183"/>
                      </a:lnTo>
                      <a:lnTo>
                        <a:pt x="209" y="166"/>
                      </a:lnTo>
                      <a:lnTo>
                        <a:pt x="183" y="122"/>
                      </a:lnTo>
                      <a:lnTo>
                        <a:pt x="157" y="114"/>
                      </a:lnTo>
                      <a:lnTo>
                        <a:pt x="140" y="70"/>
                      </a:lnTo>
                      <a:lnTo>
                        <a:pt x="70" y="44"/>
                      </a:lnTo>
                      <a:lnTo>
                        <a:pt x="44" y="0"/>
                      </a:lnTo>
                      <a:lnTo>
                        <a:pt x="0" y="35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2" name="Freeform 124"/>
                <p:cNvSpPr>
                  <a:spLocks/>
                </p:cNvSpPr>
                <p:nvPr/>
              </p:nvSpPr>
              <p:spPr bwMode="auto">
                <a:xfrm>
                  <a:off x="2479676" y="4437063"/>
                  <a:ext cx="290513" cy="1009650"/>
                </a:xfrm>
                <a:custGeom>
                  <a:avLst/>
                  <a:gdLst>
                    <a:gd name="T0" fmla="*/ 2147483647 w 183"/>
                    <a:gd name="T1" fmla="*/ 2147483647 h 636"/>
                    <a:gd name="T2" fmla="*/ 2147483647 w 183"/>
                    <a:gd name="T3" fmla="*/ 2147483647 h 636"/>
                    <a:gd name="T4" fmla="*/ 2147483647 w 183"/>
                    <a:gd name="T5" fmla="*/ 2147483647 h 636"/>
                    <a:gd name="T6" fmla="*/ 2147483647 w 183"/>
                    <a:gd name="T7" fmla="*/ 2147483647 h 636"/>
                    <a:gd name="T8" fmla="*/ 2147483647 w 183"/>
                    <a:gd name="T9" fmla="*/ 2147483647 h 636"/>
                    <a:gd name="T10" fmla="*/ 2147483647 w 183"/>
                    <a:gd name="T11" fmla="*/ 2147483647 h 636"/>
                    <a:gd name="T12" fmla="*/ 2147483647 w 183"/>
                    <a:gd name="T13" fmla="*/ 2147483647 h 636"/>
                    <a:gd name="T14" fmla="*/ 2147483647 w 183"/>
                    <a:gd name="T15" fmla="*/ 2147483647 h 636"/>
                    <a:gd name="T16" fmla="*/ 2147483647 w 183"/>
                    <a:gd name="T17" fmla="*/ 2147483647 h 636"/>
                    <a:gd name="T18" fmla="*/ 2147483647 w 183"/>
                    <a:gd name="T19" fmla="*/ 2147483647 h 636"/>
                    <a:gd name="T20" fmla="*/ 2147483647 w 183"/>
                    <a:gd name="T21" fmla="*/ 2147483647 h 636"/>
                    <a:gd name="T22" fmla="*/ 2147483647 w 183"/>
                    <a:gd name="T23" fmla="*/ 2147483647 h 636"/>
                    <a:gd name="T24" fmla="*/ 2147483647 w 183"/>
                    <a:gd name="T25" fmla="*/ 2147483647 h 636"/>
                    <a:gd name="T26" fmla="*/ 2147483647 w 183"/>
                    <a:gd name="T27" fmla="*/ 2147483647 h 636"/>
                    <a:gd name="T28" fmla="*/ 2147483647 w 183"/>
                    <a:gd name="T29" fmla="*/ 2147483647 h 636"/>
                    <a:gd name="T30" fmla="*/ 2147483647 w 183"/>
                    <a:gd name="T31" fmla="*/ 2147483647 h 636"/>
                    <a:gd name="T32" fmla="*/ 2147483647 w 183"/>
                    <a:gd name="T33" fmla="*/ 2147483647 h 636"/>
                    <a:gd name="T34" fmla="*/ 2147483647 w 183"/>
                    <a:gd name="T35" fmla="*/ 2147483647 h 636"/>
                    <a:gd name="T36" fmla="*/ 2147483647 w 183"/>
                    <a:gd name="T37" fmla="*/ 2147483647 h 636"/>
                    <a:gd name="T38" fmla="*/ 2147483647 w 183"/>
                    <a:gd name="T39" fmla="*/ 2147483647 h 636"/>
                    <a:gd name="T40" fmla="*/ 2147483647 w 183"/>
                    <a:gd name="T41" fmla="*/ 2147483647 h 636"/>
                    <a:gd name="T42" fmla="*/ 2147483647 w 183"/>
                    <a:gd name="T43" fmla="*/ 2147483647 h 636"/>
                    <a:gd name="T44" fmla="*/ 2147483647 w 183"/>
                    <a:gd name="T45" fmla="*/ 2147483647 h 636"/>
                    <a:gd name="T46" fmla="*/ 2147483647 w 183"/>
                    <a:gd name="T47" fmla="*/ 2147483647 h 636"/>
                    <a:gd name="T48" fmla="*/ 2147483647 w 183"/>
                    <a:gd name="T49" fmla="*/ 2147483647 h 636"/>
                    <a:gd name="T50" fmla="*/ 2147483647 w 183"/>
                    <a:gd name="T51" fmla="*/ 2147483647 h 636"/>
                    <a:gd name="T52" fmla="*/ 2147483647 w 183"/>
                    <a:gd name="T53" fmla="*/ 2147483647 h 636"/>
                    <a:gd name="T54" fmla="*/ 2147483647 w 183"/>
                    <a:gd name="T55" fmla="*/ 2147483647 h 636"/>
                    <a:gd name="T56" fmla="*/ 2147483647 w 183"/>
                    <a:gd name="T57" fmla="*/ 2147483647 h 636"/>
                    <a:gd name="T58" fmla="*/ 2147483647 w 183"/>
                    <a:gd name="T59" fmla="*/ 2147483647 h 636"/>
                    <a:gd name="T60" fmla="*/ 2147483647 w 183"/>
                    <a:gd name="T61" fmla="*/ 2147483647 h 636"/>
                    <a:gd name="T62" fmla="*/ 2147483647 w 183"/>
                    <a:gd name="T63" fmla="*/ 2147483647 h 636"/>
                    <a:gd name="T64" fmla="*/ 2147483647 w 183"/>
                    <a:gd name="T65" fmla="*/ 2147483647 h 636"/>
                    <a:gd name="T66" fmla="*/ 2147483647 w 183"/>
                    <a:gd name="T67" fmla="*/ 2147483647 h 636"/>
                    <a:gd name="T68" fmla="*/ 2147483647 w 183"/>
                    <a:gd name="T69" fmla="*/ 2147483647 h 636"/>
                    <a:gd name="T70" fmla="*/ 2147483647 w 183"/>
                    <a:gd name="T71" fmla="*/ 2147483647 h 636"/>
                    <a:gd name="T72" fmla="*/ 2147483647 w 183"/>
                    <a:gd name="T73" fmla="*/ 2147483647 h 636"/>
                    <a:gd name="T74" fmla="*/ 2147483647 w 183"/>
                    <a:gd name="T75" fmla="*/ 2147483647 h 636"/>
                    <a:gd name="T76" fmla="*/ 2147483647 w 183"/>
                    <a:gd name="T77" fmla="*/ 2147483647 h 636"/>
                    <a:gd name="T78" fmla="*/ 2147483647 w 183"/>
                    <a:gd name="T79" fmla="*/ 2147483647 h 636"/>
                    <a:gd name="T80" fmla="*/ 2147483647 w 183"/>
                    <a:gd name="T81" fmla="*/ 2147483647 h 636"/>
                    <a:gd name="T82" fmla="*/ 2147483647 w 183"/>
                    <a:gd name="T83" fmla="*/ 0 h 636"/>
                    <a:gd name="T84" fmla="*/ 0 w 183"/>
                    <a:gd name="T85" fmla="*/ 2147483647 h 636"/>
                    <a:gd name="T86" fmla="*/ 2147483647 w 183"/>
                    <a:gd name="T87" fmla="*/ 2147483647 h 6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83"/>
                    <a:gd name="T133" fmla="*/ 0 h 636"/>
                    <a:gd name="T134" fmla="*/ 183 w 183"/>
                    <a:gd name="T135" fmla="*/ 636 h 6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83" h="636">
                      <a:moveTo>
                        <a:pt x="17" y="79"/>
                      </a:moveTo>
                      <a:lnTo>
                        <a:pt x="9" y="96"/>
                      </a:lnTo>
                      <a:lnTo>
                        <a:pt x="17" y="192"/>
                      </a:lnTo>
                      <a:lnTo>
                        <a:pt x="17" y="201"/>
                      </a:lnTo>
                      <a:lnTo>
                        <a:pt x="26" y="227"/>
                      </a:lnTo>
                      <a:lnTo>
                        <a:pt x="26" y="253"/>
                      </a:lnTo>
                      <a:lnTo>
                        <a:pt x="35" y="270"/>
                      </a:lnTo>
                      <a:lnTo>
                        <a:pt x="26" y="340"/>
                      </a:lnTo>
                      <a:lnTo>
                        <a:pt x="17" y="349"/>
                      </a:lnTo>
                      <a:lnTo>
                        <a:pt x="44" y="401"/>
                      </a:lnTo>
                      <a:lnTo>
                        <a:pt x="35" y="419"/>
                      </a:lnTo>
                      <a:lnTo>
                        <a:pt x="52" y="436"/>
                      </a:lnTo>
                      <a:lnTo>
                        <a:pt x="70" y="471"/>
                      </a:lnTo>
                      <a:lnTo>
                        <a:pt x="70" y="506"/>
                      </a:lnTo>
                      <a:lnTo>
                        <a:pt x="52" y="514"/>
                      </a:lnTo>
                      <a:lnTo>
                        <a:pt x="87" y="532"/>
                      </a:lnTo>
                      <a:lnTo>
                        <a:pt x="70" y="549"/>
                      </a:lnTo>
                      <a:lnTo>
                        <a:pt x="78" y="567"/>
                      </a:lnTo>
                      <a:lnTo>
                        <a:pt x="87" y="584"/>
                      </a:lnTo>
                      <a:lnTo>
                        <a:pt x="96" y="602"/>
                      </a:lnTo>
                      <a:lnTo>
                        <a:pt x="96" y="619"/>
                      </a:lnTo>
                      <a:lnTo>
                        <a:pt x="113" y="619"/>
                      </a:lnTo>
                      <a:lnTo>
                        <a:pt x="113" y="636"/>
                      </a:lnTo>
                      <a:lnTo>
                        <a:pt x="140" y="628"/>
                      </a:lnTo>
                      <a:lnTo>
                        <a:pt x="157" y="636"/>
                      </a:lnTo>
                      <a:lnTo>
                        <a:pt x="183" y="619"/>
                      </a:lnTo>
                      <a:lnTo>
                        <a:pt x="122" y="602"/>
                      </a:lnTo>
                      <a:lnTo>
                        <a:pt x="105" y="575"/>
                      </a:lnTo>
                      <a:lnTo>
                        <a:pt x="113" y="532"/>
                      </a:lnTo>
                      <a:lnTo>
                        <a:pt x="96" y="488"/>
                      </a:lnTo>
                      <a:lnTo>
                        <a:pt x="70" y="427"/>
                      </a:lnTo>
                      <a:lnTo>
                        <a:pt x="70" y="366"/>
                      </a:lnTo>
                      <a:lnTo>
                        <a:pt x="52" y="340"/>
                      </a:lnTo>
                      <a:lnTo>
                        <a:pt x="70" y="323"/>
                      </a:lnTo>
                      <a:lnTo>
                        <a:pt x="61" y="314"/>
                      </a:lnTo>
                      <a:lnTo>
                        <a:pt x="70" y="288"/>
                      </a:lnTo>
                      <a:lnTo>
                        <a:pt x="44" y="253"/>
                      </a:lnTo>
                      <a:lnTo>
                        <a:pt x="52" y="201"/>
                      </a:lnTo>
                      <a:lnTo>
                        <a:pt x="70" y="157"/>
                      </a:lnTo>
                      <a:lnTo>
                        <a:pt x="52" y="131"/>
                      </a:lnTo>
                      <a:lnTo>
                        <a:pt x="70" y="87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17" y="7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3" name="Freeform 125"/>
                <p:cNvSpPr>
                  <a:spLocks/>
                </p:cNvSpPr>
                <p:nvPr/>
              </p:nvSpPr>
              <p:spPr bwMode="auto">
                <a:xfrm>
                  <a:off x="2479676" y="4437063"/>
                  <a:ext cx="290513" cy="1009650"/>
                </a:xfrm>
                <a:custGeom>
                  <a:avLst/>
                  <a:gdLst>
                    <a:gd name="T0" fmla="*/ 2147483647 w 183"/>
                    <a:gd name="T1" fmla="*/ 2147483647 h 636"/>
                    <a:gd name="T2" fmla="*/ 2147483647 w 183"/>
                    <a:gd name="T3" fmla="*/ 2147483647 h 636"/>
                    <a:gd name="T4" fmla="*/ 2147483647 w 183"/>
                    <a:gd name="T5" fmla="*/ 2147483647 h 636"/>
                    <a:gd name="T6" fmla="*/ 2147483647 w 183"/>
                    <a:gd name="T7" fmla="*/ 2147483647 h 636"/>
                    <a:gd name="T8" fmla="*/ 2147483647 w 183"/>
                    <a:gd name="T9" fmla="*/ 2147483647 h 636"/>
                    <a:gd name="T10" fmla="*/ 2147483647 w 183"/>
                    <a:gd name="T11" fmla="*/ 2147483647 h 636"/>
                    <a:gd name="T12" fmla="*/ 2147483647 w 183"/>
                    <a:gd name="T13" fmla="*/ 2147483647 h 636"/>
                    <a:gd name="T14" fmla="*/ 2147483647 w 183"/>
                    <a:gd name="T15" fmla="*/ 2147483647 h 636"/>
                    <a:gd name="T16" fmla="*/ 2147483647 w 183"/>
                    <a:gd name="T17" fmla="*/ 2147483647 h 636"/>
                    <a:gd name="T18" fmla="*/ 2147483647 w 183"/>
                    <a:gd name="T19" fmla="*/ 2147483647 h 636"/>
                    <a:gd name="T20" fmla="*/ 2147483647 w 183"/>
                    <a:gd name="T21" fmla="*/ 2147483647 h 636"/>
                    <a:gd name="T22" fmla="*/ 2147483647 w 183"/>
                    <a:gd name="T23" fmla="*/ 2147483647 h 636"/>
                    <a:gd name="T24" fmla="*/ 2147483647 w 183"/>
                    <a:gd name="T25" fmla="*/ 2147483647 h 636"/>
                    <a:gd name="T26" fmla="*/ 2147483647 w 183"/>
                    <a:gd name="T27" fmla="*/ 2147483647 h 636"/>
                    <a:gd name="T28" fmla="*/ 2147483647 w 183"/>
                    <a:gd name="T29" fmla="*/ 2147483647 h 636"/>
                    <a:gd name="T30" fmla="*/ 2147483647 w 183"/>
                    <a:gd name="T31" fmla="*/ 2147483647 h 636"/>
                    <a:gd name="T32" fmla="*/ 2147483647 w 183"/>
                    <a:gd name="T33" fmla="*/ 2147483647 h 636"/>
                    <a:gd name="T34" fmla="*/ 2147483647 w 183"/>
                    <a:gd name="T35" fmla="*/ 2147483647 h 636"/>
                    <a:gd name="T36" fmla="*/ 2147483647 w 183"/>
                    <a:gd name="T37" fmla="*/ 2147483647 h 636"/>
                    <a:gd name="T38" fmla="*/ 2147483647 w 183"/>
                    <a:gd name="T39" fmla="*/ 2147483647 h 636"/>
                    <a:gd name="T40" fmla="*/ 2147483647 w 183"/>
                    <a:gd name="T41" fmla="*/ 2147483647 h 636"/>
                    <a:gd name="T42" fmla="*/ 2147483647 w 183"/>
                    <a:gd name="T43" fmla="*/ 2147483647 h 636"/>
                    <a:gd name="T44" fmla="*/ 2147483647 w 183"/>
                    <a:gd name="T45" fmla="*/ 2147483647 h 636"/>
                    <a:gd name="T46" fmla="*/ 2147483647 w 183"/>
                    <a:gd name="T47" fmla="*/ 2147483647 h 636"/>
                    <a:gd name="T48" fmla="*/ 2147483647 w 183"/>
                    <a:gd name="T49" fmla="*/ 2147483647 h 636"/>
                    <a:gd name="T50" fmla="*/ 2147483647 w 183"/>
                    <a:gd name="T51" fmla="*/ 2147483647 h 636"/>
                    <a:gd name="T52" fmla="*/ 2147483647 w 183"/>
                    <a:gd name="T53" fmla="*/ 2147483647 h 636"/>
                    <a:gd name="T54" fmla="*/ 2147483647 w 183"/>
                    <a:gd name="T55" fmla="*/ 2147483647 h 636"/>
                    <a:gd name="T56" fmla="*/ 2147483647 w 183"/>
                    <a:gd name="T57" fmla="*/ 2147483647 h 636"/>
                    <a:gd name="T58" fmla="*/ 2147483647 w 183"/>
                    <a:gd name="T59" fmla="*/ 2147483647 h 636"/>
                    <a:gd name="T60" fmla="*/ 2147483647 w 183"/>
                    <a:gd name="T61" fmla="*/ 2147483647 h 636"/>
                    <a:gd name="T62" fmla="*/ 2147483647 w 183"/>
                    <a:gd name="T63" fmla="*/ 2147483647 h 636"/>
                    <a:gd name="T64" fmla="*/ 2147483647 w 183"/>
                    <a:gd name="T65" fmla="*/ 2147483647 h 636"/>
                    <a:gd name="T66" fmla="*/ 2147483647 w 183"/>
                    <a:gd name="T67" fmla="*/ 2147483647 h 636"/>
                    <a:gd name="T68" fmla="*/ 2147483647 w 183"/>
                    <a:gd name="T69" fmla="*/ 2147483647 h 636"/>
                    <a:gd name="T70" fmla="*/ 2147483647 w 183"/>
                    <a:gd name="T71" fmla="*/ 2147483647 h 636"/>
                    <a:gd name="T72" fmla="*/ 2147483647 w 183"/>
                    <a:gd name="T73" fmla="*/ 2147483647 h 636"/>
                    <a:gd name="T74" fmla="*/ 2147483647 w 183"/>
                    <a:gd name="T75" fmla="*/ 2147483647 h 636"/>
                    <a:gd name="T76" fmla="*/ 2147483647 w 183"/>
                    <a:gd name="T77" fmla="*/ 2147483647 h 636"/>
                    <a:gd name="T78" fmla="*/ 2147483647 w 183"/>
                    <a:gd name="T79" fmla="*/ 2147483647 h 636"/>
                    <a:gd name="T80" fmla="*/ 2147483647 w 183"/>
                    <a:gd name="T81" fmla="*/ 2147483647 h 636"/>
                    <a:gd name="T82" fmla="*/ 2147483647 w 183"/>
                    <a:gd name="T83" fmla="*/ 0 h 636"/>
                    <a:gd name="T84" fmla="*/ 0 w 183"/>
                    <a:gd name="T85" fmla="*/ 2147483647 h 636"/>
                    <a:gd name="T86" fmla="*/ 2147483647 w 183"/>
                    <a:gd name="T87" fmla="*/ 2147483647 h 6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83"/>
                    <a:gd name="T133" fmla="*/ 0 h 636"/>
                    <a:gd name="T134" fmla="*/ 183 w 183"/>
                    <a:gd name="T135" fmla="*/ 636 h 6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83" h="636">
                      <a:moveTo>
                        <a:pt x="17" y="79"/>
                      </a:moveTo>
                      <a:lnTo>
                        <a:pt x="9" y="96"/>
                      </a:lnTo>
                      <a:lnTo>
                        <a:pt x="17" y="192"/>
                      </a:lnTo>
                      <a:lnTo>
                        <a:pt x="17" y="201"/>
                      </a:lnTo>
                      <a:lnTo>
                        <a:pt x="26" y="227"/>
                      </a:lnTo>
                      <a:lnTo>
                        <a:pt x="26" y="253"/>
                      </a:lnTo>
                      <a:lnTo>
                        <a:pt x="35" y="270"/>
                      </a:lnTo>
                      <a:lnTo>
                        <a:pt x="26" y="340"/>
                      </a:lnTo>
                      <a:lnTo>
                        <a:pt x="17" y="349"/>
                      </a:lnTo>
                      <a:lnTo>
                        <a:pt x="44" y="401"/>
                      </a:lnTo>
                      <a:lnTo>
                        <a:pt x="35" y="419"/>
                      </a:lnTo>
                      <a:lnTo>
                        <a:pt x="52" y="436"/>
                      </a:lnTo>
                      <a:lnTo>
                        <a:pt x="70" y="471"/>
                      </a:lnTo>
                      <a:lnTo>
                        <a:pt x="70" y="506"/>
                      </a:lnTo>
                      <a:lnTo>
                        <a:pt x="52" y="514"/>
                      </a:lnTo>
                      <a:lnTo>
                        <a:pt x="87" y="532"/>
                      </a:lnTo>
                      <a:lnTo>
                        <a:pt x="70" y="549"/>
                      </a:lnTo>
                      <a:lnTo>
                        <a:pt x="78" y="567"/>
                      </a:lnTo>
                      <a:lnTo>
                        <a:pt x="87" y="584"/>
                      </a:lnTo>
                      <a:lnTo>
                        <a:pt x="96" y="602"/>
                      </a:lnTo>
                      <a:lnTo>
                        <a:pt x="96" y="619"/>
                      </a:lnTo>
                      <a:lnTo>
                        <a:pt x="113" y="619"/>
                      </a:lnTo>
                      <a:lnTo>
                        <a:pt x="113" y="636"/>
                      </a:lnTo>
                      <a:lnTo>
                        <a:pt x="140" y="628"/>
                      </a:lnTo>
                      <a:lnTo>
                        <a:pt x="157" y="636"/>
                      </a:lnTo>
                      <a:lnTo>
                        <a:pt x="183" y="619"/>
                      </a:lnTo>
                      <a:lnTo>
                        <a:pt x="122" y="602"/>
                      </a:lnTo>
                      <a:lnTo>
                        <a:pt x="105" y="575"/>
                      </a:lnTo>
                      <a:lnTo>
                        <a:pt x="113" y="532"/>
                      </a:lnTo>
                      <a:lnTo>
                        <a:pt x="96" y="488"/>
                      </a:lnTo>
                      <a:lnTo>
                        <a:pt x="70" y="427"/>
                      </a:lnTo>
                      <a:lnTo>
                        <a:pt x="70" y="366"/>
                      </a:lnTo>
                      <a:lnTo>
                        <a:pt x="52" y="340"/>
                      </a:lnTo>
                      <a:lnTo>
                        <a:pt x="70" y="323"/>
                      </a:lnTo>
                      <a:lnTo>
                        <a:pt x="61" y="314"/>
                      </a:lnTo>
                      <a:lnTo>
                        <a:pt x="70" y="288"/>
                      </a:lnTo>
                      <a:lnTo>
                        <a:pt x="44" y="253"/>
                      </a:lnTo>
                      <a:lnTo>
                        <a:pt x="52" y="201"/>
                      </a:lnTo>
                      <a:lnTo>
                        <a:pt x="70" y="157"/>
                      </a:lnTo>
                      <a:lnTo>
                        <a:pt x="52" y="131"/>
                      </a:lnTo>
                      <a:lnTo>
                        <a:pt x="70" y="87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17" y="7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4" name="Freeform 126"/>
                <p:cNvSpPr>
                  <a:spLocks/>
                </p:cNvSpPr>
                <p:nvPr/>
              </p:nvSpPr>
              <p:spPr bwMode="auto">
                <a:xfrm>
                  <a:off x="2535239" y="5129213"/>
                  <a:ext cx="26988" cy="41275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2147483647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6"/>
                    <a:gd name="T17" fmla="*/ 17 w 17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1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5" name="Freeform 127"/>
                <p:cNvSpPr>
                  <a:spLocks/>
                </p:cNvSpPr>
                <p:nvPr/>
              </p:nvSpPr>
              <p:spPr bwMode="auto">
                <a:xfrm>
                  <a:off x="2535239" y="5129213"/>
                  <a:ext cx="26988" cy="41275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2147483647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6"/>
                    <a:gd name="T17" fmla="*/ 17 w 17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1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6" name="Freeform 128"/>
                <p:cNvSpPr>
                  <a:spLocks/>
                </p:cNvSpPr>
                <p:nvPr/>
              </p:nvSpPr>
              <p:spPr bwMode="auto">
                <a:xfrm>
                  <a:off x="2701926" y="5419726"/>
                  <a:ext cx="123825" cy="82550"/>
                </a:xfrm>
                <a:custGeom>
                  <a:avLst/>
                  <a:gdLst>
                    <a:gd name="T0" fmla="*/ 2147483647 w 78"/>
                    <a:gd name="T1" fmla="*/ 2147483647 h 52"/>
                    <a:gd name="T2" fmla="*/ 0 w 78"/>
                    <a:gd name="T3" fmla="*/ 2147483647 h 52"/>
                    <a:gd name="T4" fmla="*/ 2147483647 w 78"/>
                    <a:gd name="T5" fmla="*/ 2147483647 h 52"/>
                    <a:gd name="T6" fmla="*/ 2147483647 w 78"/>
                    <a:gd name="T7" fmla="*/ 2147483647 h 52"/>
                    <a:gd name="T8" fmla="*/ 2147483647 w 78"/>
                    <a:gd name="T9" fmla="*/ 2147483647 h 52"/>
                    <a:gd name="T10" fmla="*/ 2147483647 w 78"/>
                    <a:gd name="T11" fmla="*/ 2147483647 h 52"/>
                    <a:gd name="T12" fmla="*/ 2147483647 w 78"/>
                    <a:gd name="T13" fmla="*/ 0 h 52"/>
                    <a:gd name="T14" fmla="*/ 2147483647 w 78"/>
                    <a:gd name="T15" fmla="*/ 2147483647 h 52"/>
                    <a:gd name="T16" fmla="*/ 2147483647 w 78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8"/>
                    <a:gd name="T28" fmla="*/ 0 h 52"/>
                    <a:gd name="T29" fmla="*/ 78 w 78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8" h="52">
                      <a:moveTo>
                        <a:pt x="26" y="26"/>
                      </a:moveTo>
                      <a:lnTo>
                        <a:pt x="0" y="35"/>
                      </a:lnTo>
                      <a:lnTo>
                        <a:pt x="34" y="44"/>
                      </a:lnTo>
                      <a:lnTo>
                        <a:pt x="52" y="52"/>
                      </a:lnTo>
                      <a:lnTo>
                        <a:pt x="78" y="52"/>
                      </a:lnTo>
                      <a:lnTo>
                        <a:pt x="61" y="9"/>
                      </a:lnTo>
                      <a:lnTo>
                        <a:pt x="61" y="0"/>
                      </a:lnTo>
                      <a:lnTo>
                        <a:pt x="43" y="17"/>
                      </a:lnTo>
                      <a:lnTo>
                        <a:pt x="26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7" name="Freeform 129"/>
                <p:cNvSpPr>
                  <a:spLocks/>
                </p:cNvSpPr>
                <p:nvPr/>
              </p:nvSpPr>
              <p:spPr bwMode="auto">
                <a:xfrm>
                  <a:off x="2701926" y="5419726"/>
                  <a:ext cx="123825" cy="82550"/>
                </a:xfrm>
                <a:custGeom>
                  <a:avLst/>
                  <a:gdLst>
                    <a:gd name="T0" fmla="*/ 2147483647 w 78"/>
                    <a:gd name="T1" fmla="*/ 2147483647 h 52"/>
                    <a:gd name="T2" fmla="*/ 0 w 78"/>
                    <a:gd name="T3" fmla="*/ 2147483647 h 52"/>
                    <a:gd name="T4" fmla="*/ 2147483647 w 78"/>
                    <a:gd name="T5" fmla="*/ 2147483647 h 52"/>
                    <a:gd name="T6" fmla="*/ 2147483647 w 78"/>
                    <a:gd name="T7" fmla="*/ 2147483647 h 52"/>
                    <a:gd name="T8" fmla="*/ 2147483647 w 78"/>
                    <a:gd name="T9" fmla="*/ 2147483647 h 52"/>
                    <a:gd name="T10" fmla="*/ 2147483647 w 78"/>
                    <a:gd name="T11" fmla="*/ 2147483647 h 52"/>
                    <a:gd name="T12" fmla="*/ 2147483647 w 78"/>
                    <a:gd name="T13" fmla="*/ 0 h 52"/>
                    <a:gd name="T14" fmla="*/ 2147483647 w 78"/>
                    <a:gd name="T15" fmla="*/ 2147483647 h 52"/>
                    <a:gd name="T16" fmla="*/ 2147483647 w 78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8"/>
                    <a:gd name="T28" fmla="*/ 0 h 52"/>
                    <a:gd name="T29" fmla="*/ 78 w 78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8" h="52">
                      <a:moveTo>
                        <a:pt x="26" y="26"/>
                      </a:moveTo>
                      <a:lnTo>
                        <a:pt x="0" y="35"/>
                      </a:lnTo>
                      <a:lnTo>
                        <a:pt x="34" y="44"/>
                      </a:lnTo>
                      <a:lnTo>
                        <a:pt x="52" y="52"/>
                      </a:lnTo>
                      <a:lnTo>
                        <a:pt x="78" y="52"/>
                      </a:lnTo>
                      <a:lnTo>
                        <a:pt x="61" y="9"/>
                      </a:lnTo>
                      <a:lnTo>
                        <a:pt x="61" y="0"/>
                      </a:lnTo>
                      <a:lnTo>
                        <a:pt x="43" y="17"/>
                      </a:lnTo>
                      <a:lnTo>
                        <a:pt x="26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8" name="Freeform 130"/>
                <p:cNvSpPr>
                  <a:spLocks/>
                </p:cNvSpPr>
                <p:nvPr/>
              </p:nvSpPr>
              <p:spPr bwMode="auto">
                <a:xfrm>
                  <a:off x="2549526" y="4548188"/>
                  <a:ext cx="414338" cy="871538"/>
                </a:xfrm>
                <a:custGeom>
                  <a:avLst/>
                  <a:gdLst>
                    <a:gd name="T0" fmla="*/ 2147483647 w 261"/>
                    <a:gd name="T1" fmla="*/ 2147483647 h 549"/>
                    <a:gd name="T2" fmla="*/ 2147483647 w 261"/>
                    <a:gd name="T3" fmla="*/ 2147483647 h 549"/>
                    <a:gd name="T4" fmla="*/ 2147483647 w 261"/>
                    <a:gd name="T5" fmla="*/ 2147483647 h 549"/>
                    <a:gd name="T6" fmla="*/ 2147483647 w 261"/>
                    <a:gd name="T7" fmla="*/ 2147483647 h 549"/>
                    <a:gd name="T8" fmla="*/ 0 w 261"/>
                    <a:gd name="T9" fmla="*/ 2147483647 h 549"/>
                    <a:gd name="T10" fmla="*/ 2147483647 w 261"/>
                    <a:gd name="T11" fmla="*/ 2147483647 h 549"/>
                    <a:gd name="T12" fmla="*/ 2147483647 w 261"/>
                    <a:gd name="T13" fmla="*/ 2147483647 h 549"/>
                    <a:gd name="T14" fmla="*/ 2147483647 w 261"/>
                    <a:gd name="T15" fmla="*/ 2147483647 h 549"/>
                    <a:gd name="T16" fmla="*/ 2147483647 w 261"/>
                    <a:gd name="T17" fmla="*/ 2147483647 h 549"/>
                    <a:gd name="T18" fmla="*/ 2147483647 w 261"/>
                    <a:gd name="T19" fmla="*/ 2147483647 h 549"/>
                    <a:gd name="T20" fmla="*/ 2147483647 w 261"/>
                    <a:gd name="T21" fmla="*/ 2147483647 h 549"/>
                    <a:gd name="T22" fmla="*/ 2147483647 w 261"/>
                    <a:gd name="T23" fmla="*/ 2147483647 h 549"/>
                    <a:gd name="T24" fmla="*/ 2147483647 w 261"/>
                    <a:gd name="T25" fmla="*/ 2147483647 h 549"/>
                    <a:gd name="T26" fmla="*/ 2147483647 w 261"/>
                    <a:gd name="T27" fmla="*/ 2147483647 h 549"/>
                    <a:gd name="T28" fmla="*/ 2147483647 w 261"/>
                    <a:gd name="T29" fmla="*/ 2147483647 h 549"/>
                    <a:gd name="T30" fmla="*/ 2147483647 w 261"/>
                    <a:gd name="T31" fmla="*/ 2147483647 h 549"/>
                    <a:gd name="T32" fmla="*/ 2147483647 w 261"/>
                    <a:gd name="T33" fmla="*/ 2147483647 h 549"/>
                    <a:gd name="T34" fmla="*/ 2147483647 w 261"/>
                    <a:gd name="T35" fmla="*/ 2147483647 h 549"/>
                    <a:gd name="T36" fmla="*/ 2147483647 w 261"/>
                    <a:gd name="T37" fmla="*/ 2147483647 h 549"/>
                    <a:gd name="T38" fmla="*/ 2147483647 w 261"/>
                    <a:gd name="T39" fmla="*/ 2147483647 h 549"/>
                    <a:gd name="T40" fmla="*/ 2147483647 w 261"/>
                    <a:gd name="T41" fmla="*/ 2147483647 h 549"/>
                    <a:gd name="T42" fmla="*/ 2147483647 w 261"/>
                    <a:gd name="T43" fmla="*/ 2147483647 h 549"/>
                    <a:gd name="T44" fmla="*/ 2147483647 w 261"/>
                    <a:gd name="T45" fmla="*/ 2147483647 h 549"/>
                    <a:gd name="T46" fmla="*/ 2147483647 w 261"/>
                    <a:gd name="T47" fmla="*/ 2147483647 h 549"/>
                    <a:gd name="T48" fmla="*/ 2147483647 w 261"/>
                    <a:gd name="T49" fmla="*/ 2147483647 h 549"/>
                    <a:gd name="T50" fmla="*/ 2147483647 w 261"/>
                    <a:gd name="T51" fmla="*/ 2147483647 h 549"/>
                    <a:gd name="T52" fmla="*/ 2147483647 w 261"/>
                    <a:gd name="T53" fmla="*/ 2147483647 h 549"/>
                    <a:gd name="T54" fmla="*/ 2147483647 w 261"/>
                    <a:gd name="T55" fmla="*/ 2147483647 h 549"/>
                    <a:gd name="T56" fmla="*/ 2147483647 w 261"/>
                    <a:gd name="T57" fmla="*/ 2147483647 h 549"/>
                    <a:gd name="T58" fmla="*/ 2147483647 w 261"/>
                    <a:gd name="T59" fmla="*/ 2147483647 h 549"/>
                    <a:gd name="T60" fmla="*/ 2147483647 w 261"/>
                    <a:gd name="T61" fmla="*/ 2147483647 h 549"/>
                    <a:gd name="T62" fmla="*/ 2147483647 w 261"/>
                    <a:gd name="T63" fmla="*/ 2147483647 h 549"/>
                    <a:gd name="T64" fmla="*/ 2147483647 w 261"/>
                    <a:gd name="T65" fmla="*/ 2147483647 h 549"/>
                    <a:gd name="T66" fmla="*/ 2147483647 w 261"/>
                    <a:gd name="T67" fmla="*/ 2147483647 h 549"/>
                    <a:gd name="T68" fmla="*/ 2147483647 w 261"/>
                    <a:gd name="T69" fmla="*/ 2147483647 h 549"/>
                    <a:gd name="T70" fmla="*/ 2147483647 w 261"/>
                    <a:gd name="T71" fmla="*/ 2147483647 h 549"/>
                    <a:gd name="T72" fmla="*/ 2147483647 w 261"/>
                    <a:gd name="T73" fmla="*/ 2147483647 h 549"/>
                    <a:gd name="T74" fmla="*/ 2147483647 w 261"/>
                    <a:gd name="T75" fmla="*/ 2147483647 h 549"/>
                    <a:gd name="T76" fmla="*/ 2147483647 w 261"/>
                    <a:gd name="T77" fmla="*/ 2147483647 h 549"/>
                    <a:gd name="T78" fmla="*/ 2147483647 w 261"/>
                    <a:gd name="T79" fmla="*/ 2147483647 h 549"/>
                    <a:gd name="T80" fmla="*/ 2147483647 w 261"/>
                    <a:gd name="T81" fmla="*/ 2147483647 h 549"/>
                    <a:gd name="T82" fmla="*/ 2147483647 w 261"/>
                    <a:gd name="T83" fmla="*/ 2147483647 h 549"/>
                    <a:gd name="T84" fmla="*/ 2147483647 w 261"/>
                    <a:gd name="T85" fmla="*/ 2147483647 h 549"/>
                    <a:gd name="T86" fmla="*/ 2147483647 w 261"/>
                    <a:gd name="T87" fmla="*/ 2147483647 h 549"/>
                    <a:gd name="T88" fmla="*/ 2147483647 w 261"/>
                    <a:gd name="T89" fmla="*/ 2147483647 h 549"/>
                    <a:gd name="T90" fmla="*/ 2147483647 w 261"/>
                    <a:gd name="T91" fmla="*/ 2147483647 h 549"/>
                    <a:gd name="T92" fmla="*/ 2147483647 w 261"/>
                    <a:gd name="T93" fmla="*/ 2147483647 h 549"/>
                    <a:gd name="T94" fmla="*/ 2147483647 w 261"/>
                    <a:gd name="T95" fmla="*/ 2147483647 h 549"/>
                    <a:gd name="T96" fmla="*/ 2147483647 w 261"/>
                    <a:gd name="T97" fmla="*/ 2147483647 h 549"/>
                    <a:gd name="T98" fmla="*/ 2147483647 w 261"/>
                    <a:gd name="T99" fmla="*/ 2147483647 h 549"/>
                    <a:gd name="T100" fmla="*/ 2147483647 w 261"/>
                    <a:gd name="T101" fmla="*/ 2147483647 h 549"/>
                    <a:gd name="T102" fmla="*/ 2147483647 w 261"/>
                    <a:gd name="T103" fmla="*/ 2147483647 h 549"/>
                    <a:gd name="T104" fmla="*/ 2147483647 w 261"/>
                    <a:gd name="T105" fmla="*/ 2147483647 h 549"/>
                    <a:gd name="T106" fmla="*/ 2147483647 w 261"/>
                    <a:gd name="T107" fmla="*/ 2147483647 h 549"/>
                    <a:gd name="T108" fmla="*/ 2147483647 w 261"/>
                    <a:gd name="T109" fmla="*/ 2147483647 h 549"/>
                    <a:gd name="T110" fmla="*/ 2147483647 w 261"/>
                    <a:gd name="T111" fmla="*/ 0 h 549"/>
                    <a:gd name="T112" fmla="*/ 2147483647 w 261"/>
                    <a:gd name="T113" fmla="*/ 0 h 549"/>
                    <a:gd name="T114" fmla="*/ 2147483647 w 261"/>
                    <a:gd name="T115" fmla="*/ 2147483647 h 549"/>
                    <a:gd name="T116" fmla="*/ 2147483647 w 261"/>
                    <a:gd name="T117" fmla="*/ 2147483647 h 549"/>
                    <a:gd name="T118" fmla="*/ 2147483647 w 261"/>
                    <a:gd name="T119" fmla="*/ 2147483647 h 54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61"/>
                    <a:gd name="T181" fmla="*/ 0 h 549"/>
                    <a:gd name="T182" fmla="*/ 261 w 261"/>
                    <a:gd name="T183" fmla="*/ 549 h 54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61" h="549">
                      <a:moveTo>
                        <a:pt x="26" y="17"/>
                      </a:moveTo>
                      <a:lnTo>
                        <a:pt x="8" y="61"/>
                      </a:lnTo>
                      <a:lnTo>
                        <a:pt x="26" y="87"/>
                      </a:lnTo>
                      <a:lnTo>
                        <a:pt x="8" y="131"/>
                      </a:lnTo>
                      <a:lnTo>
                        <a:pt x="0" y="183"/>
                      </a:lnTo>
                      <a:lnTo>
                        <a:pt x="26" y="218"/>
                      </a:lnTo>
                      <a:lnTo>
                        <a:pt x="17" y="244"/>
                      </a:lnTo>
                      <a:lnTo>
                        <a:pt x="26" y="253"/>
                      </a:lnTo>
                      <a:lnTo>
                        <a:pt x="8" y="270"/>
                      </a:lnTo>
                      <a:lnTo>
                        <a:pt x="26" y="296"/>
                      </a:lnTo>
                      <a:lnTo>
                        <a:pt x="26" y="357"/>
                      </a:lnTo>
                      <a:lnTo>
                        <a:pt x="52" y="418"/>
                      </a:lnTo>
                      <a:lnTo>
                        <a:pt x="69" y="462"/>
                      </a:lnTo>
                      <a:lnTo>
                        <a:pt x="61" y="505"/>
                      </a:lnTo>
                      <a:lnTo>
                        <a:pt x="78" y="532"/>
                      </a:lnTo>
                      <a:lnTo>
                        <a:pt x="139" y="549"/>
                      </a:lnTo>
                      <a:lnTo>
                        <a:pt x="148" y="540"/>
                      </a:lnTo>
                      <a:lnTo>
                        <a:pt x="130" y="540"/>
                      </a:lnTo>
                      <a:lnTo>
                        <a:pt x="130" y="514"/>
                      </a:lnTo>
                      <a:lnTo>
                        <a:pt x="139" y="505"/>
                      </a:lnTo>
                      <a:lnTo>
                        <a:pt x="139" y="488"/>
                      </a:lnTo>
                      <a:lnTo>
                        <a:pt x="157" y="479"/>
                      </a:lnTo>
                      <a:lnTo>
                        <a:pt x="157" y="462"/>
                      </a:lnTo>
                      <a:lnTo>
                        <a:pt x="122" y="444"/>
                      </a:lnTo>
                      <a:lnTo>
                        <a:pt x="122" y="427"/>
                      </a:lnTo>
                      <a:lnTo>
                        <a:pt x="139" y="418"/>
                      </a:lnTo>
                      <a:lnTo>
                        <a:pt x="148" y="392"/>
                      </a:lnTo>
                      <a:lnTo>
                        <a:pt x="139" y="375"/>
                      </a:lnTo>
                      <a:lnTo>
                        <a:pt x="157" y="383"/>
                      </a:lnTo>
                      <a:lnTo>
                        <a:pt x="157" y="366"/>
                      </a:lnTo>
                      <a:lnTo>
                        <a:pt x="148" y="366"/>
                      </a:lnTo>
                      <a:lnTo>
                        <a:pt x="130" y="375"/>
                      </a:lnTo>
                      <a:lnTo>
                        <a:pt x="122" y="349"/>
                      </a:lnTo>
                      <a:lnTo>
                        <a:pt x="165" y="349"/>
                      </a:lnTo>
                      <a:lnTo>
                        <a:pt x="174" y="340"/>
                      </a:lnTo>
                      <a:lnTo>
                        <a:pt x="157" y="322"/>
                      </a:lnTo>
                      <a:lnTo>
                        <a:pt x="174" y="305"/>
                      </a:lnTo>
                      <a:lnTo>
                        <a:pt x="218" y="305"/>
                      </a:lnTo>
                      <a:lnTo>
                        <a:pt x="244" y="279"/>
                      </a:lnTo>
                      <a:lnTo>
                        <a:pt x="235" y="261"/>
                      </a:lnTo>
                      <a:lnTo>
                        <a:pt x="235" y="253"/>
                      </a:lnTo>
                      <a:lnTo>
                        <a:pt x="200" y="227"/>
                      </a:lnTo>
                      <a:lnTo>
                        <a:pt x="209" y="218"/>
                      </a:lnTo>
                      <a:lnTo>
                        <a:pt x="209" y="174"/>
                      </a:lnTo>
                      <a:lnTo>
                        <a:pt x="218" y="148"/>
                      </a:lnTo>
                      <a:lnTo>
                        <a:pt x="218" y="139"/>
                      </a:lnTo>
                      <a:lnTo>
                        <a:pt x="261" y="105"/>
                      </a:lnTo>
                      <a:lnTo>
                        <a:pt x="261" y="70"/>
                      </a:lnTo>
                      <a:lnTo>
                        <a:pt x="244" y="70"/>
                      </a:lnTo>
                      <a:lnTo>
                        <a:pt x="244" y="87"/>
                      </a:lnTo>
                      <a:lnTo>
                        <a:pt x="226" y="105"/>
                      </a:lnTo>
                      <a:lnTo>
                        <a:pt x="191" y="96"/>
                      </a:lnTo>
                      <a:lnTo>
                        <a:pt x="174" y="87"/>
                      </a:lnTo>
                      <a:lnTo>
                        <a:pt x="191" y="61"/>
                      </a:lnTo>
                      <a:lnTo>
                        <a:pt x="130" y="35"/>
                      </a:lnTo>
                      <a:lnTo>
                        <a:pt x="104" y="0"/>
                      </a:lnTo>
                      <a:lnTo>
                        <a:pt x="87" y="0"/>
                      </a:lnTo>
                      <a:lnTo>
                        <a:pt x="78" y="17"/>
                      </a:lnTo>
                      <a:lnTo>
                        <a:pt x="69" y="9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9" name="Freeform 131"/>
                <p:cNvSpPr>
                  <a:spLocks/>
                </p:cNvSpPr>
                <p:nvPr/>
              </p:nvSpPr>
              <p:spPr bwMode="auto">
                <a:xfrm>
                  <a:off x="2549526" y="4548188"/>
                  <a:ext cx="414338" cy="871538"/>
                </a:xfrm>
                <a:custGeom>
                  <a:avLst/>
                  <a:gdLst>
                    <a:gd name="T0" fmla="*/ 2147483647 w 261"/>
                    <a:gd name="T1" fmla="*/ 2147483647 h 549"/>
                    <a:gd name="T2" fmla="*/ 2147483647 w 261"/>
                    <a:gd name="T3" fmla="*/ 2147483647 h 549"/>
                    <a:gd name="T4" fmla="*/ 2147483647 w 261"/>
                    <a:gd name="T5" fmla="*/ 2147483647 h 549"/>
                    <a:gd name="T6" fmla="*/ 2147483647 w 261"/>
                    <a:gd name="T7" fmla="*/ 2147483647 h 549"/>
                    <a:gd name="T8" fmla="*/ 0 w 261"/>
                    <a:gd name="T9" fmla="*/ 2147483647 h 549"/>
                    <a:gd name="T10" fmla="*/ 2147483647 w 261"/>
                    <a:gd name="T11" fmla="*/ 2147483647 h 549"/>
                    <a:gd name="T12" fmla="*/ 2147483647 w 261"/>
                    <a:gd name="T13" fmla="*/ 2147483647 h 549"/>
                    <a:gd name="T14" fmla="*/ 2147483647 w 261"/>
                    <a:gd name="T15" fmla="*/ 2147483647 h 549"/>
                    <a:gd name="T16" fmla="*/ 2147483647 w 261"/>
                    <a:gd name="T17" fmla="*/ 2147483647 h 549"/>
                    <a:gd name="T18" fmla="*/ 2147483647 w 261"/>
                    <a:gd name="T19" fmla="*/ 2147483647 h 549"/>
                    <a:gd name="T20" fmla="*/ 2147483647 w 261"/>
                    <a:gd name="T21" fmla="*/ 2147483647 h 549"/>
                    <a:gd name="T22" fmla="*/ 2147483647 w 261"/>
                    <a:gd name="T23" fmla="*/ 2147483647 h 549"/>
                    <a:gd name="T24" fmla="*/ 2147483647 w 261"/>
                    <a:gd name="T25" fmla="*/ 2147483647 h 549"/>
                    <a:gd name="T26" fmla="*/ 2147483647 w 261"/>
                    <a:gd name="T27" fmla="*/ 2147483647 h 549"/>
                    <a:gd name="T28" fmla="*/ 2147483647 w 261"/>
                    <a:gd name="T29" fmla="*/ 2147483647 h 549"/>
                    <a:gd name="T30" fmla="*/ 2147483647 w 261"/>
                    <a:gd name="T31" fmla="*/ 2147483647 h 549"/>
                    <a:gd name="T32" fmla="*/ 2147483647 w 261"/>
                    <a:gd name="T33" fmla="*/ 2147483647 h 549"/>
                    <a:gd name="T34" fmla="*/ 2147483647 w 261"/>
                    <a:gd name="T35" fmla="*/ 2147483647 h 549"/>
                    <a:gd name="T36" fmla="*/ 2147483647 w 261"/>
                    <a:gd name="T37" fmla="*/ 2147483647 h 549"/>
                    <a:gd name="T38" fmla="*/ 2147483647 w 261"/>
                    <a:gd name="T39" fmla="*/ 2147483647 h 549"/>
                    <a:gd name="T40" fmla="*/ 2147483647 w 261"/>
                    <a:gd name="T41" fmla="*/ 2147483647 h 549"/>
                    <a:gd name="T42" fmla="*/ 2147483647 w 261"/>
                    <a:gd name="T43" fmla="*/ 2147483647 h 549"/>
                    <a:gd name="T44" fmla="*/ 2147483647 w 261"/>
                    <a:gd name="T45" fmla="*/ 2147483647 h 549"/>
                    <a:gd name="T46" fmla="*/ 2147483647 w 261"/>
                    <a:gd name="T47" fmla="*/ 2147483647 h 549"/>
                    <a:gd name="T48" fmla="*/ 2147483647 w 261"/>
                    <a:gd name="T49" fmla="*/ 2147483647 h 549"/>
                    <a:gd name="T50" fmla="*/ 2147483647 w 261"/>
                    <a:gd name="T51" fmla="*/ 2147483647 h 549"/>
                    <a:gd name="T52" fmla="*/ 2147483647 w 261"/>
                    <a:gd name="T53" fmla="*/ 2147483647 h 549"/>
                    <a:gd name="T54" fmla="*/ 2147483647 w 261"/>
                    <a:gd name="T55" fmla="*/ 2147483647 h 549"/>
                    <a:gd name="T56" fmla="*/ 2147483647 w 261"/>
                    <a:gd name="T57" fmla="*/ 2147483647 h 549"/>
                    <a:gd name="T58" fmla="*/ 2147483647 w 261"/>
                    <a:gd name="T59" fmla="*/ 2147483647 h 549"/>
                    <a:gd name="T60" fmla="*/ 2147483647 w 261"/>
                    <a:gd name="T61" fmla="*/ 2147483647 h 549"/>
                    <a:gd name="T62" fmla="*/ 2147483647 w 261"/>
                    <a:gd name="T63" fmla="*/ 2147483647 h 549"/>
                    <a:gd name="T64" fmla="*/ 2147483647 w 261"/>
                    <a:gd name="T65" fmla="*/ 2147483647 h 549"/>
                    <a:gd name="T66" fmla="*/ 2147483647 w 261"/>
                    <a:gd name="T67" fmla="*/ 2147483647 h 549"/>
                    <a:gd name="T68" fmla="*/ 2147483647 w 261"/>
                    <a:gd name="T69" fmla="*/ 2147483647 h 549"/>
                    <a:gd name="T70" fmla="*/ 2147483647 w 261"/>
                    <a:gd name="T71" fmla="*/ 2147483647 h 549"/>
                    <a:gd name="T72" fmla="*/ 2147483647 w 261"/>
                    <a:gd name="T73" fmla="*/ 2147483647 h 549"/>
                    <a:gd name="T74" fmla="*/ 2147483647 w 261"/>
                    <a:gd name="T75" fmla="*/ 2147483647 h 549"/>
                    <a:gd name="T76" fmla="*/ 2147483647 w 261"/>
                    <a:gd name="T77" fmla="*/ 2147483647 h 549"/>
                    <a:gd name="T78" fmla="*/ 2147483647 w 261"/>
                    <a:gd name="T79" fmla="*/ 2147483647 h 549"/>
                    <a:gd name="T80" fmla="*/ 2147483647 w 261"/>
                    <a:gd name="T81" fmla="*/ 2147483647 h 549"/>
                    <a:gd name="T82" fmla="*/ 2147483647 w 261"/>
                    <a:gd name="T83" fmla="*/ 2147483647 h 549"/>
                    <a:gd name="T84" fmla="*/ 2147483647 w 261"/>
                    <a:gd name="T85" fmla="*/ 2147483647 h 549"/>
                    <a:gd name="T86" fmla="*/ 2147483647 w 261"/>
                    <a:gd name="T87" fmla="*/ 2147483647 h 549"/>
                    <a:gd name="T88" fmla="*/ 2147483647 w 261"/>
                    <a:gd name="T89" fmla="*/ 2147483647 h 549"/>
                    <a:gd name="T90" fmla="*/ 2147483647 w 261"/>
                    <a:gd name="T91" fmla="*/ 2147483647 h 549"/>
                    <a:gd name="T92" fmla="*/ 2147483647 w 261"/>
                    <a:gd name="T93" fmla="*/ 2147483647 h 549"/>
                    <a:gd name="T94" fmla="*/ 2147483647 w 261"/>
                    <a:gd name="T95" fmla="*/ 2147483647 h 549"/>
                    <a:gd name="T96" fmla="*/ 2147483647 w 261"/>
                    <a:gd name="T97" fmla="*/ 2147483647 h 549"/>
                    <a:gd name="T98" fmla="*/ 2147483647 w 261"/>
                    <a:gd name="T99" fmla="*/ 2147483647 h 549"/>
                    <a:gd name="T100" fmla="*/ 2147483647 w 261"/>
                    <a:gd name="T101" fmla="*/ 2147483647 h 549"/>
                    <a:gd name="T102" fmla="*/ 2147483647 w 261"/>
                    <a:gd name="T103" fmla="*/ 2147483647 h 549"/>
                    <a:gd name="T104" fmla="*/ 2147483647 w 261"/>
                    <a:gd name="T105" fmla="*/ 2147483647 h 549"/>
                    <a:gd name="T106" fmla="*/ 2147483647 w 261"/>
                    <a:gd name="T107" fmla="*/ 2147483647 h 549"/>
                    <a:gd name="T108" fmla="*/ 2147483647 w 261"/>
                    <a:gd name="T109" fmla="*/ 2147483647 h 549"/>
                    <a:gd name="T110" fmla="*/ 2147483647 w 261"/>
                    <a:gd name="T111" fmla="*/ 0 h 549"/>
                    <a:gd name="T112" fmla="*/ 2147483647 w 261"/>
                    <a:gd name="T113" fmla="*/ 0 h 549"/>
                    <a:gd name="T114" fmla="*/ 2147483647 w 261"/>
                    <a:gd name="T115" fmla="*/ 2147483647 h 549"/>
                    <a:gd name="T116" fmla="*/ 2147483647 w 261"/>
                    <a:gd name="T117" fmla="*/ 2147483647 h 549"/>
                    <a:gd name="T118" fmla="*/ 2147483647 w 261"/>
                    <a:gd name="T119" fmla="*/ 2147483647 h 54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61"/>
                    <a:gd name="T181" fmla="*/ 0 h 549"/>
                    <a:gd name="T182" fmla="*/ 261 w 261"/>
                    <a:gd name="T183" fmla="*/ 549 h 54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61" h="549">
                      <a:moveTo>
                        <a:pt x="26" y="17"/>
                      </a:moveTo>
                      <a:lnTo>
                        <a:pt x="8" y="61"/>
                      </a:lnTo>
                      <a:lnTo>
                        <a:pt x="26" y="87"/>
                      </a:lnTo>
                      <a:lnTo>
                        <a:pt x="8" y="131"/>
                      </a:lnTo>
                      <a:lnTo>
                        <a:pt x="0" y="183"/>
                      </a:lnTo>
                      <a:lnTo>
                        <a:pt x="26" y="218"/>
                      </a:lnTo>
                      <a:lnTo>
                        <a:pt x="17" y="244"/>
                      </a:lnTo>
                      <a:lnTo>
                        <a:pt x="26" y="253"/>
                      </a:lnTo>
                      <a:lnTo>
                        <a:pt x="8" y="270"/>
                      </a:lnTo>
                      <a:lnTo>
                        <a:pt x="26" y="296"/>
                      </a:lnTo>
                      <a:lnTo>
                        <a:pt x="26" y="357"/>
                      </a:lnTo>
                      <a:lnTo>
                        <a:pt x="52" y="418"/>
                      </a:lnTo>
                      <a:lnTo>
                        <a:pt x="69" y="462"/>
                      </a:lnTo>
                      <a:lnTo>
                        <a:pt x="61" y="505"/>
                      </a:lnTo>
                      <a:lnTo>
                        <a:pt x="78" y="532"/>
                      </a:lnTo>
                      <a:lnTo>
                        <a:pt x="139" y="549"/>
                      </a:lnTo>
                      <a:lnTo>
                        <a:pt x="148" y="540"/>
                      </a:lnTo>
                      <a:lnTo>
                        <a:pt x="130" y="540"/>
                      </a:lnTo>
                      <a:lnTo>
                        <a:pt x="130" y="514"/>
                      </a:lnTo>
                      <a:lnTo>
                        <a:pt x="139" y="505"/>
                      </a:lnTo>
                      <a:lnTo>
                        <a:pt x="139" y="488"/>
                      </a:lnTo>
                      <a:lnTo>
                        <a:pt x="157" y="479"/>
                      </a:lnTo>
                      <a:lnTo>
                        <a:pt x="157" y="462"/>
                      </a:lnTo>
                      <a:lnTo>
                        <a:pt x="122" y="444"/>
                      </a:lnTo>
                      <a:lnTo>
                        <a:pt x="122" y="427"/>
                      </a:lnTo>
                      <a:lnTo>
                        <a:pt x="139" y="418"/>
                      </a:lnTo>
                      <a:lnTo>
                        <a:pt x="148" y="392"/>
                      </a:lnTo>
                      <a:lnTo>
                        <a:pt x="139" y="375"/>
                      </a:lnTo>
                      <a:lnTo>
                        <a:pt x="157" y="383"/>
                      </a:lnTo>
                      <a:lnTo>
                        <a:pt x="157" y="366"/>
                      </a:lnTo>
                      <a:lnTo>
                        <a:pt x="148" y="366"/>
                      </a:lnTo>
                      <a:lnTo>
                        <a:pt x="130" y="375"/>
                      </a:lnTo>
                      <a:lnTo>
                        <a:pt x="122" y="349"/>
                      </a:lnTo>
                      <a:lnTo>
                        <a:pt x="165" y="349"/>
                      </a:lnTo>
                      <a:lnTo>
                        <a:pt x="174" y="340"/>
                      </a:lnTo>
                      <a:lnTo>
                        <a:pt x="157" y="322"/>
                      </a:lnTo>
                      <a:lnTo>
                        <a:pt x="174" y="305"/>
                      </a:lnTo>
                      <a:lnTo>
                        <a:pt x="218" y="305"/>
                      </a:lnTo>
                      <a:lnTo>
                        <a:pt x="244" y="279"/>
                      </a:lnTo>
                      <a:lnTo>
                        <a:pt x="235" y="261"/>
                      </a:lnTo>
                      <a:lnTo>
                        <a:pt x="235" y="253"/>
                      </a:lnTo>
                      <a:lnTo>
                        <a:pt x="200" y="227"/>
                      </a:lnTo>
                      <a:lnTo>
                        <a:pt x="209" y="218"/>
                      </a:lnTo>
                      <a:lnTo>
                        <a:pt x="209" y="174"/>
                      </a:lnTo>
                      <a:lnTo>
                        <a:pt x="218" y="148"/>
                      </a:lnTo>
                      <a:lnTo>
                        <a:pt x="218" y="139"/>
                      </a:lnTo>
                      <a:lnTo>
                        <a:pt x="261" y="105"/>
                      </a:lnTo>
                      <a:lnTo>
                        <a:pt x="261" y="70"/>
                      </a:lnTo>
                      <a:lnTo>
                        <a:pt x="244" y="70"/>
                      </a:lnTo>
                      <a:lnTo>
                        <a:pt x="244" y="87"/>
                      </a:lnTo>
                      <a:lnTo>
                        <a:pt x="226" y="105"/>
                      </a:lnTo>
                      <a:lnTo>
                        <a:pt x="191" y="96"/>
                      </a:lnTo>
                      <a:lnTo>
                        <a:pt x="174" y="87"/>
                      </a:lnTo>
                      <a:lnTo>
                        <a:pt x="191" y="61"/>
                      </a:lnTo>
                      <a:lnTo>
                        <a:pt x="130" y="35"/>
                      </a:lnTo>
                      <a:lnTo>
                        <a:pt x="104" y="0"/>
                      </a:lnTo>
                      <a:lnTo>
                        <a:pt x="87" y="0"/>
                      </a:lnTo>
                      <a:lnTo>
                        <a:pt x="78" y="17"/>
                      </a:lnTo>
                      <a:lnTo>
                        <a:pt x="69" y="9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0" name="Freeform 132"/>
                <p:cNvSpPr>
                  <a:spLocks/>
                </p:cNvSpPr>
                <p:nvPr/>
              </p:nvSpPr>
              <p:spPr bwMode="auto">
                <a:xfrm>
                  <a:off x="2798764" y="5434013"/>
                  <a:ext cx="96838" cy="68263"/>
                </a:xfrm>
                <a:custGeom>
                  <a:avLst/>
                  <a:gdLst>
                    <a:gd name="T0" fmla="*/ 0 w 61"/>
                    <a:gd name="T1" fmla="*/ 0 h 43"/>
                    <a:gd name="T2" fmla="*/ 2147483647 w 61"/>
                    <a:gd name="T3" fmla="*/ 2147483647 h 43"/>
                    <a:gd name="T4" fmla="*/ 2147483647 w 61"/>
                    <a:gd name="T5" fmla="*/ 2147483647 h 43"/>
                    <a:gd name="T6" fmla="*/ 0 w 61"/>
                    <a:gd name="T7" fmla="*/ 0 h 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1"/>
                    <a:gd name="T13" fmla="*/ 0 h 43"/>
                    <a:gd name="T14" fmla="*/ 61 w 61"/>
                    <a:gd name="T15" fmla="*/ 43 h 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1" h="43">
                      <a:moveTo>
                        <a:pt x="0" y="0"/>
                      </a:moveTo>
                      <a:lnTo>
                        <a:pt x="17" y="43"/>
                      </a:lnTo>
                      <a:lnTo>
                        <a:pt x="61" y="3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1" name="Freeform 133"/>
                <p:cNvSpPr>
                  <a:spLocks/>
                </p:cNvSpPr>
                <p:nvPr/>
              </p:nvSpPr>
              <p:spPr bwMode="auto">
                <a:xfrm>
                  <a:off x="2798764" y="5434013"/>
                  <a:ext cx="96838" cy="68263"/>
                </a:xfrm>
                <a:custGeom>
                  <a:avLst/>
                  <a:gdLst>
                    <a:gd name="T0" fmla="*/ 0 w 61"/>
                    <a:gd name="T1" fmla="*/ 0 h 43"/>
                    <a:gd name="T2" fmla="*/ 2147483647 w 61"/>
                    <a:gd name="T3" fmla="*/ 2147483647 h 43"/>
                    <a:gd name="T4" fmla="*/ 2147483647 w 61"/>
                    <a:gd name="T5" fmla="*/ 2147483647 h 43"/>
                    <a:gd name="T6" fmla="*/ 0 w 61"/>
                    <a:gd name="T7" fmla="*/ 0 h 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1"/>
                    <a:gd name="T13" fmla="*/ 0 h 43"/>
                    <a:gd name="T14" fmla="*/ 61 w 61"/>
                    <a:gd name="T15" fmla="*/ 43 h 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1" h="43">
                      <a:moveTo>
                        <a:pt x="0" y="0"/>
                      </a:moveTo>
                      <a:lnTo>
                        <a:pt x="17" y="43"/>
                      </a:lnTo>
                      <a:lnTo>
                        <a:pt x="61" y="3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2" name="Freeform 134"/>
                <p:cNvSpPr>
                  <a:spLocks/>
                </p:cNvSpPr>
                <p:nvPr/>
              </p:nvSpPr>
              <p:spPr bwMode="auto">
                <a:xfrm>
                  <a:off x="2382839" y="3759201"/>
                  <a:ext cx="1038225" cy="1106488"/>
                </a:xfrm>
                <a:custGeom>
                  <a:avLst/>
                  <a:gdLst>
                    <a:gd name="T0" fmla="*/ 2147483647 w 654"/>
                    <a:gd name="T1" fmla="*/ 2147483647 h 697"/>
                    <a:gd name="T2" fmla="*/ 2147483647 w 654"/>
                    <a:gd name="T3" fmla="*/ 2147483647 h 697"/>
                    <a:gd name="T4" fmla="*/ 2147483647 w 654"/>
                    <a:gd name="T5" fmla="*/ 2147483647 h 697"/>
                    <a:gd name="T6" fmla="*/ 0 w 654"/>
                    <a:gd name="T7" fmla="*/ 2147483647 h 697"/>
                    <a:gd name="T8" fmla="*/ 2147483647 w 654"/>
                    <a:gd name="T9" fmla="*/ 2147483647 h 697"/>
                    <a:gd name="T10" fmla="*/ 2147483647 w 654"/>
                    <a:gd name="T11" fmla="*/ 2147483647 h 697"/>
                    <a:gd name="T12" fmla="*/ 2147483647 w 654"/>
                    <a:gd name="T13" fmla="*/ 2147483647 h 697"/>
                    <a:gd name="T14" fmla="*/ 2147483647 w 654"/>
                    <a:gd name="T15" fmla="*/ 2147483647 h 697"/>
                    <a:gd name="T16" fmla="*/ 2147483647 w 654"/>
                    <a:gd name="T17" fmla="*/ 2147483647 h 697"/>
                    <a:gd name="T18" fmla="*/ 2147483647 w 654"/>
                    <a:gd name="T19" fmla="*/ 2147483647 h 697"/>
                    <a:gd name="T20" fmla="*/ 2147483647 w 654"/>
                    <a:gd name="T21" fmla="*/ 2147483647 h 697"/>
                    <a:gd name="T22" fmla="*/ 2147483647 w 654"/>
                    <a:gd name="T23" fmla="*/ 2147483647 h 697"/>
                    <a:gd name="T24" fmla="*/ 2147483647 w 654"/>
                    <a:gd name="T25" fmla="*/ 2147483647 h 697"/>
                    <a:gd name="T26" fmla="*/ 2147483647 w 654"/>
                    <a:gd name="T27" fmla="*/ 2147483647 h 697"/>
                    <a:gd name="T28" fmla="*/ 2147483647 w 654"/>
                    <a:gd name="T29" fmla="*/ 2147483647 h 697"/>
                    <a:gd name="T30" fmla="*/ 2147483647 w 654"/>
                    <a:gd name="T31" fmla="*/ 2147483647 h 697"/>
                    <a:gd name="T32" fmla="*/ 2147483647 w 654"/>
                    <a:gd name="T33" fmla="*/ 2147483647 h 697"/>
                    <a:gd name="T34" fmla="*/ 2147483647 w 654"/>
                    <a:gd name="T35" fmla="*/ 2147483647 h 697"/>
                    <a:gd name="T36" fmla="*/ 2147483647 w 654"/>
                    <a:gd name="T37" fmla="*/ 2147483647 h 697"/>
                    <a:gd name="T38" fmla="*/ 2147483647 w 654"/>
                    <a:gd name="T39" fmla="*/ 2147483647 h 697"/>
                    <a:gd name="T40" fmla="*/ 2147483647 w 654"/>
                    <a:gd name="T41" fmla="*/ 2147483647 h 697"/>
                    <a:gd name="T42" fmla="*/ 2147483647 w 654"/>
                    <a:gd name="T43" fmla="*/ 2147483647 h 697"/>
                    <a:gd name="T44" fmla="*/ 2147483647 w 654"/>
                    <a:gd name="T45" fmla="*/ 2147483647 h 697"/>
                    <a:gd name="T46" fmla="*/ 2147483647 w 654"/>
                    <a:gd name="T47" fmla="*/ 2147483647 h 697"/>
                    <a:gd name="T48" fmla="*/ 2147483647 w 654"/>
                    <a:gd name="T49" fmla="*/ 2147483647 h 697"/>
                    <a:gd name="T50" fmla="*/ 2147483647 w 654"/>
                    <a:gd name="T51" fmla="*/ 2147483647 h 697"/>
                    <a:gd name="T52" fmla="*/ 2147483647 w 654"/>
                    <a:gd name="T53" fmla="*/ 2147483647 h 697"/>
                    <a:gd name="T54" fmla="*/ 2147483647 w 654"/>
                    <a:gd name="T55" fmla="*/ 2147483647 h 697"/>
                    <a:gd name="T56" fmla="*/ 2147483647 w 654"/>
                    <a:gd name="T57" fmla="*/ 2147483647 h 697"/>
                    <a:gd name="T58" fmla="*/ 2147483647 w 654"/>
                    <a:gd name="T59" fmla="*/ 2147483647 h 697"/>
                    <a:gd name="T60" fmla="*/ 2147483647 w 654"/>
                    <a:gd name="T61" fmla="*/ 2147483647 h 697"/>
                    <a:gd name="T62" fmla="*/ 2147483647 w 654"/>
                    <a:gd name="T63" fmla="*/ 2147483647 h 697"/>
                    <a:gd name="T64" fmla="*/ 2147483647 w 654"/>
                    <a:gd name="T65" fmla="*/ 0 h 697"/>
                    <a:gd name="T66" fmla="*/ 2147483647 w 654"/>
                    <a:gd name="T67" fmla="*/ 2147483647 h 697"/>
                    <a:gd name="T68" fmla="*/ 2147483647 w 654"/>
                    <a:gd name="T69" fmla="*/ 2147483647 h 697"/>
                    <a:gd name="T70" fmla="*/ 2147483647 w 654"/>
                    <a:gd name="T71" fmla="*/ 2147483647 h 697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654"/>
                    <a:gd name="T109" fmla="*/ 0 h 697"/>
                    <a:gd name="T110" fmla="*/ 654 w 654"/>
                    <a:gd name="T111" fmla="*/ 697 h 697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654" h="697">
                      <a:moveTo>
                        <a:pt x="70" y="70"/>
                      </a:moveTo>
                      <a:lnTo>
                        <a:pt x="78" y="87"/>
                      </a:lnTo>
                      <a:lnTo>
                        <a:pt x="52" y="96"/>
                      </a:lnTo>
                      <a:lnTo>
                        <a:pt x="70" y="113"/>
                      </a:lnTo>
                      <a:lnTo>
                        <a:pt x="61" y="174"/>
                      </a:lnTo>
                      <a:lnTo>
                        <a:pt x="52" y="166"/>
                      </a:lnTo>
                      <a:lnTo>
                        <a:pt x="26" y="183"/>
                      </a:lnTo>
                      <a:lnTo>
                        <a:pt x="0" y="227"/>
                      </a:lnTo>
                      <a:lnTo>
                        <a:pt x="26" y="279"/>
                      </a:lnTo>
                      <a:lnTo>
                        <a:pt x="52" y="270"/>
                      </a:lnTo>
                      <a:lnTo>
                        <a:pt x="61" y="305"/>
                      </a:lnTo>
                      <a:lnTo>
                        <a:pt x="87" y="305"/>
                      </a:lnTo>
                      <a:lnTo>
                        <a:pt x="131" y="270"/>
                      </a:lnTo>
                      <a:lnTo>
                        <a:pt x="157" y="314"/>
                      </a:lnTo>
                      <a:lnTo>
                        <a:pt x="227" y="340"/>
                      </a:lnTo>
                      <a:lnTo>
                        <a:pt x="244" y="384"/>
                      </a:lnTo>
                      <a:lnTo>
                        <a:pt x="270" y="392"/>
                      </a:lnTo>
                      <a:lnTo>
                        <a:pt x="296" y="436"/>
                      </a:lnTo>
                      <a:lnTo>
                        <a:pt x="279" y="453"/>
                      </a:lnTo>
                      <a:lnTo>
                        <a:pt x="296" y="471"/>
                      </a:lnTo>
                      <a:lnTo>
                        <a:pt x="296" y="488"/>
                      </a:lnTo>
                      <a:lnTo>
                        <a:pt x="331" y="514"/>
                      </a:lnTo>
                      <a:lnTo>
                        <a:pt x="349" y="523"/>
                      </a:lnTo>
                      <a:lnTo>
                        <a:pt x="349" y="567"/>
                      </a:lnTo>
                      <a:lnTo>
                        <a:pt x="366" y="567"/>
                      </a:lnTo>
                      <a:lnTo>
                        <a:pt x="366" y="602"/>
                      </a:lnTo>
                      <a:lnTo>
                        <a:pt x="323" y="636"/>
                      </a:lnTo>
                      <a:lnTo>
                        <a:pt x="323" y="645"/>
                      </a:lnTo>
                      <a:lnTo>
                        <a:pt x="401" y="697"/>
                      </a:lnTo>
                      <a:lnTo>
                        <a:pt x="427" y="628"/>
                      </a:lnTo>
                      <a:lnTo>
                        <a:pt x="453" y="610"/>
                      </a:lnTo>
                      <a:lnTo>
                        <a:pt x="436" y="575"/>
                      </a:lnTo>
                      <a:lnTo>
                        <a:pt x="497" y="532"/>
                      </a:lnTo>
                      <a:lnTo>
                        <a:pt x="549" y="514"/>
                      </a:lnTo>
                      <a:lnTo>
                        <a:pt x="584" y="445"/>
                      </a:lnTo>
                      <a:lnTo>
                        <a:pt x="584" y="427"/>
                      </a:lnTo>
                      <a:lnTo>
                        <a:pt x="593" y="418"/>
                      </a:lnTo>
                      <a:lnTo>
                        <a:pt x="584" y="340"/>
                      </a:lnTo>
                      <a:lnTo>
                        <a:pt x="610" y="323"/>
                      </a:lnTo>
                      <a:lnTo>
                        <a:pt x="610" y="305"/>
                      </a:lnTo>
                      <a:lnTo>
                        <a:pt x="645" y="262"/>
                      </a:lnTo>
                      <a:lnTo>
                        <a:pt x="654" y="227"/>
                      </a:lnTo>
                      <a:lnTo>
                        <a:pt x="636" y="183"/>
                      </a:lnTo>
                      <a:lnTo>
                        <a:pt x="619" y="183"/>
                      </a:lnTo>
                      <a:lnTo>
                        <a:pt x="575" y="148"/>
                      </a:lnTo>
                      <a:lnTo>
                        <a:pt x="506" y="140"/>
                      </a:lnTo>
                      <a:lnTo>
                        <a:pt x="497" y="148"/>
                      </a:lnTo>
                      <a:lnTo>
                        <a:pt x="497" y="131"/>
                      </a:lnTo>
                      <a:lnTo>
                        <a:pt x="471" y="113"/>
                      </a:lnTo>
                      <a:lnTo>
                        <a:pt x="453" y="113"/>
                      </a:lnTo>
                      <a:lnTo>
                        <a:pt x="436" y="105"/>
                      </a:lnTo>
                      <a:lnTo>
                        <a:pt x="418" y="131"/>
                      </a:lnTo>
                      <a:lnTo>
                        <a:pt x="384" y="122"/>
                      </a:lnTo>
                      <a:lnTo>
                        <a:pt x="418" y="122"/>
                      </a:lnTo>
                      <a:lnTo>
                        <a:pt x="427" y="96"/>
                      </a:lnTo>
                      <a:lnTo>
                        <a:pt x="392" y="96"/>
                      </a:lnTo>
                      <a:lnTo>
                        <a:pt x="375" y="113"/>
                      </a:lnTo>
                      <a:lnTo>
                        <a:pt x="357" y="122"/>
                      </a:lnTo>
                      <a:lnTo>
                        <a:pt x="401" y="70"/>
                      </a:lnTo>
                      <a:lnTo>
                        <a:pt x="375" y="18"/>
                      </a:lnTo>
                      <a:lnTo>
                        <a:pt x="349" y="52"/>
                      </a:lnTo>
                      <a:lnTo>
                        <a:pt x="323" y="44"/>
                      </a:lnTo>
                      <a:lnTo>
                        <a:pt x="253" y="70"/>
                      </a:lnTo>
                      <a:lnTo>
                        <a:pt x="227" y="44"/>
                      </a:lnTo>
                      <a:lnTo>
                        <a:pt x="235" y="26"/>
                      </a:lnTo>
                      <a:lnTo>
                        <a:pt x="227" y="0"/>
                      </a:lnTo>
                      <a:lnTo>
                        <a:pt x="183" y="35"/>
                      </a:lnTo>
                      <a:lnTo>
                        <a:pt x="148" y="18"/>
                      </a:lnTo>
                      <a:lnTo>
                        <a:pt x="166" y="61"/>
                      </a:lnTo>
                      <a:lnTo>
                        <a:pt x="131" y="87"/>
                      </a:lnTo>
                      <a:lnTo>
                        <a:pt x="105" y="61"/>
                      </a:lnTo>
                      <a:lnTo>
                        <a:pt x="70" y="7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3" name="Freeform 135"/>
                <p:cNvSpPr>
                  <a:spLocks/>
                </p:cNvSpPr>
                <p:nvPr/>
              </p:nvSpPr>
              <p:spPr bwMode="auto">
                <a:xfrm>
                  <a:off x="2382839" y="3759201"/>
                  <a:ext cx="1038225" cy="1106488"/>
                </a:xfrm>
                <a:custGeom>
                  <a:avLst/>
                  <a:gdLst>
                    <a:gd name="T0" fmla="*/ 2147483647 w 654"/>
                    <a:gd name="T1" fmla="*/ 2147483647 h 697"/>
                    <a:gd name="T2" fmla="*/ 2147483647 w 654"/>
                    <a:gd name="T3" fmla="*/ 2147483647 h 697"/>
                    <a:gd name="T4" fmla="*/ 2147483647 w 654"/>
                    <a:gd name="T5" fmla="*/ 2147483647 h 697"/>
                    <a:gd name="T6" fmla="*/ 0 w 654"/>
                    <a:gd name="T7" fmla="*/ 2147483647 h 697"/>
                    <a:gd name="T8" fmla="*/ 2147483647 w 654"/>
                    <a:gd name="T9" fmla="*/ 2147483647 h 697"/>
                    <a:gd name="T10" fmla="*/ 2147483647 w 654"/>
                    <a:gd name="T11" fmla="*/ 2147483647 h 697"/>
                    <a:gd name="T12" fmla="*/ 2147483647 w 654"/>
                    <a:gd name="T13" fmla="*/ 2147483647 h 697"/>
                    <a:gd name="T14" fmla="*/ 2147483647 w 654"/>
                    <a:gd name="T15" fmla="*/ 2147483647 h 697"/>
                    <a:gd name="T16" fmla="*/ 2147483647 w 654"/>
                    <a:gd name="T17" fmla="*/ 2147483647 h 697"/>
                    <a:gd name="T18" fmla="*/ 2147483647 w 654"/>
                    <a:gd name="T19" fmla="*/ 2147483647 h 697"/>
                    <a:gd name="T20" fmla="*/ 2147483647 w 654"/>
                    <a:gd name="T21" fmla="*/ 2147483647 h 697"/>
                    <a:gd name="T22" fmla="*/ 2147483647 w 654"/>
                    <a:gd name="T23" fmla="*/ 2147483647 h 697"/>
                    <a:gd name="T24" fmla="*/ 2147483647 w 654"/>
                    <a:gd name="T25" fmla="*/ 2147483647 h 697"/>
                    <a:gd name="T26" fmla="*/ 2147483647 w 654"/>
                    <a:gd name="T27" fmla="*/ 2147483647 h 697"/>
                    <a:gd name="T28" fmla="*/ 2147483647 w 654"/>
                    <a:gd name="T29" fmla="*/ 2147483647 h 697"/>
                    <a:gd name="T30" fmla="*/ 2147483647 w 654"/>
                    <a:gd name="T31" fmla="*/ 2147483647 h 697"/>
                    <a:gd name="T32" fmla="*/ 2147483647 w 654"/>
                    <a:gd name="T33" fmla="*/ 2147483647 h 697"/>
                    <a:gd name="T34" fmla="*/ 2147483647 w 654"/>
                    <a:gd name="T35" fmla="*/ 2147483647 h 697"/>
                    <a:gd name="T36" fmla="*/ 2147483647 w 654"/>
                    <a:gd name="T37" fmla="*/ 2147483647 h 697"/>
                    <a:gd name="T38" fmla="*/ 2147483647 w 654"/>
                    <a:gd name="T39" fmla="*/ 2147483647 h 697"/>
                    <a:gd name="T40" fmla="*/ 2147483647 w 654"/>
                    <a:gd name="T41" fmla="*/ 2147483647 h 697"/>
                    <a:gd name="T42" fmla="*/ 2147483647 w 654"/>
                    <a:gd name="T43" fmla="*/ 2147483647 h 697"/>
                    <a:gd name="T44" fmla="*/ 2147483647 w 654"/>
                    <a:gd name="T45" fmla="*/ 2147483647 h 697"/>
                    <a:gd name="T46" fmla="*/ 2147483647 w 654"/>
                    <a:gd name="T47" fmla="*/ 2147483647 h 697"/>
                    <a:gd name="T48" fmla="*/ 2147483647 w 654"/>
                    <a:gd name="T49" fmla="*/ 2147483647 h 697"/>
                    <a:gd name="T50" fmla="*/ 2147483647 w 654"/>
                    <a:gd name="T51" fmla="*/ 2147483647 h 697"/>
                    <a:gd name="T52" fmla="*/ 2147483647 w 654"/>
                    <a:gd name="T53" fmla="*/ 2147483647 h 697"/>
                    <a:gd name="T54" fmla="*/ 2147483647 w 654"/>
                    <a:gd name="T55" fmla="*/ 2147483647 h 697"/>
                    <a:gd name="T56" fmla="*/ 2147483647 w 654"/>
                    <a:gd name="T57" fmla="*/ 2147483647 h 697"/>
                    <a:gd name="T58" fmla="*/ 2147483647 w 654"/>
                    <a:gd name="T59" fmla="*/ 2147483647 h 697"/>
                    <a:gd name="T60" fmla="*/ 2147483647 w 654"/>
                    <a:gd name="T61" fmla="*/ 2147483647 h 697"/>
                    <a:gd name="T62" fmla="*/ 2147483647 w 654"/>
                    <a:gd name="T63" fmla="*/ 2147483647 h 697"/>
                    <a:gd name="T64" fmla="*/ 2147483647 w 654"/>
                    <a:gd name="T65" fmla="*/ 0 h 697"/>
                    <a:gd name="T66" fmla="*/ 2147483647 w 654"/>
                    <a:gd name="T67" fmla="*/ 2147483647 h 697"/>
                    <a:gd name="T68" fmla="*/ 2147483647 w 654"/>
                    <a:gd name="T69" fmla="*/ 2147483647 h 697"/>
                    <a:gd name="T70" fmla="*/ 2147483647 w 654"/>
                    <a:gd name="T71" fmla="*/ 2147483647 h 697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654"/>
                    <a:gd name="T109" fmla="*/ 0 h 697"/>
                    <a:gd name="T110" fmla="*/ 654 w 654"/>
                    <a:gd name="T111" fmla="*/ 697 h 697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654" h="697">
                      <a:moveTo>
                        <a:pt x="70" y="70"/>
                      </a:moveTo>
                      <a:lnTo>
                        <a:pt x="78" y="87"/>
                      </a:lnTo>
                      <a:lnTo>
                        <a:pt x="52" y="96"/>
                      </a:lnTo>
                      <a:lnTo>
                        <a:pt x="70" y="113"/>
                      </a:lnTo>
                      <a:lnTo>
                        <a:pt x="61" y="174"/>
                      </a:lnTo>
                      <a:lnTo>
                        <a:pt x="52" y="166"/>
                      </a:lnTo>
                      <a:lnTo>
                        <a:pt x="26" y="183"/>
                      </a:lnTo>
                      <a:lnTo>
                        <a:pt x="0" y="227"/>
                      </a:lnTo>
                      <a:lnTo>
                        <a:pt x="26" y="279"/>
                      </a:lnTo>
                      <a:lnTo>
                        <a:pt x="52" y="270"/>
                      </a:lnTo>
                      <a:lnTo>
                        <a:pt x="61" y="305"/>
                      </a:lnTo>
                      <a:lnTo>
                        <a:pt x="87" y="305"/>
                      </a:lnTo>
                      <a:lnTo>
                        <a:pt x="131" y="270"/>
                      </a:lnTo>
                      <a:lnTo>
                        <a:pt x="157" y="314"/>
                      </a:lnTo>
                      <a:lnTo>
                        <a:pt x="227" y="340"/>
                      </a:lnTo>
                      <a:lnTo>
                        <a:pt x="244" y="384"/>
                      </a:lnTo>
                      <a:lnTo>
                        <a:pt x="270" y="392"/>
                      </a:lnTo>
                      <a:lnTo>
                        <a:pt x="296" y="436"/>
                      </a:lnTo>
                      <a:lnTo>
                        <a:pt x="279" y="453"/>
                      </a:lnTo>
                      <a:lnTo>
                        <a:pt x="296" y="471"/>
                      </a:lnTo>
                      <a:lnTo>
                        <a:pt x="296" y="488"/>
                      </a:lnTo>
                      <a:lnTo>
                        <a:pt x="331" y="514"/>
                      </a:lnTo>
                      <a:lnTo>
                        <a:pt x="349" y="523"/>
                      </a:lnTo>
                      <a:lnTo>
                        <a:pt x="349" y="567"/>
                      </a:lnTo>
                      <a:lnTo>
                        <a:pt x="366" y="567"/>
                      </a:lnTo>
                      <a:lnTo>
                        <a:pt x="366" y="602"/>
                      </a:lnTo>
                      <a:lnTo>
                        <a:pt x="323" y="636"/>
                      </a:lnTo>
                      <a:lnTo>
                        <a:pt x="323" y="645"/>
                      </a:lnTo>
                      <a:lnTo>
                        <a:pt x="401" y="697"/>
                      </a:lnTo>
                      <a:lnTo>
                        <a:pt x="427" y="628"/>
                      </a:lnTo>
                      <a:lnTo>
                        <a:pt x="453" y="610"/>
                      </a:lnTo>
                      <a:lnTo>
                        <a:pt x="436" y="575"/>
                      </a:lnTo>
                      <a:lnTo>
                        <a:pt x="497" y="532"/>
                      </a:lnTo>
                      <a:lnTo>
                        <a:pt x="549" y="514"/>
                      </a:lnTo>
                      <a:lnTo>
                        <a:pt x="584" y="445"/>
                      </a:lnTo>
                      <a:lnTo>
                        <a:pt x="584" y="427"/>
                      </a:lnTo>
                      <a:lnTo>
                        <a:pt x="593" y="418"/>
                      </a:lnTo>
                      <a:lnTo>
                        <a:pt x="584" y="340"/>
                      </a:lnTo>
                      <a:lnTo>
                        <a:pt x="610" y="323"/>
                      </a:lnTo>
                      <a:lnTo>
                        <a:pt x="610" y="305"/>
                      </a:lnTo>
                      <a:lnTo>
                        <a:pt x="645" y="262"/>
                      </a:lnTo>
                      <a:lnTo>
                        <a:pt x="654" y="227"/>
                      </a:lnTo>
                      <a:lnTo>
                        <a:pt x="636" y="183"/>
                      </a:lnTo>
                      <a:lnTo>
                        <a:pt x="619" y="183"/>
                      </a:lnTo>
                      <a:lnTo>
                        <a:pt x="575" y="148"/>
                      </a:lnTo>
                      <a:lnTo>
                        <a:pt x="506" y="140"/>
                      </a:lnTo>
                      <a:lnTo>
                        <a:pt x="497" y="148"/>
                      </a:lnTo>
                      <a:lnTo>
                        <a:pt x="497" y="131"/>
                      </a:lnTo>
                      <a:lnTo>
                        <a:pt x="471" y="113"/>
                      </a:lnTo>
                      <a:lnTo>
                        <a:pt x="453" y="113"/>
                      </a:lnTo>
                      <a:lnTo>
                        <a:pt x="436" y="105"/>
                      </a:lnTo>
                      <a:lnTo>
                        <a:pt x="418" y="131"/>
                      </a:lnTo>
                      <a:lnTo>
                        <a:pt x="384" y="122"/>
                      </a:lnTo>
                      <a:lnTo>
                        <a:pt x="418" y="122"/>
                      </a:lnTo>
                      <a:lnTo>
                        <a:pt x="427" y="96"/>
                      </a:lnTo>
                      <a:lnTo>
                        <a:pt x="392" y="96"/>
                      </a:lnTo>
                      <a:lnTo>
                        <a:pt x="375" y="113"/>
                      </a:lnTo>
                      <a:lnTo>
                        <a:pt x="357" y="122"/>
                      </a:lnTo>
                      <a:lnTo>
                        <a:pt x="401" y="70"/>
                      </a:lnTo>
                      <a:lnTo>
                        <a:pt x="375" y="18"/>
                      </a:lnTo>
                      <a:lnTo>
                        <a:pt x="349" y="52"/>
                      </a:lnTo>
                      <a:lnTo>
                        <a:pt x="323" y="44"/>
                      </a:lnTo>
                      <a:lnTo>
                        <a:pt x="253" y="70"/>
                      </a:lnTo>
                      <a:lnTo>
                        <a:pt x="227" y="44"/>
                      </a:lnTo>
                      <a:lnTo>
                        <a:pt x="235" y="26"/>
                      </a:lnTo>
                      <a:lnTo>
                        <a:pt x="227" y="0"/>
                      </a:lnTo>
                      <a:lnTo>
                        <a:pt x="183" y="35"/>
                      </a:lnTo>
                      <a:lnTo>
                        <a:pt x="148" y="18"/>
                      </a:lnTo>
                      <a:lnTo>
                        <a:pt x="166" y="61"/>
                      </a:lnTo>
                      <a:lnTo>
                        <a:pt x="131" y="87"/>
                      </a:lnTo>
                      <a:lnTo>
                        <a:pt x="105" y="61"/>
                      </a:lnTo>
                      <a:lnTo>
                        <a:pt x="70" y="7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4" name="Freeform 136"/>
                <p:cNvSpPr>
                  <a:spLocks/>
                </p:cNvSpPr>
                <p:nvPr/>
              </p:nvSpPr>
              <p:spPr bwMode="auto">
                <a:xfrm>
                  <a:off x="2881314" y="4783138"/>
                  <a:ext cx="138113" cy="138113"/>
                </a:xfrm>
                <a:custGeom>
                  <a:avLst/>
                  <a:gdLst>
                    <a:gd name="T0" fmla="*/ 2147483647 w 87"/>
                    <a:gd name="T1" fmla="*/ 2147483647 h 87"/>
                    <a:gd name="T2" fmla="*/ 2147483647 w 87"/>
                    <a:gd name="T3" fmla="*/ 0 h 87"/>
                    <a:gd name="T4" fmla="*/ 0 w 87"/>
                    <a:gd name="T5" fmla="*/ 2147483647 h 87"/>
                    <a:gd name="T6" fmla="*/ 0 w 87"/>
                    <a:gd name="T7" fmla="*/ 2147483647 h 87"/>
                    <a:gd name="T8" fmla="*/ 2147483647 w 87"/>
                    <a:gd name="T9" fmla="*/ 2147483647 h 87"/>
                    <a:gd name="T10" fmla="*/ 2147483647 w 87"/>
                    <a:gd name="T11" fmla="*/ 2147483647 h 87"/>
                    <a:gd name="T12" fmla="*/ 2147483647 w 87"/>
                    <a:gd name="T13" fmla="*/ 2147483647 h 8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7"/>
                    <a:gd name="T22" fmla="*/ 0 h 87"/>
                    <a:gd name="T23" fmla="*/ 87 w 87"/>
                    <a:gd name="T24" fmla="*/ 87 h 8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7" h="87">
                      <a:moveTo>
                        <a:pt x="87" y="52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0" y="70"/>
                      </a:lnTo>
                      <a:lnTo>
                        <a:pt x="26" y="87"/>
                      </a:lnTo>
                      <a:lnTo>
                        <a:pt x="61" y="79"/>
                      </a:lnTo>
                      <a:lnTo>
                        <a:pt x="87" y="52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5" name="Freeform 137"/>
                <p:cNvSpPr>
                  <a:spLocks/>
                </p:cNvSpPr>
                <p:nvPr/>
              </p:nvSpPr>
              <p:spPr bwMode="auto">
                <a:xfrm>
                  <a:off x="2881314" y="4783138"/>
                  <a:ext cx="138113" cy="138113"/>
                </a:xfrm>
                <a:custGeom>
                  <a:avLst/>
                  <a:gdLst>
                    <a:gd name="T0" fmla="*/ 2147483647 w 87"/>
                    <a:gd name="T1" fmla="*/ 2147483647 h 87"/>
                    <a:gd name="T2" fmla="*/ 2147483647 w 87"/>
                    <a:gd name="T3" fmla="*/ 0 h 87"/>
                    <a:gd name="T4" fmla="*/ 0 w 87"/>
                    <a:gd name="T5" fmla="*/ 2147483647 h 87"/>
                    <a:gd name="T6" fmla="*/ 0 w 87"/>
                    <a:gd name="T7" fmla="*/ 2147483647 h 87"/>
                    <a:gd name="T8" fmla="*/ 2147483647 w 87"/>
                    <a:gd name="T9" fmla="*/ 2147483647 h 87"/>
                    <a:gd name="T10" fmla="*/ 2147483647 w 87"/>
                    <a:gd name="T11" fmla="*/ 2147483647 h 87"/>
                    <a:gd name="T12" fmla="*/ 2147483647 w 87"/>
                    <a:gd name="T13" fmla="*/ 2147483647 h 8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7"/>
                    <a:gd name="T22" fmla="*/ 0 h 87"/>
                    <a:gd name="T23" fmla="*/ 87 w 87"/>
                    <a:gd name="T24" fmla="*/ 87 h 8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7" h="87">
                      <a:moveTo>
                        <a:pt x="87" y="52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0" y="70"/>
                      </a:lnTo>
                      <a:lnTo>
                        <a:pt x="26" y="87"/>
                      </a:lnTo>
                      <a:lnTo>
                        <a:pt x="61" y="79"/>
                      </a:lnTo>
                      <a:lnTo>
                        <a:pt x="87" y="52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6" name="Freeform 138"/>
                <p:cNvSpPr>
                  <a:spLocks/>
                </p:cNvSpPr>
                <p:nvPr/>
              </p:nvSpPr>
              <p:spPr bwMode="auto">
                <a:xfrm>
                  <a:off x="2714626" y="4478338"/>
                  <a:ext cx="222250" cy="236538"/>
                </a:xfrm>
                <a:custGeom>
                  <a:avLst/>
                  <a:gdLst>
                    <a:gd name="T0" fmla="*/ 2147483647 w 140"/>
                    <a:gd name="T1" fmla="*/ 2147483647 h 149"/>
                    <a:gd name="T2" fmla="*/ 2147483647 w 140"/>
                    <a:gd name="T3" fmla="*/ 2147483647 h 149"/>
                    <a:gd name="T4" fmla="*/ 2147483647 w 140"/>
                    <a:gd name="T5" fmla="*/ 2147483647 h 149"/>
                    <a:gd name="T6" fmla="*/ 2147483647 w 140"/>
                    <a:gd name="T7" fmla="*/ 2147483647 h 149"/>
                    <a:gd name="T8" fmla="*/ 2147483647 w 140"/>
                    <a:gd name="T9" fmla="*/ 0 h 149"/>
                    <a:gd name="T10" fmla="*/ 2147483647 w 140"/>
                    <a:gd name="T11" fmla="*/ 0 h 149"/>
                    <a:gd name="T12" fmla="*/ 2147483647 w 140"/>
                    <a:gd name="T13" fmla="*/ 2147483647 h 149"/>
                    <a:gd name="T14" fmla="*/ 0 w 140"/>
                    <a:gd name="T15" fmla="*/ 2147483647 h 149"/>
                    <a:gd name="T16" fmla="*/ 2147483647 w 140"/>
                    <a:gd name="T17" fmla="*/ 2147483647 h 149"/>
                    <a:gd name="T18" fmla="*/ 2147483647 w 140"/>
                    <a:gd name="T19" fmla="*/ 2147483647 h 149"/>
                    <a:gd name="T20" fmla="*/ 2147483647 w 140"/>
                    <a:gd name="T21" fmla="*/ 2147483647 h 149"/>
                    <a:gd name="T22" fmla="*/ 2147483647 w 140"/>
                    <a:gd name="T23" fmla="*/ 2147483647 h 149"/>
                    <a:gd name="T24" fmla="*/ 2147483647 w 140"/>
                    <a:gd name="T25" fmla="*/ 2147483647 h 149"/>
                    <a:gd name="T26" fmla="*/ 2147483647 w 140"/>
                    <a:gd name="T27" fmla="*/ 2147483647 h 149"/>
                    <a:gd name="T28" fmla="*/ 2147483647 w 140"/>
                    <a:gd name="T29" fmla="*/ 2147483647 h 149"/>
                    <a:gd name="T30" fmla="*/ 2147483647 w 140"/>
                    <a:gd name="T31" fmla="*/ 2147483647 h 14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40"/>
                    <a:gd name="T49" fmla="*/ 0 h 149"/>
                    <a:gd name="T50" fmla="*/ 140 w 140"/>
                    <a:gd name="T51" fmla="*/ 149 h 149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40" h="149">
                      <a:moveTo>
                        <a:pt x="140" y="70"/>
                      </a:moveTo>
                      <a:lnTo>
                        <a:pt x="122" y="61"/>
                      </a:lnTo>
                      <a:lnTo>
                        <a:pt x="87" y="35"/>
                      </a:lnTo>
                      <a:lnTo>
                        <a:pt x="87" y="18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9" y="9"/>
                      </a:lnTo>
                      <a:lnTo>
                        <a:pt x="0" y="44"/>
                      </a:lnTo>
                      <a:lnTo>
                        <a:pt x="26" y="79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87" y="140"/>
                      </a:lnTo>
                      <a:lnTo>
                        <a:pt x="122" y="149"/>
                      </a:lnTo>
                      <a:lnTo>
                        <a:pt x="140" y="131"/>
                      </a:lnTo>
                      <a:lnTo>
                        <a:pt x="140" y="114"/>
                      </a:lnTo>
                      <a:lnTo>
                        <a:pt x="140" y="7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7" name="Freeform 139"/>
                <p:cNvSpPr>
                  <a:spLocks/>
                </p:cNvSpPr>
                <p:nvPr/>
              </p:nvSpPr>
              <p:spPr bwMode="auto">
                <a:xfrm>
                  <a:off x="2714626" y="4478338"/>
                  <a:ext cx="222250" cy="236538"/>
                </a:xfrm>
                <a:custGeom>
                  <a:avLst/>
                  <a:gdLst>
                    <a:gd name="T0" fmla="*/ 2147483647 w 140"/>
                    <a:gd name="T1" fmla="*/ 2147483647 h 149"/>
                    <a:gd name="T2" fmla="*/ 2147483647 w 140"/>
                    <a:gd name="T3" fmla="*/ 2147483647 h 149"/>
                    <a:gd name="T4" fmla="*/ 2147483647 w 140"/>
                    <a:gd name="T5" fmla="*/ 2147483647 h 149"/>
                    <a:gd name="T6" fmla="*/ 2147483647 w 140"/>
                    <a:gd name="T7" fmla="*/ 2147483647 h 149"/>
                    <a:gd name="T8" fmla="*/ 2147483647 w 140"/>
                    <a:gd name="T9" fmla="*/ 0 h 149"/>
                    <a:gd name="T10" fmla="*/ 2147483647 w 140"/>
                    <a:gd name="T11" fmla="*/ 0 h 149"/>
                    <a:gd name="T12" fmla="*/ 2147483647 w 140"/>
                    <a:gd name="T13" fmla="*/ 2147483647 h 149"/>
                    <a:gd name="T14" fmla="*/ 0 w 140"/>
                    <a:gd name="T15" fmla="*/ 2147483647 h 149"/>
                    <a:gd name="T16" fmla="*/ 2147483647 w 140"/>
                    <a:gd name="T17" fmla="*/ 2147483647 h 149"/>
                    <a:gd name="T18" fmla="*/ 2147483647 w 140"/>
                    <a:gd name="T19" fmla="*/ 2147483647 h 149"/>
                    <a:gd name="T20" fmla="*/ 2147483647 w 140"/>
                    <a:gd name="T21" fmla="*/ 2147483647 h 149"/>
                    <a:gd name="T22" fmla="*/ 2147483647 w 140"/>
                    <a:gd name="T23" fmla="*/ 2147483647 h 149"/>
                    <a:gd name="T24" fmla="*/ 2147483647 w 140"/>
                    <a:gd name="T25" fmla="*/ 2147483647 h 149"/>
                    <a:gd name="T26" fmla="*/ 2147483647 w 140"/>
                    <a:gd name="T27" fmla="*/ 2147483647 h 149"/>
                    <a:gd name="T28" fmla="*/ 2147483647 w 140"/>
                    <a:gd name="T29" fmla="*/ 2147483647 h 149"/>
                    <a:gd name="T30" fmla="*/ 2147483647 w 140"/>
                    <a:gd name="T31" fmla="*/ 2147483647 h 14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40"/>
                    <a:gd name="T49" fmla="*/ 0 h 149"/>
                    <a:gd name="T50" fmla="*/ 140 w 140"/>
                    <a:gd name="T51" fmla="*/ 149 h 149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40" h="149">
                      <a:moveTo>
                        <a:pt x="140" y="70"/>
                      </a:moveTo>
                      <a:lnTo>
                        <a:pt x="122" y="61"/>
                      </a:lnTo>
                      <a:lnTo>
                        <a:pt x="87" y="35"/>
                      </a:lnTo>
                      <a:lnTo>
                        <a:pt x="87" y="18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9" y="9"/>
                      </a:lnTo>
                      <a:lnTo>
                        <a:pt x="0" y="44"/>
                      </a:lnTo>
                      <a:lnTo>
                        <a:pt x="26" y="79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87" y="140"/>
                      </a:lnTo>
                      <a:lnTo>
                        <a:pt x="122" y="149"/>
                      </a:lnTo>
                      <a:lnTo>
                        <a:pt x="140" y="131"/>
                      </a:lnTo>
                      <a:lnTo>
                        <a:pt x="140" y="114"/>
                      </a:lnTo>
                      <a:lnTo>
                        <a:pt x="140" y="7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8" name="Freeform 140"/>
                <p:cNvSpPr>
                  <a:spLocks/>
                </p:cNvSpPr>
                <p:nvPr/>
              </p:nvSpPr>
              <p:spPr bwMode="auto">
                <a:xfrm>
                  <a:off x="2409826" y="3565526"/>
                  <a:ext cx="333375" cy="331788"/>
                </a:xfrm>
                <a:custGeom>
                  <a:avLst/>
                  <a:gdLst>
                    <a:gd name="T0" fmla="*/ 2147483647 w 210"/>
                    <a:gd name="T1" fmla="*/ 2147483647 h 209"/>
                    <a:gd name="T2" fmla="*/ 2147483647 w 210"/>
                    <a:gd name="T3" fmla="*/ 2147483647 h 209"/>
                    <a:gd name="T4" fmla="*/ 2147483647 w 210"/>
                    <a:gd name="T5" fmla="*/ 2147483647 h 209"/>
                    <a:gd name="T6" fmla="*/ 2147483647 w 210"/>
                    <a:gd name="T7" fmla="*/ 2147483647 h 209"/>
                    <a:gd name="T8" fmla="*/ 2147483647 w 210"/>
                    <a:gd name="T9" fmla="*/ 2147483647 h 209"/>
                    <a:gd name="T10" fmla="*/ 2147483647 w 210"/>
                    <a:gd name="T11" fmla="*/ 2147483647 h 209"/>
                    <a:gd name="T12" fmla="*/ 2147483647 w 210"/>
                    <a:gd name="T13" fmla="*/ 0 h 209"/>
                    <a:gd name="T14" fmla="*/ 2147483647 w 210"/>
                    <a:gd name="T15" fmla="*/ 2147483647 h 209"/>
                    <a:gd name="T16" fmla="*/ 2147483647 w 210"/>
                    <a:gd name="T17" fmla="*/ 2147483647 h 209"/>
                    <a:gd name="T18" fmla="*/ 2147483647 w 210"/>
                    <a:gd name="T19" fmla="*/ 2147483647 h 209"/>
                    <a:gd name="T20" fmla="*/ 2147483647 w 210"/>
                    <a:gd name="T21" fmla="*/ 2147483647 h 209"/>
                    <a:gd name="T22" fmla="*/ 2147483647 w 210"/>
                    <a:gd name="T23" fmla="*/ 2147483647 h 209"/>
                    <a:gd name="T24" fmla="*/ 2147483647 w 210"/>
                    <a:gd name="T25" fmla="*/ 0 h 209"/>
                    <a:gd name="T26" fmla="*/ 0 w 210"/>
                    <a:gd name="T27" fmla="*/ 2147483647 h 209"/>
                    <a:gd name="T28" fmla="*/ 0 w 210"/>
                    <a:gd name="T29" fmla="*/ 2147483647 h 209"/>
                    <a:gd name="T30" fmla="*/ 2147483647 w 210"/>
                    <a:gd name="T31" fmla="*/ 2147483647 h 209"/>
                    <a:gd name="T32" fmla="*/ 2147483647 w 210"/>
                    <a:gd name="T33" fmla="*/ 2147483647 h 209"/>
                    <a:gd name="T34" fmla="*/ 2147483647 w 210"/>
                    <a:gd name="T35" fmla="*/ 2147483647 h 209"/>
                    <a:gd name="T36" fmla="*/ 2147483647 w 210"/>
                    <a:gd name="T37" fmla="*/ 2147483647 h 209"/>
                    <a:gd name="T38" fmla="*/ 2147483647 w 210"/>
                    <a:gd name="T39" fmla="*/ 2147483647 h 209"/>
                    <a:gd name="T40" fmla="*/ 2147483647 w 210"/>
                    <a:gd name="T41" fmla="*/ 2147483647 h 209"/>
                    <a:gd name="T42" fmla="*/ 2147483647 w 210"/>
                    <a:gd name="T43" fmla="*/ 2147483647 h 209"/>
                    <a:gd name="T44" fmla="*/ 2147483647 w 210"/>
                    <a:gd name="T45" fmla="*/ 2147483647 h 209"/>
                    <a:gd name="T46" fmla="*/ 2147483647 w 210"/>
                    <a:gd name="T47" fmla="*/ 2147483647 h 209"/>
                    <a:gd name="T48" fmla="*/ 2147483647 w 210"/>
                    <a:gd name="T49" fmla="*/ 2147483647 h 209"/>
                    <a:gd name="T50" fmla="*/ 2147483647 w 210"/>
                    <a:gd name="T51" fmla="*/ 2147483647 h 209"/>
                    <a:gd name="T52" fmla="*/ 2147483647 w 210"/>
                    <a:gd name="T53" fmla="*/ 2147483647 h 209"/>
                    <a:gd name="T54" fmla="*/ 2147483647 w 210"/>
                    <a:gd name="T55" fmla="*/ 2147483647 h 209"/>
                    <a:gd name="T56" fmla="*/ 2147483647 w 210"/>
                    <a:gd name="T57" fmla="*/ 2147483647 h 209"/>
                    <a:gd name="T58" fmla="*/ 2147483647 w 210"/>
                    <a:gd name="T59" fmla="*/ 2147483647 h 209"/>
                    <a:gd name="T60" fmla="*/ 2147483647 w 210"/>
                    <a:gd name="T61" fmla="*/ 2147483647 h 209"/>
                    <a:gd name="T62" fmla="*/ 2147483647 w 210"/>
                    <a:gd name="T63" fmla="*/ 2147483647 h 209"/>
                    <a:gd name="T64" fmla="*/ 2147483647 w 210"/>
                    <a:gd name="T65" fmla="*/ 2147483647 h 209"/>
                    <a:gd name="T66" fmla="*/ 2147483647 w 210"/>
                    <a:gd name="T67" fmla="*/ 2147483647 h 209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10"/>
                    <a:gd name="T103" fmla="*/ 0 h 209"/>
                    <a:gd name="T104" fmla="*/ 210 w 210"/>
                    <a:gd name="T105" fmla="*/ 209 h 209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10" h="209">
                      <a:moveTo>
                        <a:pt x="140" y="26"/>
                      </a:moveTo>
                      <a:lnTo>
                        <a:pt x="140" y="35"/>
                      </a:lnTo>
                      <a:lnTo>
                        <a:pt x="131" y="44"/>
                      </a:lnTo>
                      <a:lnTo>
                        <a:pt x="114" y="35"/>
                      </a:lnTo>
                      <a:lnTo>
                        <a:pt x="70" y="35"/>
                      </a:lnTo>
                      <a:lnTo>
                        <a:pt x="70" y="18"/>
                      </a:lnTo>
                      <a:lnTo>
                        <a:pt x="44" y="0"/>
                      </a:lnTo>
                      <a:lnTo>
                        <a:pt x="44" y="18"/>
                      </a:lnTo>
                      <a:lnTo>
                        <a:pt x="35" y="26"/>
                      </a:lnTo>
                      <a:lnTo>
                        <a:pt x="35" y="61"/>
                      </a:lnTo>
                      <a:lnTo>
                        <a:pt x="18" y="52"/>
                      </a:lnTo>
                      <a:lnTo>
                        <a:pt x="18" y="35"/>
                      </a:lnTo>
                      <a:lnTo>
                        <a:pt x="27" y="0"/>
                      </a:lnTo>
                      <a:lnTo>
                        <a:pt x="0" y="35"/>
                      </a:lnTo>
                      <a:lnTo>
                        <a:pt x="0" y="70"/>
                      </a:lnTo>
                      <a:lnTo>
                        <a:pt x="44" y="96"/>
                      </a:lnTo>
                      <a:lnTo>
                        <a:pt x="53" y="113"/>
                      </a:lnTo>
                      <a:lnTo>
                        <a:pt x="88" y="105"/>
                      </a:lnTo>
                      <a:lnTo>
                        <a:pt x="88" y="122"/>
                      </a:lnTo>
                      <a:lnTo>
                        <a:pt x="88" y="157"/>
                      </a:lnTo>
                      <a:lnTo>
                        <a:pt x="88" y="183"/>
                      </a:lnTo>
                      <a:lnTo>
                        <a:pt x="114" y="209"/>
                      </a:lnTo>
                      <a:lnTo>
                        <a:pt x="149" y="183"/>
                      </a:lnTo>
                      <a:lnTo>
                        <a:pt x="131" y="140"/>
                      </a:lnTo>
                      <a:lnTo>
                        <a:pt x="166" y="157"/>
                      </a:lnTo>
                      <a:lnTo>
                        <a:pt x="210" y="122"/>
                      </a:lnTo>
                      <a:lnTo>
                        <a:pt x="192" y="105"/>
                      </a:lnTo>
                      <a:lnTo>
                        <a:pt x="210" y="96"/>
                      </a:lnTo>
                      <a:lnTo>
                        <a:pt x="210" y="70"/>
                      </a:lnTo>
                      <a:lnTo>
                        <a:pt x="192" y="44"/>
                      </a:lnTo>
                      <a:lnTo>
                        <a:pt x="184" y="52"/>
                      </a:lnTo>
                      <a:lnTo>
                        <a:pt x="166" y="35"/>
                      </a:lnTo>
                      <a:lnTo>
                        <a:pt x="175" y="26"/>
                      </a:lnTo>
                      <a:lnTo>
                        <a:pt x="14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9" name="Freeform 141"/>
                <p:cNvSpPr>
                  <a:spLocks/>
                </p:cNvSpPr>
                <p:nvPr/>
              </p:nvSpPr>
              <p:spPr bwMode="auto">
                <a:xfrm>
                  <a:off x="2409826" y="3565526"/>
                  <a:ext cx="333375" cy="331788"/>
                </a:xfrm>
                <a:custGeom>
                  <a:avLst/>
                  <a:gdLst>
                    <a:gd name="T0" fmla="*/ 2147483647 w 210"/>
                    <a:gd name="T1" fmla="*/ 2147483647 h 209"/>
                    <a:gd name="T2" fmla="*/ 2147483647 w 210"/>
                    <a:gd name="T3" fmla="*/ 2147483647 h 209"/>
                    <a:gd name="T4" fmla="*/ 2147483647 w 210"/>
                    <a:gd name="T5" fmla="*/ 2147483647 h 209"/>
                    <a:gd name="T6" fmla="*/ 2147483647 w 210"/>
                    <a:gd name="T7" fmla="*/ 2147483647 h 209"/>
                    <a:gd name="T8" fmla="*/ 2147483647 w 210"/>
                    <a:gd name="T9" fmla="*/ 2147483647 h 209"/>
                    <a:gd name="T10" fmla="*/ 2147483647 w 210"/>
                    <a:gd name="T11" fmla="*/ 2147483647 h 209"/>
                    <a:gd name="T12" fmla="*/ 2147483647 w 210"/>
                    <a:gd name="T13" fmla="*/ 0 h 209"/>
                    <a:gd name="T14" fmla="*/ 2147483647 w 210"/>
                    <a:gd name="T15" fmla="*/ 2147483647 h 209"/>
                    <a:gd name="T16" fmla="*/ 2147483647 w 210"/>
                    <a:gd name="T17" fmla="*/ 2147483647 h 209"/>
                    <a:gd name="T18" fmla="*/ 2147483647 w 210"/>
                    <a:gd name="T19" fmla="*/ 2147483647 h 209"/>
                    <a:gd name="T20" fmla="*/ 2147483647 w 210"/>
                    <a:gd name="T21" fmla="*/ 2147483647 h 209"/>
                    <a:gd name="T22" fmla="*/ 2147483647 w 210"/>
                    <a:gd name="T23" fmla="*/ 2147483647 h 209"/>
                    <a:gd name="T24" fmla="*/ 2147483647 w 210"/>
                    <a:gd name="T25" fmla="*/ 0 h 209"/>
                    <a:gd name="T26" fmla="*/ 0 w 210"/>
                    <a:gd name="T27" fmla="*/ 2147483647 h 209"/>
                    <a:gd name="T28" fmla="*/ 0 w 210"/>
                    <a:gd name="T29" fmla="*/ 2147483647 h 209"/>
                    <a:gd name="T30" fmla="*/ 2147483647 w 210"/>
                    <a:gd name="T31" fmla="*/ 2147483647 h 209"/>
                    <a:gd name="T32" fmla="*/ 2147483647 w 210"/>
                    <a:gd name="T33" fmla="*/ 2147483647 h 209"/>
                    <a:gd name="T34" fmla="*/ 2147483647 w 210"/>
                    <a:gd name="T35" fmla="*/ 2147483647 h 209"/>
                    <a:gd name="T36" fmla="*/ 2147483647 w 210"/>
                    <a:gd name="T37" fmla="*/ 2147483647 h 209"/>
                    <a:gd name="T38" fmla="*/ 2147483647 w 210"/>
                    <a:gd name="T39" fmla="*/ 2147483647 h 209"/>
                    <a:gd name="T40" fmla="*/ 2147483647 w 210"/>
                    <a:gd name="T41" fmla="*/ 2147483647 h 209"/>
                    <a:gd name="T42" fmla="*/ 2147483647 w 210"/>
                    <a:gd name="T43" fmla="*/ 2147483647 h 209"/>
                    <a:gd name="T44" fmla="*/ 2147483647 w 210"/>
                    <a:gd name="T45" fmla="*/ 2147483647 h 209"/>
                    <a:gd name="T46" fmla="*/ 2147483647 w 210"/>
                    <a:gd name="T47" fmla="*/ 2147483647 h 209"/>
                    <a:gd name="T48" fmla="*/ 2147483647 w 210"/>
                    <a:gd name="T49" fmla="*/ 2147483647 h 209"/>
                    <a:gd name="T50" fmla="*/ 2147483647 w 210"/>
                    <a:gd name="T51" fmla="*/ 2147483647 h 209"/>
                    <a:gd name="T52" fmla="*/ 2147483647 w 210"/>
                    <a:gd name="T53" fmla="*/ 2147483647 h 209"/>
                    <a:gd name="T54" fmla="*/ 2147483647 w 210"/>
                    <a:gd name="T55" fmla="*/ 2147483647 h 209"/>
                    <a:gd name="T56" fmla="*/ 2147483647 w 210"/>
                    <a:gd name="T57" fmla="*/ 2147483647 h 209"/>
                    <a:gd name="T58" fmla="*/ 2147483647 w 210"/>
                    <a:gd name="T59" fmla="*/ 2147483647 h 209"/>
                    <a:gd name="T60" fmla="*/ 2147483647 w 210"/>
                    <a:gd name="T61" fmla="*/ 2147483647 h 209"/>
                    <a:gd name="T62" fmla="*/ 2147483647 w 210"/>
                    <a:gd name="T63" fmla="*/ 2147483647 h 209"/>
                    <a:gd name="T64" fmla="*/ 2147483647 w 210"/>
                    <a:gd name="T65" fmla="*/ 2147483647 h 209"/>
                    <a:gd name="T66" fmla="*/ 2147483647 w 210"/>
                    <a:gd name="T67" fmla="*/ 2147483647 h 209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10"/>
                    <a:gd name="T103" fmla="*/ 0 h 209"/>
                    <a:gd name="T104" fmla="*/ 210 w 210"/>
                    <a:gd name="T105" fmla="*/ 209 h 209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10" h="209">
                      <a:moveTo>
                        <a:pt x="140" y="26"/>
                      </a:moveTo>
                      <a:lnTo>
                        <a:pt x="140" y="35"/>
                      </a:lnTo>
                      <a:lnTo>
                        <a:pt x="131" y="44"/>
                      </a:lnTo>
                      <a:lnTo>
                        <a:pt x="114" y="35"/>
                      </a:lnTo>
                      <a:lnTo>
                        <a:pt x="70" y="35"/>
                      </a:lnTo>
                      <a:lnTo>
                        <a:pt x="70" y="18"/>
                      </a:lnTo>
                      <a:lnTo>
                        <a:pt x="44" y="0"/>
                      </a:lnTo>
                      <a:lnTo>
                        <a:pt x="44" y="18"/>
                      </a:lnTo>
                      <a:lnTo>
                        <a:pt x="35" y="26"/>
                      </a:lnTo>
                      <a:lnTo>
                        <a:pt x="35" y="61"/>
                      </a:lnTo>
                      <a:lnTo>
                        <a:pt x="18" y="52"/>
                      </a:lnTo>
                      <a:lnTo>
                        <a:pt x="18" y="35"/>
                      </a:lnTo>
                      <a:lnTo>
                        <a:pt x="27" y="0"/>
                      </a:lnTo>
                      <a:lnTo>
                        <a:pt x="0" y="35"/>
                      </a:lnTo>
                      <a:lnTo>
                        <a:pt x="0" y="70"/>
                      </a:lnTo>
                      <a:lnTo>
                        <a:pt x="44" y="96"/>
                      </a:lnTo>
                      <a:lnTo>
                        <a:pt x="53" y="113"/>
                      </a:lnTo>
                      <a:lnTo>
                        <a:pt x="88" y="105"/>
                      </a:lnTo>
                      <a:lnTo>
                        <a:pt x="88" y="122"/>
                      </a:lnTo>
                      <a:lnTo>
                        <a:pt x="88" y="157"/>
                      </a:lnTo>
                      <a:lnTo>
                        <a:pt x="88" y="183"/>
                      </a:lnTo>
                      <a:lnTo>
                        <a:pt x="114" y="209"/>
                      </a:lnTo>
                      <a:lnTo>
                        <a:pt x="149" y="183"/>
                      </a:lnTo>
                      <a:lnTo>
                        <a:pt x="131" y="140"/>
                      </a:lnTo>
                      <a:lnTo>
                        <a:pt x="166" y="157"/>
                      </a:lnTo>
                      <a:lnTo>
                        <a:pt x="210" y="122"/>
                      </a:lnTo>
                      <a:lnTo>
                        <a:pt x="192" y="105"/>
                      </a:lnTo>
                      <a:lnTo>
                        <a:pt x="210" y="96"/>
                      </a:lnTo>
                      <a:lnTo>
                        <a:pt x="210" y="70"/>
                      </a:lnTo>
                      <a:lnTo>
                        <a:pt x="192" y="44"/>
                      </a:lnTo>
                      <a:lnTo>
                        <a:pt x="184" y="52"/>
                      </a:lnTo>
                      <a:lnTo>
                        <a:pt x="166" y="35"/>
                      </a:lnTo>
                      <a:lnTo>
                        <a:pt x="175" y="26"/>
                      </a:lnTo>
                      <a:lnTo>
                        <a:pt x="140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0" name="Freeform 142"/>
                <p:cNvSpPr>
                  <a:spLocks/>
                </p:cNvSpPr>
                <p:nvPr/>
              </p:nvSpPr>
              <p:spPr bwMode="auto">
                <a:xfrm>
                  <a:off x="2895601" y="3744913"/>
                  <a:ext cx="82550" cy="96838"/>
                </a:xfrm>
                <a:custGeom>
                  <a:avLst/>
                  <a:gdLst>
                    <a:gd name="T0" fmla="*/ 0 w 52"/>
                    <a:gd name="T1" fmla="*/ 2147483647 h 61"/>
                    <a:gd name="T2" fmla="*/ 2147483647 w 52"/>
                    <a:gd name="T3" fmla="*/ 2147483647 h 61"/>
                    <a:gd name="T4" fmla="*/ 2147483647 w 52"/>
                    <a:gd name="T5" fmla="*/ 2147483647 h 61"/>
                    <a:gd name="T6" fmla="*/ 2147483647 w 52"/>
                    <a:gd name="T7" fmla="*/ 0 h 61"/>
                    <a:gd name="T8" fmla="*/ 0 w 52"/>
                    <a:gd name="T9" fmla="*/ 2147483647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2"/>
                    <a:gd name="T16" fmla="*/ 0 h 61"/>
                    <a:gd name="T17" fmla="*/ 52 w 52"/>
                    <a:gd name="T18" fmla="*/ 61 h 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2" h="61">
                      <a:moveTo>
                        <a:pt x="0" y="53"/>
                      </a:moveTo>
                      <a:lnTo>
                        <a:pt x="26" y="61"/>
                      </a:lnTo>
                      <a:lnTo>
                        <a:pt x="52" y="27"/>
                      </a:lnTo>
                      <a:lnTo>
                        <a:pt x="8" y="0"/>
                      </a:lnTo>
                      <a:lnTo>
                        <a:pt x="0" y="53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1" name="Freeform 143"/>
                <p:cNvSpPr>
                  <a:spLocks/>
                </p:cNvSpPr>
                <p:nvPr/>
              </p:nvSpPr>
              <p:spPr bwMode="auto">
                <a:xfrm>
                  <a:off x="2895601" y="3744913"/>
                  <a:ext cx="82550" cy="96838"/>
                </a:xfrm>
                <a:custGeom>
                  <a:avLst/>
                  <a:gdLst>
                    <a:gd name="T0" fmla="*/ 0 w 52"/>
                    <a:gd name="T1" fmla="*/ 2147483647 h 61"/>
                    <a:gd name="T2" fmla="*/ 2147483647 w 52"/>
                    <a:gd name="T3" fmla="*/ 2147483647 h 61"/>
                    <a:gd name="T4" fmla="*/ 2147483647 w 52"/>
                    <a:gd name="T5" fmla="*/ 2147483647 h 61"/>
                    <a:gd name="T6" fmla="*/ 2147483647 w 52"/>
                    <a:gd name="T7" fmla="*/ 0 h 61"/>
                    <a:gd name="T8" fmla="*/ 0 w 52"/>
                    <a:gd name="T9" fmla="*/ 2147483647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2"/>
                    <a:gd name="T16" fmla="*/ 0 h 61"/>
                    <a:gd name="T17" fmla="*/ 52 w 52"/>
                    <a:gd name="T18" fmla="*/ 61 h 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2" h="61">
                      <a:moveTo>
                        <a:pt x="0" y="53"/>
                      </a:moveTo>
                      <a:lnTo>
                        <a:pt x="26" y="61"/>
                      </a:lnTo>
                      <a:lnTo>
                        <a:pt x="52" y="27"/>
                      </a:lnTo>
                      <a:lnTo>
                        <a:pt x="8" y="0"/>
                      </a:lnTo>
                      <a:lnTo>
                        <a:pt x="0" y="53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2" name="Freeform 144"/>
                <p:cNvSpPr>
                  <a:spLocks/>
                </p:cNvSpPr>
                <p:nvPr/>
              </p:nvSpPr>
              <p:spPr bwMode="auto">
                <a:xfrm>
                  <a:off x="2811464" y="3744913"/>
                  <a:ext cx="96838" cy="96838"/>
                </a:xfrm>
                <a:custGeom>
                  <a:avLst/>
                  <a:gdLst>
                    <a:gd name="T0" fmla="*/ 2147483647 w 61"/>
                    <a:gd name="T1" fmla="*/ 0 h 61"/>
                    <a:gd name="T2" fmla="*/ 2147483647 w 61"/>
                    <a:gd name="T3" fmla="*/ 0 h 61"/>
                    <a:gd name="T4" fmla="*/ 0 w 61"/>
                    <a:gd name="T5" fmla="*/ 2147483647 h 61"/>
                    <a:gd name="T6" fmla="*/ 2147483647 w 61"/>
                    <a:gd name="T7" fmla="*/ 2147483647 h 61"/>
                    <a:gd name="T8" fmla="*/ 2147483647 w 61"/>
                    <a:gd name="T9" fmla="*/ 2147483647 h 61"/>
                    <a:gd name="T10" fmla="*/ 2147483647 w 61"/>
                    <a:gd name="T11" fmla="*/ 0 h 6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61"/>
                    <a:gd name="T20" fmla="*/ 61 w 61"/>
                    <a:gd name="T21" fmla="*/ 61 h 6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61">
                      <a:moveTo>
                        <a:pt x="61" y="0"/>
                      </a:moveTo>
                      <a:lnTo>
                        <a:pt x="9" y="0"/>
                      </a:lnTo>
                      <a:lnTo>
                        <a:pt x="0" y="27"/>
                      </a:lnTo>
                      <a:lnTo>
                        <a:pt x="26" y="61"/>
                      </a:lnTo>
                      <a:lnTo>
                        <a:pt x="53" y="53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3" name="Freeform 145"/>
                <p:cNvSpPr>
                  <a:spLocks/>
                </p:cNvSpPr>
                <p:nvPr/>
              </p:nvSpPr>
              <p:spPr bwMode="auto">
                <a:xfrm>
                  <a:off x="2811464" y="3744913"/>
                  <a:ext cx="96838" cy="96838"/>
                </a:xfrm>
                <a:custGeom>
                  <a:avLst/>
                  <a:gdLst>
                    <a:gd name="T0" fmla="*/ 2147483647 w 61"/>
                    <a:gd name="T1" fmla="*/ 0 h 61"/>
                    <a:gd name="T2" fmla="*/ 2147483647 w 61"/>
                    <a:gd name="T3" fmla="*/ 0 h 61"/>
                    <a:gd name="T4" fmla="*/ 0 w 61"/>
                    <a:gd name="T5" fmla="*/ 2147483647 h 61"/>
                    <a:gd name="T6" fmla="*/ 2147483647 w 61"/>
                    <a:gd name="T7" fmla="*/ 2147483647 h 61"/>
                    <a:gd name="T8" fmla="*/ 2147483647 w 61"/>
                    <a:gd name="T9" fmla="*/ 2147483647 h 61"/>
                    <a:gd name="T10" fmla="*/ 2147483647 w 61"/>
                    <a:gd name="T11" fmla="*/ 0 h 6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61"/>
                    <a:gd name="T20" fmla="*/ 61 w 61"/>
                    <a:gd name="T21" fmla="*/ 61 h 6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61">
                      <a:moveTo>
                        <a:pt x="61" y="0"/>
                      </a:moveTo>
                      <a:lnTo>
                        <a:pt x="9" y="0"/>
                      </a:lnTo>
                      <a:lnTo>
                        <a:pt x="0" y="27"/>
                      </a:lnTo>
                      <a:lnTo>
                        <a:pt x="26" y="61"/>
                      </a:lnTo>
                      <a:lnTo>
                        <a:pt x="53" y="53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4" name="Freeform 146"/>
                <p:cNvSpPr>
                  <a:spLocks/>
                </p:cNvSpPr>
                <p:nvPr/>
              </p:nvSpPr>
              <p:spPr bwMode="auto">
                <a:xfrm>
                  <a:off x="2714626" y="3676651"/>
                  <a:ext cx="138113" cy="193675"/>
                </a:xfrm>
                <a:custGeom>
                  <a:avLst/>
                  <a:gdLst>
                    <a:gd name="T0" fmla="*/ 2147483647 w 87"/>
                    <a:gd name="T1" fmla="*/ 0 h 122"/>
                    <a:gd name="T2" fmla="*/ 2147483647 w 87"/>
                    <a:gd name="T3" fmla="*/ 2147483647 h 122"/>
                    <a:gd name="T4" fmla="*/ 0 w 87"/>
                    <a:gd name="T5" fmla="*/ 2147483647 h 122"/>
                    <a:gd name="T6" fmla="*/ 2147483647 w 87"/>
                    <a:gd name="T7" fmla="*/ 2147483647 h 122"/>
                    <a:gd name="T8" fmla="*/ 2147483647 w 87"/>
                    <a:gd name="T9" fmla="*/ 2147483647 h 122"/>
                    <a:gd name="T10" fmla="*/ 2147483647 w 87"/>
                    <a:gd name="T11" fmla="*/ 2147483647 h 122"/>
                    <a:gd name="T12" fmla="*/ 2147483647 w 87"/>
                    <a:gd name="T13" fmla="*/ 2147483647 h 122"/>
                    <a:gd name="T14" fmla="*/ 2147483647 w 87"/>
                    <a:gd name="T15" fmla="*/ 2147483647 h 122"/>
                    <a:gd name="T16" fmla="*/ 2147483647 w 87"/>
                    <a:gd name="T17" fmla="*/ 2147483647 h 122"/>
                    <a:gd name="T18" fmla="*/ 2147483647 w 87"/>
                    <a:gd name="T19" fmla="*/ 0 h 12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122"/>
                    <a:gd name="T32" fmla="*/ 87 w 87"/>
                    <a:gd name="T33" fmla="*/ 122 h 12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122">
                      <a:moveTo>
                        <a:pt x="18" y="0"/>
                      </a:moveTo>
                      <a:lnTo>
                        <a:pt x="18" y="26"/>
                      </a:lnTo>
                      <a:lnTo>
                        <a:pt x="0" y="35"/>
                      </a:lnTo>
                      <a:lnTo>
                        <a:pt x="26" y="78"/>
                      </a:lnTo>
                      <a:lnTo>
                        <a:pt x="18" y="96"/>
                      </a:lnTo>
                      <a:lnTo>
                        <a:pt x="44" y="122"/>
                      </a:lnTo>
                      <a:lnTo>
                        <a:pt x="87" y="104"/>
                      </a:lnTo>
                      <a:lnTo>
                        <a:pt x="61" y="70"/>
                      </a:lnTo>
                      <a:lnTo>
                        <a:pt x="70" y="43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5" name="Freeform 147"/>
                <p:cNvSpPr>
                  <a:spLocks/>
                </p:cNvSpPr>
                <p:nvPr/>
              </p:nvSpPr>
              <p:spPr bwMode="auto">
                <a:xfrm>
                  <a:off x="2714626" y="3676651"/>
                  <a:ext cx="138113" cy="193675"/>
                </a:xfrm>
                <a:custGeom>
                  <a:avLst/>
                  <a:gdLst>
                    <a:gd name="T0" fmla="*/ 2147483647 w 87"/>
                    <a:gd name="T1" fmla="*/ 0 h 122"/>
                    <a:gd name="T2" fmla="*/ 2147483647 w 87"/>
                    <a:gd name="T3" fmla="*/ 2147483647 h 122"/>
                    <a:gd name="T4" fmla="*/ 0 w 87"/>
                    <a:gd name="T5" fmla="*/ 2147483647 h 122"/>
                    <a:gd name="T6" fmla="*/ 2147483647 w 87"/>
                    <a:gd name="T7" fmla="*/ 2147483647 h 122"/>
                    <a:gd name="T8" fmla="*/ 2147483647 w 87"/>
                    <a:gd name="T9" fmla="*/ 2147483647 h 122"/>
                    <a:gd name="T10" fmla="*/ 2147483647 w 87"/>
                    <a:gd name="T11" fmla="*/ 2147483647 h 122"/>
                    <a:gd name="T12" fmla="*/ 2147483647 w 87"/>
                    <a:gd name="T13" fmla="*/ 2147483647 h 122"/>
                    <a:gd name="T14" fmla="*/ 2147483647 w 87"/>
                    <a:gd name="T15" fmla="*/ 2147483647 h 122"/>
                    <a:gd name="T16" fmla="*/ 2147483647 w 87"/>
                    <a:gd name="T17" fmla="*/ 2147483647 h 122"/>
                    <a:gd name="T18" fmla="*/ 2147483647 w 87"/>
                    <a:gd name="T19" fmla="*/ 0 h 12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122"/>
                    <a:gd name="T32" fmla="*/ 87 w 87"/>
                    <a:gd name="T33" fmla="*/ 122 h 12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122">
                      <a:moveTo>
                        <a:pt x="18" y="0"/>
                      </a:moveTo>
                      <a:lnTo>
                        <a:pt x="18" y="26"/>
                      </a:lnTo>
                      <a:lnTo>
                        <a:pt x="0" y="35"/>
                      </a:lnTo>
                      <a:lnTo>
                        <a:pt x="26" y="78"/>
                      </a:lnTo>
                      <a:lnTo>
                        <a:pt x="18" y="96"/>
                      </a:lnTo>
                      <a:lnTo>
                        <a:pt x="44" y="122"/>
                      </a:lnTo>
                      <a:lnTo>
                        <a:pt x="87" y="104"/>
                      </a:lnTo>
                      <a:lnTo>
                        <a:pt x="61" y="70"/>
                      </a:lnTo>
                      <a:lnTo>
                        <a:pt x="70" y="43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</p:grpSp>
          <p:grpSp>
            <p:nvGrpSpPr>
              <p:cNvPr id="23" name="Group 338"/>
              <p:cNvGrpSpPr>
                <a:grpSpLocks/>
              </p:cNvGrpSpPr>
              <p:nvPr/>
            </p:nvGrpSpPr>
            <p:grpSpPr bwMode="auto">
              <a:xfrm>
                <a:off x="1802724" y="1270113"/>
                <a:ext cx="2381471" cy="1399622"/>
                <a:chOff x="625476" y="1643063"/>
                <a:chExt cx="3529013" cy="2074863"/>
              </a:xfrm>
              <a:grpFill/>
            </p:grpSpPr>
            <p:sp>
              <p:nvSpPr>
                <p:cNvPr id="500" name="Freeform 18"/>
                <p:cNvSpPr>
                  <a:spLocks/>
                </p:cNvSpPr>
                <p:nvPr/>
              </p:nvSpPr>
              <p:spPr bwMode="auto">
                <a:xfrm>
                  <a:off x="625476" y="1933576"/>
                  <a:ext cx="982663" cy="428625"/>
                </a:xfrm>
                <a:custGeom>
                  <a:avLst/>
                  <a:gdLst>
                    <a:gd name="T0" fmla="*/ 2147483647 w 619"/>
                    <a:gd name="T1" fmla="*/ 2147483647 h 270"/>
                    <a:gd name="T2" fmla="*/ 2147483647 w 619"/>
                    <a:gd name="T3" fmla="*/ 2147483647 h 270"/>
                    <a:gd name="T4" fmla="*/ 2147483647 w 619"/>
                    <a:gd name="T5" fmla="*/ 2147483647 h 270"/>
                    <a:gd name="T6" fmla="*/ 2147483647 w 619"/>
                    <a:gd name="T7" fmla="*/ 2147483647 h 270"/>
                    <a:gd name="T8" fmla="*/ 2147483647 w 619"/>
                    <a:gd name="T9" fmla="*/ 2147483647 h 270"/>
                    <a:gd name="T10" fmla="*/ 2147483647 w 619"/>
                    <a:gd name="T11" fmla="*/ 2147483647 h 270"/>
                    <a:gd name="T12" fmla="*/ 2147483647 w 619"/>
                    <a:gd name="T13" fmla="*/ 2147483647 h 270"/>
                    <a:gd name="T14" fmla="*/ 2147483647 w 619"/>
                    <a:gd name="T15" fmla="*/ 2147483647 h 270"/>
                    <a:gd name="T16" fmla="*/ 2147483647 w 619"/>
                    <a:gd name="T17" fmla="*/ 2147483647 h 270"/>
                    <a:gd name="T18" fmla="*/ 2147483647 w 619"/>
                    <a:gd name="T19" fmla="*/ 2147483647 h 270"/>
                    <a:gd name="T20" fmla="*/ 2147483647 w 619"/>
                    <a:gd name="T21" fmla="*/ 2147483647 h 270"/>
                    <a:gd name="T22" fmla="*/ 2147483647 w 619"/>
                    <a:gd name="T23" fmla="*/ 2147483647 h 270"/>
                    <a:gd name="T24" fmla="*/ 2147483647 w 619"/>
                    <a:gd name="T25" fmla="*/ 2147483647 h 270"/>
                    <a:gd name="T26" fmla="*/ 2147483647 w 619"/>
                    <a:gd name="T27" fmla="*/ 2147483647 h 270"/>
                    <a:gd name="T28" fmla="*/ 2147483647 w 619"/>
                    <a:gd name="T29" fmla="*/ 2147483647 h 270"/>
                    <a:gd name="T30" fmla="*/ 2147483647 w 619"/>
                    <a:gd name="T31" fmla="*/ 2147483647 h 270"/>
                    <a:gd name="T32" fmla="*/ 2147483647 w 619"/>
                    <a:gd name="T33" fmla="*/ 2147483647 h 270"/>
                    <a:gd name="T34" fmla="*/ 2147483647 w 619"/>
                    <a:gd name="T35" fmla="*/ 2147483647 h 270"/>
                    <a:gd name="T36" fmla="*/ 2147483647 w 619"/>
                    <a:gd name="T37" fmla="*/ 2147483647 h 270"/>
                    <a:gd name="T38" fmla="*/ 2147483647 w 619"/>
                    <a:gd name="T39" fmla="*/ 2147483647 h 270"/>
                    <a:gd name="T40" fmla="*/ 2147483647 w 619"/>
                    <a:gd name="T41" fmla="*/ 2147483647 h 270"/>
                    <a:gd name="T42" fmla="*/ 2147483647 w 619"/>
                    <a:gd name="T43" fmla="*/ 2147483647 h 270"/>
                    <a:gd name="T44" fmla="*/ 2147483647 w 619"/>
                    <a:gd name="T45" fmla="*/ 2147483647 h 270"/>
                    <a:gd name="T46" fmla="*/ 2147483647 w 619"/>
                    <a:gd name="T47" fmla="*/ 2147483647 h 270"/>
                    <a:gd name="T48" fmla="*/ 0 w 619"/>
                    <a:gd name="T49" fmla="*/ 2147483647 h 270"/>
                    <a:gd name="T50" fmla="*/ 2147483647 w 619"/>
                    <a:gd name="T51" fmla="*/ 2147483647 h 270"/>
                    <a:gd name="T52" fmla="*/ 2147483647 w 619"/>
                    <a:gd name="T53" fmla="*/ 2147483647 h 270"/>
                    <a:gd name="T54" fmla="*/ 2147483647 w 619"/>
                    <a:gd name="T55" fmla="*/ 2147483647 h 270"/>
                    <a:gd name="T56" fmla="*/ 2147483647 w 619"/>
                    <a:gd name="T57" fmla="*/ 2147483647 h 270"/>
                    <a:gd name="T58" fmla="*/ 2147483647 w 619"/>
                    <a:gd name="T59" fmla="*/ 2147483647 h 270"/>
                    <a:gd name="T60" fmla="*/ 2147483647 w 619"/>
                    <a:gd name="T61" fmla="*/ 2147483647 h 270"/>
                    <a:gd name="T62" fmla="*/ 2147483647 w 619"/>
                    <a:gd name="T63" fmla="*/ 2147483647 h 270"/>
                    <a:gd name="T64" fmla="*/ 2147483647 w 619"/>
                    <a:gd name="T65" fmla="*/ 2147483647 h 270"/>
                    <a:gd name="T66" fmla="*/ 2147483647 w 619"/>
                    <a:gd name="T67" fmla="*/ 2147483647 h 270"/>
                    <a:gd name="T68" fmla="*/ 2147483647 w 619"/>
                    <a:gd name="T69" fmla="*/ 2147483647 h 270"/>
                    <a:gd name="T70" fmla="*/ 2147483647 w 619"/>
                    <a:gd name="T71" fmla="*/ 2147483647 h 270"/>
                    <a:gd name="T72" fmla="*/ 2147483647 w 619"/>
                    <a:gd name="T73" fmla="*/ 2147483647 h 270"/>
                    <a:gd name="T74" fmla="*/ 2147483647 w 619"/>
                    <a:gd name="T75" fmla="*/ 2147483647 h 270"/>
                    <a:gd name="T76" fmla="*/ 2147483647 w 619"/>
                    <a:gd name="T77" fmla="*/ 2147483647 h 270"/>
                    <a:gd name="T78" fmla="*/ 2147483647 w 619"/>
                    <a:gd name="T79" fmla="*/ 2147483647 h 270"/>
                    <a:gd name="T80" fmla="*/ 2147483647 w 619"/>
                    <a:gd name="T81" fmla="*/ 2147483647 h 270"/>
                    <a:gd name="T82" fmla="*/ 2147483647 w 619"/>
                    <a:gd name="T83" fmla="*/ 2147483647 h 270"/>
                    <a:gd name="T84" fmla="*/ 2147483647 w 619"/>
                    <a:gd name="T85" fmla="*/ 2147483647 h 270"/>
                    <a:gd name="T86" fmla="*/ 2147483647 w 619"/>
                    <a:gd name="T87" fmla="*/ 2147483647 h 270"/>
                    <a:gd name="T88" fmla="*/ 2147483647 w 619"/>
                    <a:gd name="T89" fmla="*/ 2147483647 h 270"/>
                    <a:gd name="T90" fmla="*/ 2147483647 w 619"/>
                    <a:gd name="T91" fmla="*/ 2147483647 h 270"/>
                    <a:gd name="T92" fmla="*/ 2147483647 w 619"/>
                    <a:gd name="T93" fmla="*/ 2147483647 h 270"/>
                    <a:gd name="T94" fmla="*/ 2147483647 w 619"/>
                    <a:gd name="T95" fmla="*/ 2147483647 h 270"/>
                    <a:gd name="T96" fmla="*/ 2147483647 w 619"/>
                    <a:gd name="T97" fmla="*/ 2147483647 h 270"/>
                    <a:gd name="T98" fmla="*/ 2147483647 w 619"/>
                    <a:gd name="T99" fmla="*/ 2147483647 h 270"/>
                    <a:gd name="T100" fmla="*/ 2147483647 w 619"/>
                    <a:gd name="T101" fmla="*/ 2147483647 h 270"/>
                    <a:gd name="T102" fmla="*/ 2147483647 w 619"/>
                    <a:gd name="T103" fmla="*/ 2147483647 h 270"/>
                    <a:gd name="T104" fmla="*/ 2147483647 w 619"/>
                    <a:gd name="T105" fmla="*/ 2147483647 h 270"/>
                    <a:gd name="T106" fmla="*/ 2147483647 w 619"/>
                    <a:gd name="T107" fmla="*/ 2147483647 h 270"/>
                    <a:gd name="T108" fmla="*/ 2147483647 w 619"/>
                    <a:gd name="T109" fmla="*/ 2147483647 h 270"/>
                    <a:gd name="T110" fmla="*/ 2147483647 w 619"/>
                    <a:gd name="T111" fmla="*/ 2147483647 h 270"/>
                    <a:gd name="T112" fmla="*/ 2147483647 w 619"/>
                    <a:gd name="T113" fmla="*/ 2147483647 h 270"/>
                    <a:gd name="T114" fmla="*/ 2147483647 w 619"/>
                    <a:gd name="T115" fmla="*/ 2147483647 h 270"/>
                    <a:gd name="T116" fmla="*/ 2147483647 w 619"/>
                    <a:gd name="T117" fmla="*/ 2147483647 h 270"/>
                    <a:gd name="T118" fmla="*/ 2147483647 w 619"/>
                    <a:gd name="T119" fmla="*/ 2147483647 h 270"/>
                    <a:gd name="T120" fmla="*/ 2147483647 w 619"/>
                    <a:gd name="T121" fmla="*/ 0 h 270"/>
                    <a:gd name="T122" fmla="*/ 2147483647 w 619"/>
                    <a:gd name="T123" fmla="*/ 0 h 270"/>
                    <a:gd name="T124" fmla="*/ 2147483647 w 619"/>
                    <a:gd name="T125" fmla="*/ 2147483647 h 27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19"/>
                    <a:gd name="T190" fmla="*/ 0 h 270"/>
                    <a:gd name="T191" fmla="*/ 619 w 619"/>
                    <a:gd name="T192" fmla="*/ 270 h 27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19" h="270">
                      <a:moveTo>
                        <a:pt x="314" y="26"/>
                      </a:moveTo>
                      <a:lnTo>
                        <a:pt x="296" y="43"/>
                      </a:lnTo>
                      <a:lnTo>
                        <a:pt x="314" y="69"/>
                      </a:lnTo>
                      <a:lnTo>
                        <a:pt x="296" y="69"/>
                      </a:lnTo>
                      <a:lnTo>
                        <a:pt x="244" y="78"/>
                      </a:lnTo>
                      <a:lnTo>
                        <a:pt x="218" y="96"/>
                      </a:lnTo>
                      <a:lnTo>
                        <a:pt x="244" y="96"/>
                      </a:lnTo>
                      <a:lnTo>
                        <a:pt x="270" y="87"/>
                      </a:lnTo>
                      <a:lnTo>
                        <a:pt x="252" y="113"/>
                      </a:lnTo>
                      <a:lnTo>
                        <a:pt x="209" y="122"/>
                      </a:lnTo>
                      <a:lnTo>
                        <a:pt x="191" y="113"/>
                      </a:lnTo>
                      <a:lnTo>
                        <a:pt x="122" y="165"/>
                      </a:lnTo>
                      <a:lnTo>
                        <a:pt x="130" y="165"/>
                      </a:lnTo>
                      <a:lnTo>
                        <a:pt x="165" y="165"/>
                      </a:lnTo>
                      <a:lnTo>
                        <a:pt x="130" y="191"/>
                      </a:lnTo>
                      <a:lnTo>
                        <a:pt x="165" y="191"/>
                      </a:lnTo>
                      <a:lnTo>
                        <a:pt x="183" y="183"/>
                      </a:lnTo>
                      <a:lnTo>
                        <a:pt x="191" y="191"/>
                      </a:lnTo>
                      <a:lnTo>
                        <a:pt x="130" y="226"/>
                      </a:lnTo>
                      <a:lnTo>
                        <a:pt x="96" y="235"/>
                      </a:lnTo>
                      <a:lnTo>
                        <a:pt x="87" y="244"/>
                      </a:lnTo>
                      <a:lnTo>
                        <a:pt x="52" y="244"/>
                      </a:lnTo>
                      <a:lnTo>
                        <a:pt x="43" y="252"/>
                      </a:lnTo>
                      <a:lnTo>
                        <a:pt x="17" y="252"/>
                      </a:lnTo>
                      <a:lnTo>
                        <a:pt x="0" y="270"/>
                      </a:lnTo>
                      <a:lnTo>
                        <a:pt x="26" y="270"/>
                      </a:lnTo>
                      <a:lnTo>
                        <a:pt x="35" y="261"/>
                      </a:lnTo>
                      <a:lnTo>
                        <a:pt x="43" y="261"/>
                      </a:lnTo>
                      <a:lnTo>
                        <a:pt x="78" y="252"/>
                      </a:lnTo>
                      <a:lnTo>
                        <a:pt x="78" y="261"/>
                      </a:lnTo>
                      <a:lnTo>
                        <a:pt x="96" y="252"/>
                      </a:lnTo>
                      <a:lnTo>
                        <a:pt x="200" y="209"/>
                      </a:lnTo>
                      <a:lnTo>
                        <a:pt x="226" y="191"/>
                      </a:lnTo>
                      <a:lnTo>
                        <a:pt x="252" y="191"/>
                      </a:lnTo>
                      <a:lnTo>
                        <a:pt x="279" y="165"/>
                      </a:lnTo>
                      <a:lnTo>
                        <a:pt x="331" y="139"/>
                      </a:lnTo>
                      <a:lnTo>
                        <a:pt x="322" y="148"/>
                      </a:lnTo>
                      <a:lnTo>
                        <a:pt x="296" y="165"/>
                      </a:lnTo>
                      <a:lnTo>
                        <a:pt x="287" y="183"/>
                      </a:lnTo>
                      <a:lnTo>
                        <a:pt x="357" y="165"/>
                      </a:lnTo>
                      <a:lnTo>
                        <a:pt x="357" y="148"/>
                      </a:lnTo>
                      <a:lnTo>
                        <a:pt x="375" y="148"/>
                      </a:lnTo>
                      <a:lnTo>
                        <a:pt x="375" y="165"/>
                      </a:lnTo>
                      <a:lnTo>
                        <a:pt x="462" y="183"/>
                      </a:lnTo>
                      <a:lnTo>
                        <a:pt x="470" y="209"/>
                      </a:lnTo>
                      <a:lnTo>
                        <a:pt x="488" y="191"/>
                      </a:lnTo>
                      <a:lnTo>
                        <a:pt x="497" y="191"/>
                      </a:lnTo>
                      <a:lnTo>
                        <a:pt x="497" y="235"/>
                      </a:lnTo>
                      <a:lnTo>
                        <a:pt x="505" y="252"/>
                      </a:lnTo>
                      <a:lnTo>
                        <a:pt x="523" y="244"/>
                      </a:lnTo>
                      <a:lnTo>
                        <a:pt x="523" y="226"/>
                      </a:lnTo>
                      <a:lnTo>
                        <a:pt x="523" y="191"/>
                      </a:lnTo>
                      <a:lnTo>
                        <a:pt x="514" y="165"/>
                      </a:lnTo>
                      <a:lnTo>
                        <a:pt x="479" y="183"/>
                      </a:lnTo>
                      <a:lnTo>
                        <a:pt x="488" y="165"/>
                      </a:lnTo>
                      <a:lnTo>
                        <a:pt x="453" y="157"/>
                      </a:lnTo>
                      <a:lnTo>
                        <a:pt x="619" y="17"/>
                      </a:lnTo>
                      <a:lnTo>
                        <a:pt x="610" y="8"/>
                      </a:lnTo>
                      <a:lnTo>
                        <a:pt x="593" y="17"/>
                      </a:lnTo>
                      <a:lnTo>
                        <a:pt x="558" y="8"/>
                      </a:lnTo>
                      <a:lnTo>
                        <a:pt x="462" y="0"/>
                      </a:lnTo>
                      <a:lnTo>
                        <a:pt x="375" y="0"/>
                      </a:lnTo>
                      <a:lnTo>
                        <a:pt x="314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1" name="Freeform 19"/>
                <p:cNvSpPr>
                  <a:spLocks/>
                </p:cNvSpPr>
                <p:nvPr/>
              </p:nvSpPr>
              <p:spPr bwMode="auto">
                <a:xfrm>
                  <a:off x="625476" y="1933576"/>
                  <a:ext cx="982663" cy="428625"/>
                </a:xfrm>
                <a:custGeom>
                  <a:avLst/>
                  <a:gdLst>
                    <a:gd name="T0" fmla="*/ 2147483647 w 619"/>
                    <a:gd name="T1" fmla="*/ 2147483647 h 270"/>
                    <a:gd name="T2" fmla="*/ 2147483647 w 619"/>
                    <a:gd name="T3" fmla="*/ 2147483647 h 270"/>
                    <a:gd name="T4" fmla="*/ 2147483647 w 619"/>
                    <a:gd name="T5" fmla="*/ 2147483647 h 270"/>
                    <a:gd name="T6" fmla="*/ 2147483647 w 619"/>
                    <a:gd name="T7" fmla="*/ 2147483647 h 270"/>
                    <a:gd name="T8" fmla="*/ 2147483647 w 619"/>
                    <a:gd name="T9" fmla="*/ 2147483647 h 270"/>
                    <a:gd name="T10" fmla="*/ 2147483647 w 619"/>
                    <a:gd name="T11" fmla="*/ 2147483647 h 270"/>
                    <a:gd name="T12" fmla="*/ 2147483647 w 619"/>
                    <a:gd name="T13" fmla="*/ 2147483647 h 270"/>
                    <a:gd name="T14" fmla="*/ 2147483647 w 619"/>
                    <a:gd name="T15" fmla="*/ 2147483647 h 270"/>
                    <a:gd name="T16" fmla="*/ 2147483647 w 619"/>
                    <a:gd name="T17" fmla="*/ 2147483647 h 270"/>
                    <a:gd name="T18" fmla="*/ 2147483647 w 619"/>
                    <a:gd name="T19" fmla="*/ 2147483647 h 270"/>
                    <a:gd name="T20" fmla="*/ 2147483647 w 619"/>
                    <a:gd name="T21" fmla="*/ 2147483647 h 270"/>
                    <a:gd name="T22" fmla="*/ 2147483647 w 619"/>
                    <a:gd name="T23" fmla="*/ 2147483647 h 270"/>
                    <a:gd name="T24" fmla="*/ 2147483647 w 619"/>
                    <a:gd name="T25" fmla="*/ 2147483647 h 270"/>
                    <a:gd name="T26" fmla="*/ 2147483647 w 619"/>
                    <a:gd name="T27" fmla="*/ 2147483647 h 270"/>
                    <a:gd name="T28" fmla="*/ 2147483647 w 619"/>
                    <a:gd name="T29" fmla="*/ 2147483647 h 270"/>
                    <a:gd name="T30" fmla="*/ 2147483647 w 619"/>
                    <a:gd name="T31" fmla="*/ 2147483647 h 270"/>
                    <a:gd name="T32" fmla="*/ 2147483647 w 619"/>
                    <a:gd name="T33" fmla="*/ 2147483647 h 270"/>
                    <a:gd name="T34" fmla="*/ 2147483647 w 619"/>
                    <a:gd name="T35" fmla="*/ 2147483647 h 270"/>
                    <a:gd name="T36" fmla="*/ 2147483647 w 619"/>
                    <a:gd name="T37" fmla="*/ 2147483647 h 270"/>
                    <a:gd name="T38" fmla="*/ 2147483647 w 619"/>
                    <a:gd name="T39" fmla="*/ 2147483647 h 270"/>
                    <a:gd name="T40" fmla="*/ 2147483647 w 619"/>
                    <a:gd name="T41" fmla="*/ 2147483647 h 270"/>
                    <a:gd name="T42" fmla="*/ 2147483647 w 619"/>
                    <a:gd name="T43" fmla="*/ 2147483647 h 270"/>
                    <a:gd name="T44" fmla="*/ 2147483647 w 619"/>
                    <a:gd name="T45" fmla="*/ 2147483647 h 270"/>
                    <a:gd name="T46" fmla="*/ 2147483647 w 619"/>
                    <a:gd name="T47" fmla="*/ 2147483647 h 270"/>
                    <a:gd name="T48" fmla="*/ 0 w 619"/>
                    <a:gd name="T49" fmla="*/ 2147483647 h 270"/>
                    <a:gd name="T50" fmla="*/ 2147483647 w 619"/>
                    <a:gd name="T51" fmla="*/ 2147483647 h 270"/>
                    <a:gd name="T52" fmla="*/ 2147483647 w 619"/>
                    <a:gd name="T53" fmla="*/ 2147483647 h 270"/>
                    <a:gd name="T54" fmla="*/ 2147483647 w 619"/>
                    <a:gd name="T55" fmla="*/ 2147483647 h 270"/>
                    <a:gd name="T56" fmla="*/ 2147483647 w 619"/>
                    <a:gd name="T57" fmla="*/ 2147483647 h 270"/>
                    <a:gd name="T58" fmla="*/ 2147483647 w 619"/>
                    <a:gd name="T59" fmla="*/ 2147483647 h 270"/>
                    <a:gd name="T60" fmla="*/ 2147483647 w 619"/>
                    <a:gd name="T61" fmla="*/ 2147483647 h 270"/>
                    <a:gd name="T62" fmla="*/ 2147483647 w 619"/>
                    <a:gd name="T63" fmla="*/ 2147483647 h 270"/>
                    <a:gd name="T64" fmla="*/ 2147483647 w 619"/>
                    <a:gd name="T65" fmla="*/ 2147483647 h 270"/>
                    <a:gd name="T66" fmla="*/ 2147483647 w 619"/>
                    <a:gd name="T67" fmla="*/ 2147483647 h 270"/>
                    <a:gd name="T68" fmla="*/ 2147483647 w 619"/>
                    <a:gd name="T69" fmla="*/ 2147483647 h 270"/>
                    <a:gd name="T70" fmla="*/ 2147483647 w 619"/>
                    <a:gd name="T71" fmla="*/ 2147483647 h 270"/>
                    <a:gd name="T72" fmla="*/ 2147483647 w 619"/>
                    <a:gd name="T73" fmla="*/ 2147483647 h 270"/>
                    <a:gd name="T74" fmla="*/ 2147483647 w 619"/>
                    <a:gd name="T75" fmla="*/ 2147483647 h 270"/>
                    <a:gd name="T76" fmla="*/ 2147483647 w 619"/>
                    <a:gd name="T77" fmla="*/ 2147483647 h 270"/>
                    <a:gd name="T78" fmla="*/ 2147483647 w 619"/>
                    <a:gd name="T79" fmla="*/ 2147483647 h 270"/>
                    <a:gd name="T80" fmla="*/ 2147483647 w 619"/>
                    <a:gd name="T81" fmla="*/ 2147483647 h 270"/>
                    <a:gd name="T82" fmla="*/ 2147483647 w 619"/>
                    <a:gd name="T83" fmla="*/ 2147483647 h 270"/>
                    <a:gd name="T84" fmla="*/ 2147483647 w 619"/>
                    <a:gd name="T85" fmla="*/ 2147483647 h 270"/>
                    <a:gd name="T86" fmla="*/ 2147483647 w 619"/>
                    <a:gd name="T87" fmla="*/ 2147483647 h 270"/>
                    <a:gd name="T88" fmla="*/ 2147483647 w 619"/>
                    <a:gd name="T89" fmla="*/ 2147483647 h 270"/>
                    <a:gd name="T90" fmla="*/ 2147483647 w 619"/>
                    <a:gd name="T91" fmla="*/ 2147483647 h 270"/>
                    <a:gd name="T92" fmla="*/ 2147483647 w 619"/>
                    <a:gd name="T93" fmla="*/ 2147483647 h 270"/>
                    <a:gd name="T94" fmla="*/ 2147483647 w 619"/>
                    <a:gd name="T95" fmla="*/ 2147483647 h 270"/>
                    <a:gd name="T96" fmla="*/ 2147483647 w 619"/>
                    <a:gd name="T97" fmla="*/ 2147483647 h 270"/>
                    <a:gd name="T98" fmla="*/ 2147483647 w 619"/>
                    <a:gd name="T99" fmla="*/ 2147483647 h 270"/>
                    <a:gd name="T100" fmla="*/ 2147483647 w 619"/>
                    <a:gd name="T101" fmla="*/ 2147483647 h 270"/>
                    <a:gd name="T102" fmla="*/ 2147483647 w 619"/>
                    <a:gd name="T103" fmla="*/ 2147483647 h 270"/>
                    <a:gd name="T104" fmla="*/ 2147483647 w 619"/>
                    <a:gd name="T105" fmla="*/ 2147483647 h 270"/>
                    <a:gd name="T106" fmla="*/ 2147483647 w 619"/>
                    <a:gd name="T107" fmla="*/ 2147483647 h 270"/>
                    <a:gd name="T108" fmla="*/ 2147483647 w 619"/>
                    <a:gd name="T109" fmla="*/ 2147483647 h 270"/>
                    <a:gd name="T110" fmla="*/ 2147483647 w 619"/>
                    <a:gd name="T111" fmla="*/ 2147483647 h 270"/>
                    <a:gd name="T112" fmla="*/ 2147483647 w 619"/>
                    <a:gd name="T113" fmla="*/ 2147483647 h 270"/>
                    <a:gd name="T114" fmla="*/ 2147483647 w 619"/>
                    <a:gd name="T115" fmla="*/ 2147483647 h 270"/>
                    <a:gd name="T116" fmla="*/ 2147483647 w 619"/>
                    <a:gd name="T117" fmla="*/ 2147483647 h 270"/>
                    <a:gd name="T118" fmla="*/ 2147483647 w 619"/>
                    <a:gd name="T119" fmla="*/ 2147483647 h 270"/>
                    <a:gd name="T120" fmla="*/ 2147483647 w 619"/>
                    <a:gd name="T121" fmla="*/ 0 h 270"/>
                    <a:gd name="T122" fmla="*/ 2147483647 w 619"/>
                    <a:gd name="T123" fmla="*/ 0 h 270"/>
                    <a:gd name="T124" fmla="*/ 2147483647 w 619"/>
                    <a:gd name="T125" fmla="*/ 2147483647 h 27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19"/>
                    <a:gd name="T190" fmla="*/ 0 h 270"/>
                    <a:gd name="T191" fmla="*/ 619 w 619"/>
                    <a:gd name="T192" fmla="*/ 270 h 27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19" h="270">
                      <a:moveTo>
                        <a:pt x="314" y="26"/>
                      </a:moveTo>
                      <a:lnTo>
                        <a:pt x="296" y="43"/>
                      </a:lnTo>
                      <a:lnTo>
                        <a:pt x="314" y="69"/>
                      </a:lnTo>
                      <a:lnTo>
                        <a:pt x="296" y="69"/>
                      </a:lnTo>
                      <a:lnTo>
                        <a:pt x="244" y="78"/>
                      </a:lnTo>
                      <a:lnTo>
                        <a:pt x="218" y="96"/>
                      </a:lnTo>
                      <a:lnTo>
                        <a:pt x="244" y="96"/>
                      </a:lnTo>
                      <a:lnTo>
                        <a:pt x="270" y="87"/>
                      </a:lnTo>
                      <a:lnTo>
                        <a:pt x="252" y="113"/>
                      </a:lnTo>
                      <a:lnTo>
                        <a:pt x="209" y="122"/>
                      </a:lnTo>
                      <a:lnTo>
                        <a:pt x="191" y="113"/>
                      </a:lnTo>
                      <a:lnTo>
                        <a:pt x="122" y="165"/>
                      </a:lnTo>
                      <a:lnTo>
                        <a:pt x="130" y="165"/>
                      </a:lnTo>
                      <a:lnTo>
                        <a:pt x="165" y="165"/>
                      </a:lnTo>
                      <a:lnTo>
                        <a:pt x="130" y="191"/>
                      </a:lnTo>
                      <a:lnTo>
                        <a:pt x="165" y="191"/>
                      </a:lnTo>
                      <a:lnTo>
                        <a:pt x="183" y="183"/>
                      </a:lnTo>
                      <a:lnTo>
                        <a:pt x="191" y="191"/>
                      </a:lnTo>
                      <a:lnTo>
                        <a:pt x="130" y="226"/>
                      </a:lnTo>
                      <a:lnTo>
                        <a:pt x="96" y="235"/>
                      </a:lnTo>
                      <a:lnTo>
                        <a:pt x="87" y="244"/>
                      </a:lnTo>
                      <a:lnTo>
                        <a:pt x="52" y="244"/>
                      </a:lnTo>
                      <a:lnTo>
                        <a:pt x="43" y="252"/>
                      </a:lnTo>
                      <a:lnTo>
                        <a:pt x="17" y="252"/>
                      </a:lnTo>
                      <a:lnTo>
                        <a:pt x="0" y="270"/>
                      </a:lnTo>
                      <a:lnTo>
                        <a:pt x="26" y="270"/>
                      </a:lnTo>
                      <a:lnTo>
                        <a:pt x="35" y="261"/>
                      </a:lnTo>
                      <a:lnTo>
                        <a:pt x="43" y="261"/>
                      </a:lnTo>
                      <a:lnTo>
                        <a:pt x="78" y="252"/>
                      </a:lnTo>
                      <a:lnTo>
                        <a:pt x="78" y="261"/>
                      </a:lnTo>
                      <a:lnTo>
                        <a:pt x="96" y="252"/>
                      </a:lnTo>
                      <a:lnTo>
                        <a:pt x="200" y="209"/>
                      </a:lnTo>
                      <a:lnTo>
                        <a:pt x="226" y="191"/>
                      </a:lnTo>
                      <a:lnTo>
                        <a:pt x="252" y="191"/>
                      </a:lnTo>
                      <a:lnTo>
                        <a:pt x="279" y="165"/>
                      </a:lnTo>
                      <a:lnTo>
                        <a:pt x="331" y="139"/>
                      </a:lnTo>
                      <a:lnTo>
                        <a:pt x="322" y="148"/>
                      </a:lnTo>
                      <a:lnTo>
                        <a:pt x="296" y="165"/>
                      </a:lnTo>
                      <a:lnTo>
                        <a:pt x="287" y="183"/>
                      </a:lnTo>
                      <a:lnTo>
                        <a:pt x="357" y="165"/>
                      </a:lnTo>
                      <a:lnTo>
                        <a:pt x="357" y="148"/>
                      </a:lnTo>
                      <a:lnTo>
                        <a:pt x="375" y="148"/>
                      </a:lnTo>
                      <a:lnTo>
                        <a:pt x="375" y="165"/>
                      </a:lnTo>
                      <a:lnTo>
                        <a:pt x="462" y="183"/>
                      </a:lnTo>
                      <a:lnTo>
                        <a:pt x="470" y="209"/>
                      </a:lnTo>
                      <a:lnTo>
                        <a:pt x="488" y="191"/>
                      </a:lnTo>
                      <a:lnTo>
                        <a:pt x="497" y="191"/>
                      </a:lnTo>
                      <a:lnTo>
                        <a:pt x="497" y="235"/>
                      </a:lnTo>
                      <a:lnTo>
                        <a:pt x="505" y="252"/>
                      </a:lnTo>
                      <a:lnTo>
                        <a:pt x="523" y="244"/>
                      </a:lnTo>
                      <a:lnTo>
                        <a:pt x="523" y="226"/>
                      </a:lnTo>
                      <a:lnTo>
                        <a:pt x="523" y="191"/>
                      </a:lnTo>
                      <a:lnTo>
                        <a:pt x="514" y="165"/>
                      </a:lnTo>
                      <a:lnTo>
                        <a:pt x="479" y="183"/>
                      </a:lnTo>
                      <a:lnTo>
                        <a:pt x="488" y="165"/>
                      </a:lnTo>
                      <a:lnTo>
                        <a:pt x="453" y="157"/>
                      </a:lnTo>
                      <a:lnTo>
                        <a:pt x="619" y="17"/>
                      </a:lnTo>
                      <a:lnTo>
                        <a:pt x="610" y="8"/>
                      </a:lnTo>
                      <a:lnTo>
                        <a:pt x="593" y="17"/>
                      </a:lnTo>
                      <a:lnTo>
                        <a:pt x="558" y="8"/>
                      </a:lnTo>
                      <a:lnTo>
                        <a:pt x="462" y="0"/>
                      </a:lnTo>
                      <a:lnTo>
                        <a:pt x="375" y="0"/>
                      </a:lnTo>
                      <a:lnTo>
                        <a:pt x="314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2" name="Freeform 20"/>
                <p:cNvSpPr>
                  <a:spLocks/>
                </p:cNvSpPr>
                <p:nvPr/>
              </p:nvSpPr>
              <p:spPr bwMode="auto">
                <a:xfrm>
                  <a:off x="1274764" y="2486026"/>
                  <a:ext cx="1481138" cy="706438"/>
                </a:xfrm>
                <a:custGeom>
                  <a:avLst/>
                  <a:gdLst>
                    <a:gd name="T0" fmla="*/ 2147483647 w 933"/>
                    <a:gd name="T1" fmla="*/ 2147483647 h 445"/>
                    <a:gd name="T2" fmla="*/ 2147483647 w 933"/>
                    <a:gd name="T3" fmla="*/ 2147483647 h 445"/>
                    <a:gd name="T4" fmla="*/ 2147483647 w 933"/>
                    <a:gd name="T5" fmla="*/ 2147483647 h 445"/>
                    <a:gd name="T6" fmla="*/ 2147483647 w 933"/>
                    <a:gd name="T7" fmla="*/ 2147483647 h 445"/>
                    <a:gd name="T8" fmla="*/ 2147483647 w 933"/>
                    <a:gd name="T9" fmla="*/ 2147483647 h 445"/>
                    <a:gd name="T10" fmla="*/ 2147483647 w 933"/>
                    <a:gd name="T11" fmla="*/ 2147483647 h 445"/>
                    <a:gd name="T12" fmla="*/ 2147483647 w 933"/>
                    <a:gd name="T13" fmla="*/ 2147483647 h 445"/>
                    <a:gd name="T14" fmla="*/ 2147483647 w 933"/>
                    <a:gd name="T15" fmla="*/ 2147483647 h 445"/>
                    <a:gd name="T16" fmla="*/ 2147483647 w 933"/>
                    <a:gd name="T17" fmla="*/ 2147483647 h 445"/>
                    <a:gd name="T18" fmla="*/ 2147483647 w 933"/>
                    <a:gd name="T19" fmla="*/ 2147483647 h 445"/>
                    <a:gd name="T20" fmla="*/ 2147483647 w 933"/>
                    <a:gd name="T21" fmla="*/ 2147483647 h 445"/>
                    <a:gd name="T22" fmla="*/ 2147483647 w 933"/>
                    <a:gd name="T23" fmla="*/ 2147483647 h 445"/>
                    <a:gd name="T24" fmla="*/ 2147483647 w 933"/>
                    <a:gd name="T25" fmla="*/ 2147483647 h 445"/>
                    <a:gd name="T26" fmla="*/ 2147483647 w 933"/>
                    <a:gd name="T27" fmla="*/ 2147483647 h 445"/>
                    <a:gd name="T28" fmla="*/ 2147483647 w 933"/>
                    <a:gd name="T29" fmla="*/ 2147483647 h 445"/>
                    <a:gd name="T30" fmla="*/ 2147483647 w 933"/>
                    <a:gd name="T31" fmla="*/ 2147483647 h 445"/>
                    <a:gd name="T32" fmla="*/ 2147483647 w 933"/>
                    <a:gd name="T33" fmla="*/ 2147483647 h 445"/>
                    <a:gd name="T34" fmla="*/ 2147483647 w 933"/>
                    <a:gd name="T35" fmla="*/ 2147483647 h 445"/>
                    <a:gd name="T36" fmla="*/ 2147483647 w 933"/>
                    <a:gd name="T37" fmla="*/ 2147483647 h 445"/>
                    <a:gd name="T38" fmla="*/ 2147483647 w 933"/>
                    <a:gd name="T39" fmla="*/ 0 h 445"/>
                    <a:gd name="T40" fmla="*/ 2147483647 w 933"/>
                    <a:gd name="T41" fmla="*/ 2147483647 h 445"/>
                    <a:gd name="T42" fmla="*/ 2147483647 w 933"/>
                    <a:gd name="T43" fmla="*/ 2147483647 h 445"/>
                    <a:gd name="T44" fmla="*/ 2147483647 w 933"/>
                    <a:gd name="T45" fmla="*/ 2147483647 h 445"/>
                    <a:gd name="T46" fmla="*/ 2147483647 w 933"/>
                    <a:gd name="T47" fmla="*/ 2147483647 h 445"/>
                    <a:gd name="T48" fmla="*/ 0 w 933"/>
                    <a:gd name="T49" fmla="*/ 2147483647 h 445"/>
                    <a:gd name="T50" fmla="*/ 2147483647 w 933"/>
                    <a:gd name="T51" fmla="*/ 2147483647 h 445"/>
                    <a:gd name="T52" fmla="*/ 2147483647 w 933"/>
                    <a:gd name="T53" fmla="*/ 2147483647 h 445"/>
                    <a:gd name="T54" fmla="*/ 2147483647 w 933"/>
                    <a:gd name="T55" fmla="*/ 2147483647 h 445"/>
                    <a:gd name="T56" fmla="*/ 2147483647 w 933"/>
                    <a:gd name="T57" fmla="*/ 2147483647 h 445"/>
                    <a:gd name="T58" fmla="*/ 2147483647 w 933"/>
                    <a:gd name="T59" fmla="*/ 2147483647 h 445"/>
                    <a:gd name="T60" fmla="*/ 2147483647 w 933"/>
                    <a:gd name="T61" fmla="*/ 2147483647 h 445"/>
                    <a:gd name="T62" fmla="*/ 2147483647 w 933"/>
                    <a:gd name="T63" fmla="*/ 2147483647 h 445"/>
                    <a:gd name="T64" fmla="*/ 2147483647 w 933"/>
                    <a:gd name="T65" fmla="*/ 2147483647 h 445"/>
                    <a:gd name="T66" fmla="*/ 2147483647 w 933"/>
                    <a:gd name="T67" fmla="*/ 2147483647 h 445"/>
                    <a:gd name="T68" fmla="*/ 2147483647 w 933"/>
                    <a:gd name="T69" fmla="*/ 2147483647 h 445"/>
                    <a:gd name="T70" fmla="*/ 2147483647 w 933"/>
                    <a:gd name="T71" fmla="*/ 2147483647 h 445"/>
                    <a:gd name="T72" fmla="*/ 2147483647 w 933"/>
                    <a:gd name="T73" fmla="*/ 2147483647 h 445"/>
                    <a:gd name="T74" fmla="*/ 2147483647 w 933"/>
                    <a:gd name="T75" fmla="*/ 2147483647 h 445"/>
                    <a:gd name="T76" fmla="*/ 2147483647 w 933"/>
                    <a:gd name="T77" fmla="*/ 2147483647 h 445"/>
                    <a:gd name="T78" fmla="*/ 2147483647 w 933"/>
                    <a:gd name="T79" fmla="*/ 2147483647 h 445"/>
                    <a:gd name="T80" fmla="*/ 2147483647 w 933"/>
                    <a:gd name="T81" fmla="*/ 2147483647 h 445"/>
                    <a:gd name="T82" fmla="*/ 2147483647 w 933"/>
                    <a:gd name="T83" fmla="*/ 2147483647 h 445"/>
                    <a:gd name="T84" fmla="*/ 2147483647 w 933"/>
                    <a:gd name="T85" fmla="*/ 2147483647 h 445"/>
                    <a:gd name="T86" fmla="*/ 2147483647 w 933"/>
                    <a:gd name="T87" fmla="*/ 2147483647 h 445"/>
                    <a:gd name="T88" fmla="*/ 2147483647 w 933"/>
                    <a:gd name="T89" fmla="*/ 2147483647 h 445"/>
                    <a:gd name="T90" fmla="*/ 2147483647 w 933"/>
                    <a:gd name="T91" fmla="*/ 2147483647 h 445"/>
                    <a:gd name="T92" fmla="*/ 2147483647 w 933"/>
                    <a:gd name="T93" fmla="*/ 2147483647 h 445"/>
                    <a:gd name="T94" fmla="*/ 2147483647 w 933"/>
                    <a:gd name="T95" fmla="*/ 2147483647 h 445"/>
                    <a:gd name="T96" fmla="*/ 2147483647 w 933"/>
                    <a:gd name="T97" fmla="*/ 2147483647 h 445"/>
                    <a:gd name="T98" fmla="*/ 2147483647 w 933"/>
                    <a:gd name="T99" fmla="*/ 2147483647 h 445"/>
                    <a:gd name="T100" fmla="*/ 2147483647 w 933"/>
                    <a:gd name="T101" fmla="*/ 2147483647 h 445"/>
                    <a:gd name="T102" fmla="*/ 2147483647 w 933"/>
                    <a:gd name="T103" fmla="*/ 2147483647 h 445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933"/>
                    <a:gd name="T157" fmla="*/ 0 h 445"/>
                    <a:gd name="T158" fmla="*/ 933 w 933"/>
                    <a:gd name="T159" fmla="*/ 445 h 445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933" h="445">
                      <a:moveTo>
                        <a:pt x="933" y="35"/>
                      </a:moveTo>
                      <a:lnTo>
                        <a:pt x="916" y="35"/>
                      </a:lnTo>
                      <a:lnTo>
                        <a:pt x="881" y="70"/>
                      </a:lnTo>
                      <a:lnTo>
                        <a:pt x="803" y="79"/>
                      </a:lnTo>
                      <a:lnTo>
                        <a:pt x="776" y="105"/>
                      </a:lnTo>
                      <a:lnTo>
                        <a:pt x="768" y="114"/>
                      </a:lnTo>
                      <a:lnTo>
                        <a:pt x="724" y="122"/>
                      </a:lnTo>
                      <a:lnTo>
                        <a:pt x="715" y="122"/>
                      </a:lnTo>
                      <a:lnTo>
                        <a:pt x="707" y="131"/>
                      </a:lnTo>
                      <a:lnTo>
                        <a:pt x="663" y="148"/>
                      </a:lnTo>
                      <a:lnTo>
                        <a:pt x="646" y="140"/>
                      </a:lnTo>
                      <a:lnTo>
                        <a:pt x="672" y="131"/>
                      </a:lnTo>
                      <a:lnTo>
                        <a:pt x="681" y="122"/>
                      </a:lnTo>
                      <a:lnTo>
                        <a:pt x="672" y="105"/>
                      </a:lnTo>
                      <a:lnTo>
                        <a:pt x="654" y="105"/>
                      </a:lnTo>
                      <a:lnTo>
                        <a:pt x="672" y="87"/>
                      </a:lnTo>
                      <a:lnTo>
                        <a:pt x="672" y="70"/>
                      </a:lnTo>
                      <a:lnTo>
                        <a:pt x="654" y="79"/>
                      </a:lnTo>
                      <a:lnTo>
                        <a:pt x="619" y="96"/>
                      </a:lnTo>
                      <a:lnTo>
                        <a:pt x="611" y="131"/>
                      </a:lnTo>
                      <a:lnTo>
                        <a:pt x="593" y="140"/>
                      </a:lnTo>
                      <a:lnTo>
                        <a:pt x="585" y="131"/>
                      </a:lnTo>
                      <a:lnTo>
                        <a:pt x="585" y="114"/>
                      </a:lnTo>
                      <a:lnTo>
                        <a:pt x="602" y="96"/>
                      </a:lnTo>
                      <a:lnTo>
                        <a:pt x="602" y="79"/>
                      </a:lnTo>
                      <a:lnTo>
                        <a:pt x="611" y="79"/>
                      </a:lnTo>
                      <a:lnTo>
                        <a:pt x="637" y="61"/>
                      </a:lnTo>
                      <a:lnTo>
                        <a:pt x="654" y="61"/>
                      </a:lnTo>
                      <a:lnTo>
                        <a:pt x="672" y="61"/>
                      </a:lnTo>
                      <a:lnTo>
                        <a:pt x="663" y="53"/>
                      </a:lnTo>
                      <a:lnTo>
                        <a:pt x="619" y="53"/>
                      </a:lnTo>
                      <a:lnTo>
                        <a:pt x="628" y="35"/>
                      </a:lnTo>
                      <a:lnTo>
                        <a:pt x="585" y="53"/>
                      </a:lnTo>
                      <a:lnTo>
                        <a:pt x="567" y="53"/>
                      </a:lnTo>
                      <a:lnTo>
                        <a:pt x="567" y="35"/>
                      </a:lnTo>
                      <a:lnTo>
                        <a:pt x="602" y="35"/>
                      </a:lnTo>
                      <a:lnTo>
                        <a:pt x="585" y="18"/>
                      </a:lnTo>
                      <a:lnTo>
                        <a:pt x="576" y="26"/>
                      </a:lnTo>
                      <a:lnTo>
                        <a:pt x="550" y="18"/>
                      </a:lnTo>
                      <a:lnTo>
                        <a:pt x="550" y="0"/>
                      </a:lnTo>
                      <a:lnTo>
                        <a:pt x="532" y="0"/>
                      </a:lnTo>
                      <a:lnTo>
                        <a:pt x="532" y="9"/>
                      </a:lnTo>
                      <a:lnTo>
                        <a:pt x="114" y="9"/>
                      </a:lnTo>
                      <a:lnTo>
                        <a:pt x="114" y="44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79" y="53"/>
                      </a:lnTo>
                      <a:lnTo>
                        <a:pt x="35" y="105"/>
                      </a:lnTo>
                      <a:lnTo>
                        <a:pt x="18" y="148"/>
                      </a:lnTo>
                      <a:lnTo>
                        <a:pt x="0" y="166"/>
                      </a:lnTo>
                      <a:lnTo>
                        <a:pt x="0" y="201"/>
                      </a:lnTo>
                      <a:lnTo>
                        <a:pt x="9" y="201"/>
                      </a:lnTo>
                      <a:lnTo>
                        <a:pt x="9" y="209"/>
                      </a:lnTo>
                      <a:lnTo>
                        <a:pt x="9" y="262"/>
                      </a:lnTo>
                      <a:lnTo>
                        <a:pt x="0" y="270"/>
                      </a:lnTo>
                      <a:lnTo>
                        <a:pt x="44" y="297"/>
                      </a:lnTo>
                      <a:lnTo>
                        <a:pt x="53" y="314"/>
                      </a:lnTo>
                      <a:lnTo>
                        <a:pt x="105" y="314"/>
                      </a:lnTo>
                      <a:lnTo>
                        <a:pt x="166" y="332"/>
                      </a:lnTo>
                      <a:lnTo>
                        <a:pt x="201" y="323"/>
                      </a:lnTo>
                      <a:lnTo>
                        <a:pt x="227" y="323"/>
                      </a:lnTo>
                      <a:lnTo>
                        <a:pt x="253" y="375"/>
                      </a:lnTo>
                      <a:lnTo>
                        <a:pt x="271" y="375"/>
                      </a:lnTo>
                      <a:lnTo>
                        <a:pt x="271" y="366"/>
                      </a:lnTo>
                      <a:lnTo>
                        <a:pt x="288" y="358"/>
                      </a:lnTo>
                      <a:lnTo>
                        <a:pt x="314" y="384"/>
                      </a:lnTo>
                      <a:lnTo>
                        <a:pt x="323" y="419"/>
                      </a:lnTo>
                      <a:lnTo>
                        <a:pt x="332" y="436"/>
                      </a:lnTo>
                      <a:lnTo>
                        <a:pt x="340" y="419"/>
                      </a:lnTo>
                      <a:lnTo>
                        <a:pt x="340" y="401"/>
                      </a:lnTo>
                      <a:lnTo>
                        <a:pt x="419" y="358"/>
                      </a:lnTo>
                      <a:lnTo>
                        <a:pt x="428" y="366"/>
                      </a:lnTo>
                      <a:lnTo>
                        <a:pt x="445" y="366"/>
                      </a:lnTo>
                      <a:lnTo>
                        <a:pt x="454" y="375"/>
                      </a:lnTo>
                      <a:lnTo>
                        <a:pt x="480" y="366"/>
                      </a:lnTo>
                      <a:lnTo>
                        <a:pt x="471" y="349"/>
                      </a:lnTo>
                      <a:lnTo>
                        <a:pt x="576" y="358"/>
                      </a:lnTo>
                      <a:lnTo>
                        <a:pt x="585" y="375"/>
                      </a:lnTo>
                      <a:lnTo>
                        <a:pt x="585" y="401"/>
                      </a:lnTo>
                      <a:lnTo>
                        <a:pt x="593" y="419"/>
                      </a:lnTo>
                      <a:lnTo>
                        <a:pt x="593" y="436"/>
                      </a:lnTo>
                      <a:lnTo>
                        <a:pt x="602" y="445"/>
                      </a:lnTo>
                      <a:lnTo>
                        <a:pt x="611" y="445"/>
                      </a:lnTo>
                      <a:lnTo>
                        <a:pt x="628" y="410"/>
                      </a:lnTo>
                      <a:lnTo>
                        <a:pt x="628" y="375"/>
                      </a:lnTo>
                      <a:lnTo>
                        <a:pt x="619" y="332"/>
                      </a:lnTo>
                      <a:lnTo>
                        <a:pt x="689" y="279"/>
                      </a:lnTo>
                      <a:lnTo>
                        <a:pt x="715" y="270"/>
                      </a:lnTo>
                      <a:lnTo>
                        <a:pt x="733" y="244"/>
                      </a:lnTo>
                      <a:lnTo>
                        <a:pt x="724" y="227"/>
                      </a:lnTo>
                      <a:lnTo>
                        <a:pt x="742" y="218"/>
                      </a:lnTo>
                      <a:lnTo>
                        <a:pt x="724" y="201"/>
                      </a:lnTo>
                      <a:lnTo>
                        <a:pt x="742" y="183"/>
                      </a:lnTo>
                      <a:lnTo>
                        <a:pt x="750" y="209"/>
                      </a:lnTo>
                      <a:lnTo>
                        <a:pt x="759" y="201"/>
                      </a:lnTo>
                      <a:lnTo>
                        <a:pt x="759" y="175"/>
                      </a:lnTo>
                      <a:lnTo>
                        <a:pt x="768" y="183"/>
                      </a:lnTo>
                      <a:lnTo>
                        <a:pt x="794" y="166"/>
                      </a:lnTo>
                      <a:lnTo>
                        <a:pt x="794" y="157"/>
                      </a:lnTo>
                      <a:lnTo>
                        <a:pt x="855" y="140"/>
                      </a:lnTo>
                      <a:lnTo>
                        <a:pt x="846" y="131"/>
                      </a:lnTo>
                      <a:lnTo>
                        <a:pt x="864" y="105"/>
                      </a:lnTo>
                      <a:lnTo>
                        <a:pt x="925" y="87"/>
                      </a:lnTo>
                      <a:lnTo>
                        <a:pt x="925" y="53"/>
                      </a:lnTo>
                      <a:lnTo>
                        <a:pt x="933" y="35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3" name="Freeform 21"/>
                <p:cNvSpPr>
                  <a:spLocks/>
                </p:cNvSpPr>
                <p:nvPr/>
              </p:nvSpPr>
              <p:spPr bwMode="auto">
                <a:xfrm>
                  <a:off x="1274764" y="2486026"/>
                  <a:ext cx="1481138" cy="706438"/>
                </a:xfrm>
                <a:custGeom>
                  <a:avLst/>
                  <a:gdLst>
                    <a:gd name="T0" fmla="*/ 2147483647 w 933"/>
                    <a:gd name="T1" fmla="*/ 2147483647 h 445"/>
                    <a:gd name="T2" fmla="*/ 2147483647 w 933"/>
                    <a:gd name="T3" fmla="*/ 2147483647 h 445"/>
                    <a:gd name="T4" fmla="*/ 2147483647 w 933"/>
                    <a:gd name="T5" fmla="*/ 2147483647 h 445"/>
                    <a:gd name="T6" fmla="*/ 2147483647 w 933"/>
                    <a:gd name="T7" fmla="*/ 2147483647 h 445"/>
                    <a:gd name="T8" fmla="*/ 2147483647 w 933"/>
                    <a:gd name="T9" fmla="*/ 2147483647 h 445"/>
                    <a:gd name="T10" fmla="*/ 2147483647 w 933"/>
                    <a:gd name="T11" fmla="*/ 2147483647 h 445"/>
                    <a:gd name="T12" fmla="*/ 2147483647 w 933"/>
                    <a:gd name="T13" fmla="*/ 2147483647 h 445"/>
                    <a:gd name="T14" fmla="*/ 2147483647 w 933"/>
                    <a:gd name="T15" fmla="*/ 2147483647 h 445"/>
                    <a:gd name="T16" fmla="*/ 2147483647 w 933"/>
                    <a:gd name="T17" fmla="*/ 2147483647 h 445"/>
                    <a:gd name="T18" fmla="*/ 2147483647 w 933"/>
                    <a:gd name="T19" fmla="*/ 2147483647 h 445"/>
                    <a:gd name="T20" fmla="*/ 2147483647 w 933"/>
                    <a:gd name="T21" fmla="*/ 2147483647 h 445"/>
                    <a:gd name="T22" fmla="*/ 2147483647 w 933"/>
                    <a:gd name="T23" fmla="*/ 2147483647 h 445"/>
                    <a:gd name="T24" fmla="*/ 2147483647 w 933"/>
                    <a:gd name="T25" fmla="*/ 2147483647 h 445"/>
                    <a:gd name="T26" fmla="*/ 2147483647 w 933"/>
                    <a:gd name="T27" fmla="*/ 2147483647 h 445"/>
                    <a:gd name="T28" fmla="*/ 2147483647 w 933"/>
                    <a:gd name="T29" fmla="*/ 2147483647 h 445"/>
                    <a:gd name="T30" fmla="*/ 2147483647 w 933"/>
                    <a:gd name="T31" fmla="*/ 2147483647 h 445"/>
                    <a:gd name="T32" fmla="*/ 2147483647 w 933"/>
                    <a:gd name="T33" fmla="*/ 2147483647 h 445"/>
                    <a:gd name="T34" fmla="*/ 2147483647 w 933"/>
                    <a:gd name="T35" fmla="*/ 2147483647 h 445"/>
                    <a:gd name="T36" fmla="*/ 2147483647 w 933"/>
                    <a:gd name="T37" fmla="*/ 2147483647 h 445"/>
                    <a:gd name="T38" fmla="*/ 2147483647 w 933"/>
                    <a:gd name="T39" fmla="*/ 0 h 445"/>
                    <a:gd name="T40" fmla="*/ 2147483647 w 933"/>
                    <a:gd name="T41" fmla="*/ 2147483647 h 445"/>
                    <a:gd name="T42" fmla="*/ 2147483647 w 933"/>
                    <a:gd name="T43" fmla="*/ 2147483647 h 445"/>
                    <a:gd name="T44" fmla="*/ 2147483647 w 933"/>
                    <a:gd name="T45" fmla="*/ 2147483647 h 445"/>
                    <a:gd name="T46" fmla="*/ 2147483647 w 933"/>
                    <a:gd name="T47" fmla="*/ 2147483647 h 445"/>
                    <a:gd name="T48" fmla="*/ 0 w 933"/>
                    <a:gd name="T49" fmla="*/ 2147483647 h 445"/>
                    <a:gd name="T50" fmla="*/ 2147483647 w 933"/>
                    <a:gd name="T51" fmla="*/ 2147483647 h 445"/>
                    <a:gd name="T52" fmla="*/ 2147483647 w 933"/>
                    <a:gd name="T53" fmla="*/ 2147483647 h 445"/>
                    <a:gd name="T54" fmla="*/ 2147483647 w 933"/>
                    <a:gd name="T55" fmla="*/ 2147483647 h 445"/>
                    <a:gd name="T56" fmla="*/ 2147483647 w 933"/>
                    <a:gd name="T57" fmla="*/ 2147483647 h 445"/>
                    <a:gd name="T58" fmla="*/ 2147483647 w 933"/>
                    <a:gd name="T59" fmla="*/ 2147483647 h 445"/>
                    <a:gd name="T60" fmla="*/ 2147483647 w 933"/>
                    <a:gd name="T61" fmla="*/ 2147483647 h 445"/>
                    <a:gd name="T62" fmla="*/ 2147483647 w 933"/>
                    <a:gd name="T63" fmla="*/ 2147483647 h 445"/>
                    <a:gd name="T64" fmla="*/ 2147483647 w 933"/>
                    <a:gd name="T65" fmla="*/ 2147483647 h 445"/>
                    <a:gd name="T66" fmla="*/ 2147483647 w 933"/>
                    <a:gd name="T67" fmla="*/ 2147483647 h 445"/>
                    <a:gd name="T68" fmla="*/ 2147483647 w 933"/>
                    <a:gd name="T69" fmla="*/ 2147483647 h 445"/>
                    <a:gd name="T70" fmla="*/ 2147483647 w 933"/>
                    <a:gd name="T71" fmla="*/ 2147483647 h 445"/>
                    <a:gd name="T72" fmla="*/ 2147483647 w 933"/>
                    <a:gd name="T73" fmla="*/ 2147483647 h 445"/>
                    <a:gd name="T74" fmla="*/ 2147483647 w 933"/>
                    <a:gd name="T75" fmla="*/ 2147483647 h 445"/>
                    <a:gd name="T76" fmla="*/ 2147483647 w 933"/>
                    <a:gd name="T77" fmla="*/ 2147483647 h 445"/>
                    <a:gd name="T78" fmla="*/ 2147483647 w 933"/>
                    <a:gd name="T79" fmla="*/ 2147483647 h 445"/>
                    <a:gd name="T80" fmla="*/ 2147483647 w 933"/>
                    <a:gd name="T81" fmla="*/ 2147483647 h 445"/>
                    <a:gd name="T82" fmla="*/ 2147483647 w 933"/>
                    <a:gd name="T83" fmla="*/ 2147483647 h 445"/>
                    <a:gd name="T84" fmla="*/ 2147483647 w 933"/>
                    <a:gd name="T85" fmla="*/ 2147483647 h 445"/>
                    <a:gd name="T86" fmla="*/ 2147483647 w 933"/>
                    <a:gd name="T87" fmla="*/ 2147483647 h 445"/>
                    <a:gd name="T88" fmla="*/ 2147483647 w 933"/>
                    <a:gd name="T89" fmla="*/ 2147483647 h 445"/>
                    <a:gd name="T90" fmla="*/ 2147483647 w 933"/>
                    <a:gd name="T91" fmla="*/ 2147483647 h 445"/>
                    <a:gd name="T92" fmla="*/ 2147483647 w 933"/>
                    <a:gd name="T93" fmla="*/ 2147483647 h 445"/>
                    <a:gd name="T94" fmla="*/ 2147483647 w 933"/>
                    <a:gd name="T95" fmla="*/ 2147483647 h 445"/>
                    <a:gd name="T96" fmla="*/ 2147483647 w 933"/>
                    <a:gd name="T97" fmla="*/ 2147483647 h 445"/>
                    <a:gd name="T98" fmla="*/ 2147483647 w 933"/>
                    <a:gd name="T99" fmla="*/ 2147483647 h 445"/>
                    <a:gd name="T100" fmla="*/ 2147483647 w 933"/>
                    <a:gd name="T101" fmla="*/ 2147483647 h 445"/>
                    <a:gd name="T102" fmla="*/ 2147483647 w 933"/>
                    <a:gd name="T103" fmla="*/ 2147483647 h 445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933"/>
                    <a:gd name="T157" fmla="*/ 0 h 445"/>
                    <a:gd name="T158" fmla="*/ 933 w 933"/>
                    <a:gd name="T159" fmla="*/ 445 h 445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933" h="445">
                      <a:moveTo>
                        <a:pt x="933" y="35"/>
                      </a:moveTo>
                      <a:lnTo>
                        <a:pt x="916" y="35"/>
                      </a:lnTo>
                      <a:lnTo>
                        <a:pt x="881" y="70"/>
                      </a:lnTo>
                      <a:lnTo>
                        <a:pt x="803" y="79"/>
                      </a:lnTo>
                      <a:lnTo>
                        <a:pt x="776" y="105"/>
                      </a:lnTo>
                      <a:lnTo>
                        <a:pt x="768" y="114"/>
                      </a:lnTo>
                      <a:lnTo>
                        <a:pt x="724" y="122"/>
                      </a:lnTo>
                      <a:lnTo>
                        <a:pt x="715" y="122"/>
                      </a:lnTo>
                      <a:lnTo>
                        <a:pt x="707" y="131"/>
                      </a:lnTo>
                      <a:lnTo>
                        <a:pt x="663" y="148"/>
                      </a:lnTo>
                      <a:lnTo>
                        <a:pt x="646" y="140"/>
                      </a:lnTo>
                      <a:lnTo>
                        <a:pt x="672" y="131"/>
                      </a:lnTo>
                      <a:lnTo>
                        <a:pt x="681" y="122"/>
                      </a:lnTo>
                      <a:lnTo>
                        <a:pt x="672" y="105"/>
                      </a:lnTo>
                      <a:lnTo>
                        <a:pt x="654" y="105"/>
                      </a:lnTo>
                      <a:lnTo>
                        <a:pt x="672" y="87"/>
                      </a:lnTo>
                      <a:lnTo>
                        <a:pt x="672" y="70"/>
                      </a:lnTo>
                      <a:lnTo>
                        <a:pt x="654" y="79"/>
                      </a:lnTo>
                      <a:lnTo>
                        <a:pt x="619" y="96"/>
                      </a:lnTo>
                      <a:lnTo>
                        <a:pt x="611" y="131"/>
                      </a:lnTo>
                      <a:lnTo>
                        <a:pt x="593" y="140"/>
                      </a:lnTo>
                      <a:lnTo>
                        <a:pt x="585" y="131"/>
                      </a:lnTo>
                      <a:lnTo>
                        <a:pt x="585" y="114"/>
                      </a:lnTo>
                      <a:lnTo>
                        <a:pt x="602" y="96"/>
                      </a:lnTo>
                      <a:lnTo>
                        <a:pt x="602" y="79"/>
                      </a:lnTo>
                      <a:lnTo>
                        <a:pt x="611" y="79"/>
                      </a:lnTo>
                      <a:lnTo>
                        <a:pt x="637" y="61"/>
                      </a:lnTo>
                      <a:lnTo>
                        <a:pt x="654" y="61"/>
                      </a:lnTo>
                      <a:lnTo>
                        <a:pt x="672" y="61"/>
                      </a:lnTo>
                      <a:lnTo>
                        <a:pt x="663" y="53"/>
                      </a:lnTo>
                      <a:lnTo>
                        <a:pt x="619" y="53"/>
                      </a:lnTo>
                      <a:lnTo>
                        <a:pt x="628" y="35"/>
                      </a:lnTo>
                      <a:lnTo>
                        <a:pt x="585" y="53"/>
                      </a:lnTo>
                      <a:lnTo>
                        <a:pt x="567" y="53"/>
                      </a:lnTo>
                      <a:lnTo>
                        <a:pt x="567" y="35"/>
                      </a:lnTo>
                      <a:lnTo>
                        <a:pt x="602" y="35"/>
                      </a:lnTo>
                      <a:lnTo>
                        <a:pt x="585" y="18"/>
                      </a:lnTo>
                      <a:lnTo>
                        <a:pt x="576" y="26"/>
                      </a:lnTo>
                      <a:lnTo>
                        <a:pt x="550" y="18"/>
                      </a:lnTo>
                      <a:lnTo>
                        <a:pt x="550" y="0"/>
                      </a:lnTo>
                      <a:lnTo>
                        <a:pt x="532" y="0"/>
                      </a:lnTo>
                      <a:lnTo>
                        <a:pt x="532" y="9"/>
                      </a:lnTo>
                      <a:lnTo>
                        <a:pt x="114" y="9"/>
                      </a:lnTo>
                      <a:lnTo>
                        <a:pt x="114" y="44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79" y="53"/>
                      </a:lnTo>
                      <a:lnTo>
                        <a:pt x="35" y="105"/>
                      </a:lnTo>
                      <a:lnTo>
                        <a:pt x="18" y="148"/>
                      </a:lnTo>
                      <a:lnTo>
                        <a:pt x="0" y="166"/>
                      </a:lnTo>
                      <a:lnTo>
                        <a:pt x="0" y="201"/>
                      </a:lnTo>
                      <a:lnTo>
                        <a:pt x="9" y="201"/>
                      </a:lnTo>
                      <a:lnTo>
                        <a:pt x="9" y="209"/>
                      </a:lnTo>
                      <a:lnTo>
                        <a:pt x="9" y="262"/>
                      </a:lnTo>
                      <a:lnTo>
                        <a:pt x="0" y="270"/>
                      </a:lnTo>
                      <a:lnTo>
                        <a:pt x="44" y="297"/>
                      </a:lnTo>
                      <a:lnTo>
                        <a:pt x="53" y="314"/>
                      </a:lnTo>
                      <a:lnTo>
                        <a:pt x="105" y="314"/>
                      </a:lnTo>
                      <a:lnTo>
                        <a:pt x="166" y="332"/>
                      </a:lnTo>
                      <a:lnTo>
                        <a:pt x="201" y="323"/>
                      </a:lnTo>
                      <a:lnTo>
                        <a:pt x="227" y="323"/>
                      </a:lnTo>
                      <a:lnTo>
                        <a:pt x="253" y="375"/>
                      </a:lnTo>
                      <a:lnTo>
                        <a:pt x="271" y="375"/>
                      </a:lnTo>
                      <a:lnTo>
                        <a:pt x="271" y="366"/>
                      </a:lnTo>
                      <a:lnTo>
                        <a:pt x="288" y="358"/>
                      </a:lnTo>
                      <a:lnTo>
                        <a:pt x="314" y="384"/>
                      </a:lnTo>
                      <a:lnTo>
                        <a:pt x="323" y="419"/>
                      </a:lnTo>
                      <a:lnTo>
                        <a:pt x="332" y="436"/>
                      </a:lnTo>
                      <a:lnTo>
                        <a:pt x="340" y="419"/>
                      </a:lnTo>
                      <a:lnTo>
                        <a:pt x="340" y="401"/>
                      </a:lnTo>
                      <a:lnTo>
                        <a:pt x="419" y="358"/>
                      </a:lnTo>
                      <a:lnTo>
                        <a:pt x="428" y="366"/>
                      </a:lnTo>
                      <a:lnTo>
                        <a:pt x="445" y="366"/>
                      </a:lnTo>
                      <a:lnTo>
                        <a:pt x="454" y="375"/>
                      </a:lnTo>
                      <a:lnTo>
                        <a:pt x="480" y="366"/>
                      </a:lnTo>
                      <a:lnTo>
                        <a:pt x="471" y="349"/>
                      </a:lnTo>
                      <a:lnTo>
                        <a:pt x="576" y="358"/>
                      </a:lnTo>
                      <a:lnTo>
                        <a:pt x="585" y="375"/>
                      </a:lnTo>
                      <a:lnTo>
                        <a:pt x="585" y="401"/>
                      </a:lnTo>
                      <a:lnTo>
                        <a:pt x="593" y="419"/>
                      </a:lnTo>
                      <a:lnTo>
                        <a:pt x="593" y="436"/>
                      </a:lnTo>
                      <a:lnTo>
                        <a:pt x="602" y="445"/>
                      </a:lnTo>
                      <a:lnTo>
                        <a:pt x="611" y="445"/>
                      </a:lnTo>
                      <a:lnTo>
                        <a:pt x="628" y="410"/>
                      </a:lnTo>
                      <a:lnTo>
                        <a:pt x="628" y="375"/>
                      </a:lnTo>
                      <a:lnTo>
                        <a:pt x="619" y="332"/>
                      </a:lnTo>
                      <a:lnTo>
                        <a:pt x="689" y="279"/>
                      </a:lnTo>
                      <a:lnTo>
                        <a:pt x="715" y="270"/>
                      </a:lnTo>
                      <a:lnTo>
                        <a:pt x="733" y="244"/>
                      </a:lnTo>
                      <a:lnTo>
                        <a:pt x="724" y="227"/>
                      </a:lnTo>
                      <a:lnTo>
                        <a:pt x="742" y="218"/>
                      </a:lnTo>
                      <a:lnTo>
                        <a:pt x="724" y="201"/>
                      </a:lnTo>
                      <a:lnTo>
                        <a:pt x="742" y="183"/>
                      </a:lnTo>
                      <a:lnTo>
                        <a:pt x="750" y="209"/>
                      </a:lnTo>
                      <a:lnTo>
                        <a:pt x="759" y="201"/>
                      </a:lnTo>
                      <a:lnTo>
                        <a:pt x="759" y="175"/>
                      </a:lnTo>
                      <a:lnTo>
                        <a:pt x="768" y="183"/>
                      </a:lnTo>
                      <a:lnTo>
                        <a:pt x="794" y="166"/>
                      </a:lnTo>
                      <a:lnTo>
                        <a:pt x="794" y="157"/>
                      </a:lnTo>
                      <a:lnTo>
                        <a:pt x="855" y="140"/>
                      </a:lnTo>
                      <a:lnTo>
                        <a:pt x="846" y="131"/>
                      </a:lnTo>
                      <a:lnTo>
                        <a:pt x="864" y="105"/>
                      </a:lnTo>
                      <a:lnTo>
                        <a:pt x="925" y="87"/>
                      </a:lnTo>
                      <a:lnTo>
                        <a:pt x="925" y="53"/>
                      </a:lnTo>
                      <a:lnTo>
                        <a:pt x="933" y="35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4" name="Freeform 22"/>
                <p:cNvSpPr>
                  <a:spLocks/>
                </p:cNvSpPr>
                <p:nvPr/>
              </p:nvSpPr>
              <p:spPr bwMode="auto">
                <a:xfrm>
                  <a:off x="2784476" y="1655763"/>
                  <a:ext cx="581025" cy="152400"/>
                </a:xfrm>
                <a:custGeom>
                  <a:avLst/>
                  <a:gdLst>
                    <a:gd name="T0" fmla="*/ 2147483647 w 366"/>
                    <a:gd name="T1" fmla="*/ 2147483647 h 96"/>
                    <a:gd name="T2" fmla="*/ 2147483647 w 366"/>
                    <a:gd name="T3" fmla="*/ 0 h 96"/>
                    <a:gd name="T4" fmla="*/ 2147483647 w 366"/>
                    <a:gd name="T5" fmla="*/ 0 h 96"/>
                    <a:gd name="T6" fmla="*/ 2147483647 w 366"/>
                    <a:gd name="T7" fmla="*/ 2147483647 h 96"/>
                    <a:gd name="T8" fmla="*/ 2147483647 w 366"/>
                    <a:gd name="T9" fmla="*/ 0 h 96"/>
                    <a:gd name="T10" fmla="*/ 2147483647 w 366"/>
                    <a:gd name="T11" fmla="*/ 2147483647 h 96"/>
                    <a:gd name="T12" fmla="*/ 2147483647 w 366"/>
                    <a:gd name="T13" fmla="*/ 0 h 96"/>
                    <a:gd name="T14" fmla="*/ 2147483647 w 366"/>
                    <a:gd name="T15" fmla="*/ 2147483647 h 96"/>
                    <a:gd name="T16" fmla="*/ 2147483647 w 366"/>
                    <a:gd name="T17" fmla="*/ 2147483647 h 96"/>
                    <a:gd name="T18" fmla="*/ 2147483647 w 366"/>
                    <a:gd name="T19" fmla="*/ 2147483647 h 96"/>
                    <a:gd name="T20" fmla="*/ 2147483647 w 366"/>
                    <a:gd name="T21" fmla="*/ 2147483647 h 96"/>
                    <a:gd name="T22" fmla="*/ 2147483647 w 366"/>
                    <a:gd name="T23" fmla="*/ 2147483647 h 96"/>
                    <a:gd name="T24" fmla="*/ 2147483647 w 366"/>
                    <a:gd name="T25" fmla="*/ 2147483647 h 96"/>
                    <a:gd name="T26" fmla="*/ 2147483647 w 366"/>
                    <a:gd name="T27" fmla="*/ 2147483647 h 96"/>
                    <a:gd name="T28" fmla="*/ 2147483647 w 366"/>
                    <a:gd name="T29" fmla="*/ 2147483647 h 96"/>
                    <a:gd name="T30" fmla="*/ 2147483647 w 366"/>
                    <a:gd name="T31" fmla="*/ 2147483647 h 96"/>
                    <a:gd name="T32" fmla="*/ 2147483647 w 366"/>
                    <a:gd name="T33" fmla="*/ 2147483647 h 96"/>
                    <a:gd name="T34" fmla="*/ 2147483647 w 366"/>
                    <a:gd name="T35" fmla="*/ 2147483647 h 96"/>
                    <a:gd name="T36" fmla="*/ 2147483647 w 366"/>
                    <a:gd name="T37" fmla="*/ 2147483647 h 96"/>
                    <a:gd name="T38" fmla="*/ 2147483647 w 366"/>
                    <a:gd name="T39" fmla="*/ 2147483647 h 96"/>
                    <a:gd name="T40" fmla="*/ 2147483647 w 366"/>
                    <a:gd name="T41" fmla="*/ 2147483647 h 96"/>
                    <a:gd name="T42" fmla="*/ 2147483647 w 366"/>
                    <a:gd name="T43" fmla="*/ 2147483647 h 96"/>
                    <a:gd name="T44" fmla="*/ 2147483647 w 366"/>
                    <a:gd name="T45" fmla="*/ 2147483647 h 96"/>
                    <a:gd name="T46" fmla="*/ 2147483647 w 366"/>
                    <a:gd name="T47" fmla="*/ 2147483647 h 96"/>
                    <a:gd name="T48" fmla="*/ 0 w 366"/>
                    <a:gd name="T49" fmla="*/ 2147483647 h 96"/>
                    <a:gd name="T50" fmla="*/ 2147483647 w 366"/>
                    <a:gd name="T51" fmla="*/ 2147483647 h 96"/>
                    <a:gd name="T52" fmla="*/ 2147483647 w 366"/>
                    <a:gd name="T53" fmla="*/ 2147483647 h 96"/>
                    <a:gd name="T54" fmla="*/ 2147483647 w 366"/>
                    <a:gd name="T55" fmla="*/ 2147483647 h 96"/>
                    <a:gd name="T56" fmla="*/ 2147483647 w 366"/>
                    <a:gd name="T57" fmla="*/ 2147483647 h 96"/>
                    <a:gd name="T58" fmla="*/ 2147483647 w 366"/>
                    <a:gd name="T59" fmla="*/ 2147483647 h 96"/>
                    <a:gd name="T60" fmla="*/ 2147483647 w 366"/>
                    <a:gd name="T61" fmla="*/ 2147483647 h 96"/>
                    <a:gd name="T62" fmla="*/ 2147483647 w 366"/>
                    <a:gd name="T63" fmla="*/ 2147483647 h 96"/>
                    <a:gd name="T64" fmla="*/ 2147483647 w 366"/>
                    <a:gd name="T65" fmla="*/ 2147483647 h 96"/>
                    <a:gd name="T66" fmla="*/ 2147483647 w 366"/>
                    <a:gd name="T67" fmla="*/ 2147483647 h 96"/>
                    <a:gd name="T68" fmla="*/ 2147483647 w 366"/>
                    <a:gd name="T69" fmla="*/ 2147483647 h 96"/>
                    <a:gd name="T70" fmla="*/ 2147483647 w 366"/>
                    <a:gd name="T71" fmla="*/ 2147483647 h 96"/>
                    <a:gd name="T72" fmla="*/ 2147483647 w 366"/>
                    <a:gd name="T73" fmla="*/ 2147483647 h 96"/>
                    <a:gd name="T74" fmla="*/ 2147483647 w 366"/>
                    <a:gd name="T75" fmla="*/ 2147483647 h 96"/>
                    <a:gd name="T76" fmla="*/ 2147483647 w 366"/>
                    <a:gd name="T77" fmla="*/ 2147483647 h 96"/>
                    <a:gd name="T78" fmla="*/ 2147483647 w 366"/>
                    <a:gd name="T79" fmla="*/ 2147483647 h 9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366"/>
                    <a:gd name="T121" fmla="*/ 0 h 96"/>
                    <a:gd name="T122" fmla="*/ 366 w 366"/>
                    <a:gd name="T123" fmla="*/ 96 h 9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366" h="96">
                      <a:moveTo>
                        <a:pt x="296" y="18"/>
                      </a:moveTo>
                      <a:lnTo>
                        <a:pt x="366" y="0"/>
                      </a:lnTo>
                      <a:lnTo>
                        <a:pt x="288" y="0"/>
                      </a:lnTo>
                      <a:lnTo>
                        <a:pt x="261" y="9"/>
                      </a:lnTo>
                      <a:lnTo>
                        <a:pt x="244" y="0"/>
                      </a:lnTo>
                      <a:lnTo>
                        <a:pt x="227" y="9"/>
                      </a:lnTo>
                      <a:lnTo>
                        <a:pt x="192" y="0"/>
                      </a:lnTo>
                      <a:lnTo>
                        <a:pt x="165" y="9"/>
                      </a:lnTo>
                      <a:lnTo>
                        <a:pt x="148" y="18"/>
                      </a:lnTo>
                      <a:lnTo>
                        <a:pt x="122" y="18"/>
                      </a:lnTo>
                      <a:lnTo>
                        <a:pt x="61" y="27"/>
                      </a:lnTo>
                      <a:lnTo>
                        <a:pt x="104" y="35"/>
                      </a:lnTo>
                      <a:lnTo>
                        <a:pt x="192" y="27"/>
                      </a:lnTo>
                      <a:lnTo>
                        <a:pt x="183" y="35"/>
                      </a:lnTo>
                      <a:lnTo>
                        <a:pt x="131" y="44"/>
                      </a:lnTo>
                      <a:lnTo>
                        <a:pt x="139" y="44"/>
                      </a:lnTo>
                      <a:lnTo>
                        <a:pt x="96" y="44"/>
                      </a:lnTo>
                      <a:lnTo>
                        <a:pt x="113" y="53"/>
                      </a:lnTo>
                      <a:lnTo>
                        <a:pt x="78" y="53"/>
                      </a:lnTo>
                      <a:lnTo>
                        <a:pt x="52" y="53"/>
                      </a:lnTo>
                      <a:lnTo>
                        <a:pt x="70" y="53"/>
                      </a:lnTo>
                      <a:lnTo>
                        <a:pt x="70" y="70"/>
                      </a:lnTo>
                      <a:lnTo>
                        <a:pt x="43" y="70"/>
                      </a:lnTo>
                      <a:lnTo>
                        <a:pt x="17" y="70"/>
                      </a:lnTo>
                      <a:lnTo>
                        <a:pt x="0" y="79"/>
                      </a:lnTo>
                      <a:lnTo>
                        <a:pt x="70" y="79"/>
                      </a:lnTo>
                      <a:lnTo>
                        <a:pt x="96" y="96"/>
                      </a:lnTo>
                      <a:lnTo>
                        <a:pt x="122" y="79"/>
                      </a:lnTo>
                      <a:lnTo>
                        <a:pt x="96" y="70"/>
                      </a:lnTo>
                      <a:lnTo>
                        <a:pt x="122" y="70"/>
                      </a:lnTo>
                      <a:lnTo>
                        <a:pt x="148" y="70"/>
                      </a:lnTo>
                      <a:lnTo>
                        <a:pt x="174" y="61"/>
                      </a:lnTo>
                      <a:lnTo>
                        <a:pt x="148" y="53"/>
                      </a:lnTo>
                      <a:lnTo>
                        <a:pt x="174" y="44"/>
                      </a:lnTo>
                      <a:lnTo>
                        <a:pt x="174" y="53"/>
                      </a:lnTo>
                      <a:lnTo>
                        <a:pt x="209" y="44"/>
                      </a:lnTo>
                      <a:lnTo>
                        <a:pt x="261" y="35"/>
                      </a:lnTo>
                      <a:lnTo>
                        <a:pt x="270" y="27"/>
                      </a:lnTo>
                      <a:lnTo>
                        <a:pt x="288" y="35"/>
                      </a:lnTo>
                      <a:lnTo>
                        <a:pt x="296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5" name="Freeform 23"/>
                <p:cNvSpPr>
                  <a:spLocks/>
                </p:cNvSpPr>
                <p:nvPr/>
              </p:nvSpPr>
              <p:spPr bwMode="auto">
                <a:xfrm>
                  <a:off x="2784476" y="1655763"/>
                  <a:ext cx="581025" cy="152400"/>
                </a:xfrm>
                <a:custGeom>
                  <a:avLst/>
                  <a:gdLst>
                    <a:gd name="T0" fmla="*/ 2147483647 w 366"/>
                    <a:gd name="T1" fmla="*/ 2147483647 h 96"/>
                    <a:gd name="T2" fmla="*/ 2147483647 w 366"/>
                    <a:gd name="T3" fmla="*/ 0 h 96"/>
                    <a:gd name="T4" fmla="*/ 2147483647 w 366"/>
                    <a:gd name="T5" fmla="*/ 0 h 96"/>
                    <a:gd name="T6" fmla="*/ 2147483647 w 366"/>
                    <a:gd name="T7" fmla="*/ 2147483647 h 96"/>
                    <a:gd name="T8" fmla="*/ 2147483647 w 366"/>
                    <a:gd name="T9" fmla="*/ 0 h 96"/>
                    <a:gd name="T10" fmla="*/ 2147483647 w 366"/>
                    <a:gd name="T11" fmla="*/ 2147483647 h 96"/>
                    <a:gd name="T12" fmla="*/ 2147483647 w 366"/>
                    <a:gd name="T13" fmla="*/ 0 h 96"/>
                    <a:gd name="T14" fmla="*/ 2147483647 w 366"/>
                    <a:gd name="T15" fmla="*/ 2147483647 h 96"/>
                    <a:gd name="T16" fmla="*/ 2147483647 w 366"/>
                    <a:gd name="T17" fmla="*/ 2147483647 h 96"/>
                    <a:gd name="T18" fmla="*/ 2147483647 w 366"/>
                    <a:gd name="T19" fmla="*/ 2147483647 h 96"/>
                    <a:gd name="T20" fmla="*/ 2147483647 w 366"/>
                    <a:gd name="T21" fmla="*/ 2147483647 h 96"/>
                    <a:gd name="T22" fmla="*/ 2147483647 w 366"/>
                    <a:gd name="T23" fmla="*/ 2147483647 h 96"/>
                    <a:gd name="T24" fmla="*/ 2147483647 w 366"/>
                    <a:gd name="T25" fmla="*/ 2147483647 h 96"/>
                    <a:gd name="T26" fmla="*/ 2147483647 w 366"/>
                    <a:gd name="T27" fmla="*/ 2147483647 h 96"/>
                    <a:gd name="T28" fmla="*/ 2147483647 w 366"/>
                    <a:gd name="T29" fmla="*/ 2147483647 h 96"/>
                    <a:gd name="T30" fmla="*/ 2147483647 w 366"/>
                    <a:gd name="T31" fmla="*/ 2147483647 h 96"/>
                    <a:gd name="T32" fmla="*/ 2147483647 w 366"/>
                    <a:gd name="T33" fmla="*/ 2147483647 h 96"/>
                    <a:gd name="T34" fmla="*/ 2147483647 w 366"/>
                    <a:gd name="T35" fmla="*/ 2147483647 h 96"/>
                    <a:gd name="T36" fmla="*/ 2147483647 w 366"/>
                    <a:gd name="T37" fmla="*/ 2147483647 h 96"/>
                    <a:gd name="T38" fmla="*/ 2147483647 w 366"/>
                    <a:gd name="T39" fmla="*/ 2147483647 h 96"/>
                    <a:gd name="T40" fmla="*/ 2147483647 w 366"/>
                    <a:gd name="T41" fmla="*/ 2147483647 h 96"/>
                    <a:gd name="T42" fmla="*/ 2147483647 w 366"/>
                    <a:gd name="T43" fmla="*/ 2147483647 h 96"/>
                    <a:gd name="T44" fmla="*/ 2147483647 w 366"/>
                    <a:gd name="T45" fmla="*/ 2147483647 h 96"/>
                    <a:gd name="T46" fmla="*/ 2147483647 w 366"/>
                    <a:gd name="T47" fmla="*/ 2147483647 h 96"/>
                    <a:gd name="T48" fmla="*/ 0 w 366"/>
                    <a:gd name="T49" fmla="*/ 2147483647 h 96"/>
                    <a:gd name="T50" fmla="*/ 2147483647 w 366"/>
                    <a:gd name="T51" fmla="*/ 2147483647 h 96"/>
                    <a:gd name="T52" fmla="*/ 2147483647 w 366"/>
                    <a:gd name="T53" fmla="*/ 2147483647 h 96"/>
                    <a:gd name="T54" fmla="*/ 2147483647 w 366"/>
                    <a:gd name="T55" fmla="*/ 2147483647 h 96"/>
                    <a:gd name="T56" fmla="*/ 2147483647 w 366"/>
                    <a:gd name="T57" fmla="*/ 2147483647 h 96"/>
                    <a:gd name="T58" fmla="*/ 2147483647 w 366"/>
                    <a:gd name="T59" fmla="*/ 2147483647 h 96"/>
                    <a:gd name="T60" fmla="*/ 2147483647 w 366"/>
                    <a:gd name="T61" fmla="*/ 2147483647 h 96"/>
                    <a:gd name="T62" fmla="*/ 2147483647 w 366"/>
                    <a:gd name="T63" fmla="*/ 2147483647 h 96"/>
                    <a:gd name="T64" fmla="*/ 2147483647 w 366"/>
                    <a:gd name="T65" fmla="*/ 2147483647 h 96"/>
                    <a:gd name="T66" fmla="*/ 2147483647 w 366"/>
                    <a:gd name="T67" fmla="*/ 2147483647 h 96"/>
                    <a:gd name="T68" fmla="*/ 2147483647 w 366"/>
                    <a:gd name="T69" fmla="*/ 2147483647 h 96"/>
                    <a:gd name="T70" fmla="*/ 2147483647 w 366"/>
                    <a:gd name="T71" fmla="*/ 2147483647 h 96"/>
                    <a:gd name="T72" fmla="*/ 2147483647 w 366"/>
                    <a:gd name="T73" fmla="*/ 2147483647 h 96"/>
                    <a:gd name="T74" fmla="*/ 2147483647 w 366"/>
                    <a:gd name="T75" fmla="*/ 2147483647 h 96"/>
                    <a:gd name="T76" fmla="*/ 2147483647 w 366"/>
                    <a:gd name="T77" fmla="*/ 2147483647 h 96"/>
                    <a:gd name="T78" fmla="*/ 2147483647 w 366"/>
                    <a:gd name="T79" fmla="*/ 2147483647 h 9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366"/>
                    <a:gd name="T121" fmla="*/ 0 h 96"/>
                    <a:gd name="T122" fmla="*/ 366 w 366"/>
                    <a:gd name="T123" fmla="*/ 96 h 9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366" h="96">
                      <a:moveTo>
                        <a:pt x="296" y="18"/>
                      </a:moveTo>
                      <a:lnTo>
                        <a:pt x="366" y="0"/>
                      </a:lnTo>
                      <a:lnTo>
                        <a:pt x="288" y="0"/>
                      </a:lnTo>
                      <a:lnTo>
                        <a:pt x="261" y="9"/>
                      </a:lnTo>
                      <a:lnTo>
                        <a:pt x="244" y="0"/>
                      </a:lnTo>
                      <a:lnTo>
                        <a:pt x="227" y="9"/>
                      </a:lnTo>
                      <a:lnTo>
                        <a:pt x="192" y="0"/>
                      </a:lnTo>
                      <a:lnTo>
                        <a:pt x="165" y="9"/>
                      </a:lnTo>
                      <a:lnTo>
                        <a:pt x="148" y="18"/>
                      </a:lnTo>
                      <a:lnTo>
                        <a:pt x="122" y="18"/>
                      </a:lnTo>
                      <a:lnTo>
                        <a:pt x="61" y="27"/>
                      </a:lnTo>
                      <a:lnTo>
                        <a:pt x="104" y="35"/>
                      </a:lnTo>
                      <a:lnTo>
                        <a:pt x="192" y="27"/>
                      </a:lnTo>
                      <a:lnTo>
                        <a:pt x="183" y="35"/>
                      </a:lnTo>
                      <a:lnTo>
                        <a:pt x="131" y="44"/>
                      </a:lnTo>
                      <a:lnTo>
                        <a:pt x="139" y="44"/>
                      </a:lnTo>
                      <a:lnTo>
                        <a:pt x="96" y="44"/>
                      </a:lnTo>
                      <a:lnTo>
                        <a:pt x="113" y="53"/>
                      </a:lnTo>
                      <a:lnTo>
                        <a:pt x="78" y="53"/>
                      </a:lnTo>
                      <a:lnTo>
                        <a:pt x="52" y="53"/>
                      </a:lnTo>
                      <a:lnTo>
                        <a:pt x="70" y="53"/>
                      </a:lnTo>
                      <a:lnTo>
                        <a:pt x="70" y="70"/>
                      </a:lnTo>
                      <a:lnTo>
                        <a:pt x="43" y="70"/>
                      </a:lnTo>
                      <a:lnTo>
                        <a:pt x="17" y="70"/>
                      </a:lnTo>
                      <a:lnTo>
                        <a:pt x="0" y="79"/>
                      </a:lnTo>
                      <a:lnTo>
                        <a:pt x="70" y="79"/>
                      </a:lnTo>
                      <a:lnTo>
                        <a:pt x="96" y="96"/>
                      </a:lnTo>
                      <a:lnTo>
                        <a:pt x="122" y="79"/>
                      </a:lnTo>
                      <a:lnTo>
                        <a:pt x="96" y="70"/>
                      </a:lnTo>
                      <a:lnTo>
                        <a:pt x="122" y="70"/>
                      </a:lnTo>
                      <a:lnTo>
                        <a:pt x="148" y="70"/>
                      </a:lnTo>
                      <a:lnTo>
                        <a:pt x="174" y="61"/>
                      </a:lnTo>
                      <a:lnTo>
                        <a:pt x="148" y="53"/>
                      </a:lnTo>
                      <a:lnTo>
                        <a:pt x="174" y="44"/>
                      </a:lnTo>
                      <a:lnTo>
                        <a:pt x="174" y="53"/>
                      </a:lnTo>
                      <a:lnTo>
                        <a:pt x="209" y="44"/>
                      </a:lnTo>
                      <a:lnTo>
                        <a:pt x="261" y="35"/>
                      </a:lnTo>
                      <a:lnTo>
                        <a:pt x="270" y="27"/>
                      </a:lnTo>
                      <a:lnTo>
                        <a:pt x="288" y="35"/>
                      </a:lnTo>
                      <a:lnTo>
                        <a:pt x="296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6" name="Freeform 24"/>
                <p:cNvSpPr>
                  <a:spLocks/>
                </p:cNvSpPr>
                <p:nvPr/>
              </p:nvSpPr>
              <p:spPr bwMode="auto">
                <a:xfrm>
                  <a:off x="2755901" y="1684338"/>
                  <a:ext cx="152400" cy="68263"/>
                </a:xfrm>
                <a:custGeom>
                  <a:avLst/>
                  <a:gdLst>
                    <a:gd name="T0" fmla="*/ 0 w 96"/>
                    <a:gd name="T1" fmla="*/ 2147483647 h 43"/>
                    <a:gd name="T2" fmla="*/ 2147483647 w 96"/>
                    <a:gd name="T3" fmla="*/ 2147483647 h 43"/>
                    <a:gd name="T4" fmla="*/ 2147483647 w 96"/>
                    <a:gd name="T5" fmla="*/ 2147483647 h 43"/>
                    <a:gd name="T6" fmla="*/ 2147483647 w 96"/>
                    <a:gd name="T7" fmla="*/ 2147483647 h 43"/>
                    <a:gd name="T8" fmla="*/ 2147483647 w 96"/>
                    <a:gd name="T9" fmla="*/ 2147483647 h 43"/>
                    <a:gd name="T10" fmla="*/ 2147483647 w 96"/>
                    <a:gd name="T11" fmla="*/ 2147483647 h 43"/>
                    <a:gd name="T12" fmla="*/ 2147483647 w 96"/>
                    <a:gd name="T13" fmla="*/ 2147483647 h 43"/>
                    <a:gd name="T14" fmla="*/ 2147483647 w 96"/>
                    <a:gd name="T15" fmla="*/ 2147483647 h 43"/>
                    <a:gd name="T16" fmla="*/ 2147483647 w 96"/>
                    <a:gd name="T17" fmla="*/ 2147483647 h 43"/>
                    <a:gd name="T18" fmla="*/ 2147483647 w 96"/>
                    <a:gd name="T19" fmla="*/ 0 h 43"/>
                    <a:gd name="T20" fmla="*/ 0 w 96"/>
                    <a:gd name="T21" fmla="*/ 2147483647 h 4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"/>
                    <a:gd name="T34" fmla="*/ 0 h 43"/>
                    <a:gd name="T35" fmla="*/ 96 w 96"/>
                    <a:gd name="T36" fmla="*/ 43 h 4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" h="43">
                      <a:moveTo>
                        <a:pt x="0" y="17"/>
                      </a:moveTo>
                      <a:lnTo>
                        <a:pt x="27" y="26"/>
                      </a:lnTo>
                      <a:lnTo>
                        <a:pt x="9" y="35"/>
                      </a:lnTo>
                      <a:lnTo>
                        <a:pt x="9" y="43"/>
                      </a:lnTo>
                      <a:lnTo>
                        <a:pt x="35" y="43"/>
                      </a:lnTo>
                      <a:lnTo>
                        <a:pt x="44" y="35"/>
                      </a:lnTo>
                      <a:lnTo>
                        <a:pt x="96" y="26"/>
                      </a:lnTo>
                      <a:lnTo>
                        <a:pt x="61" y="17"/>
                      </a:lnTo>
                      <a:lnTo>
                        <a:pt x="53" y="9"/>
                      </a:lnTo>
                      <a:lnTo>
                        <a:pt x="27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7" name="Freeform 25"/>
                <p:cNvSpPr>
                  <a:spLocks/>
                </p:cNvSpPr>
                <p:nvPr/>
              </p:nvSpPr>
              <p:spPr bwMode="auto">
                <a:xfrm>
                  <a:off x="2755901" y="1684338"/>
                  <a:ext cx="152400" cy="68263"/>
                </a:xfrm>
                <a:custGeom>
                  <a:avLst/>
                  <a:gdLst>
                    <a:gd name="T0" fmla="*/ 0 w 96"/>
                    <a:gd name="T1" fmla="*/ 2147483647 h 43"/>
                    <a:gd name="T2" fmla="*/ 2147483647 w 96"/>
                    <a:gd name="T3" fmla="*/ 2147483647 h 43"/>
                    <a:gd name="T4" fmla="*/ 2147483647 w 96"/>
                    <a:gd name="T5" fmla="*/ 2147483647 h 43"/>
                    <a:gd name="T6" fmla="*/ 2147483647 w 96"/>
                    <a:gd name="T7" fmla="*/ 2147483647 h 43"/>
                    <a:gd name="T8" fmla="*/ 2147483647 w 96"/>
                    <a:gd name="T9" fmla="*/ 2147483647 h 43"/>
                    <a:gd name="T10" fmla="*/ 2147483647 w 96"/>
                    <a:gd name="T11" fmla="*/ 2147483647 h 43"/>
                    <a:gd name="T12" fmla="*/ 2147483647 w 96"/>
                    <a:gd name="T13" fmla="*/ 2147483647 h 43"/>
                    <a:gd name="T14" fmla="*/ 2147483647 w 96"/>
                    <a:gd name="T15" fmla="*/ 2147483647 h 43"/>
                    <a:gd name="T16" fmla="*/ 2147483647 w 96"/>
                    <a:gd name="T17" fmla="*/ 2147483647 h 43"/>
                    <a:gd name="T18" fmla="*/ 2147483647 w 96"/>
                    <a:gd name="T19" fmla="*/ 0 h 43"/>
                    <a:gd name="T20" fmla="*/ 0 w 96"/>
                    <a:gd name="T21" fmla="*/ 2147483647 h 4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"/>
                    <a:gd name="T34" fmla="*/ 0 h 43"/>
                    <a:gd name="T35" fmla="*/ 96 w 96"/>
                    <a:gd name="T36" fmla="*/ 43 h 4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" h="43">
                      <a:moveTo>
                        <a:pt x="0" y="17"/>
                      </a:moveTo>
                      <a:lnTo>
                        <a:pt x="27" y="26"/>
                      </a:lnTo>
                      <a:lnTo>
                        <a:pt x="9" y="35"/>
                      </a:lnTo>
                      <a:lnTo>
                        <a:pt x="9" y="43"/>
                      </a:lnTo>
                      <a:lnTo>
                        <a:pt x="35" y="43"/>
                      </a:lnTo>
                      <a:lnTo>
                        <a:pt x="44" y="35"/>
                      </a:lnTo>
                      <a:lnTo>
                        <a:pt x="96" y="26"/>
                      </a:lnTo>
                      <a:lnTo>
                        <a:pt x="61" y="17"/>
                      </a:lnTo>
                      <a:lnTo>
                        <a:pt x="53" y="9"/>
                      </a:lnTo>
                      <a:lnTo>
                        <a:pt x="27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8" name="Freeform 26"/>
                <p:cNvSpPr>
                  <a:spLocks/>
                </p:cNvSpPr>
                <p:nvPr/>
              </p:nvSpPr>
              <p:spPr bwMode="auto">
                <a:xfrm>
                  <a:off x="2549526" y="1725613"/>
                  <a:ext cx="82550" cy="41275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2147483647 w 52"/>
                    <a:gd name="T7" fmla="*/ 0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2147483647 w 52"/>
                    <a:gd name="T15" fmla="*/ 2147483647 h 26"/>
                    <a:gd name="T16" fmla="*/ 2147483647 w 52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6"/>
                    <a:gd name="T29" fmla="*/ 52 w 52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6">
                      <a:moveTo>
                        <a:pt x="52" y="26"/>
                      </a:moveTo>
                      <a:lnTo>
                        <a:pt x="52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17"/>
                      </a:lnTo>
                      <a:lnTo>
                        <a:pt x="17" y="17"/>
                      </a:lnTo>
                      <a:lnTo>
                        <a:pt x="17" y="26"/>
                      </a:lnTo>
                      <a:lnTo>
                        <a:pt x="34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9" name="Freeform 27"/>
                <p:cNvSpPr>
                  <a:spLocks/>
                </p:cNvSpPr>
                <p:nvPr/>
              </p:nvSpPr>
              <p:spPr bwMode="auto">
                <a:xfrm>
                  <a:off x="2549526" y="1725613"/>
                  <a:ext cx="82550" cy="41275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2147483647 w 52"/>
                    <a:gd name="T7" fmla="*/ 0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2147483647 w 52"/>
                    <a:gd name="T15" fmla="*/ 2147483647 h 26"/>
                    <a:gd name="T16" fmla="*/ 2147483647 w 52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6"/>
                    <a:gd name="T29" fmla="*/ 52 w 52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6">
                      <a:moveTo>
                        <a:pt x="52" y="26"/>
                      </a:moveTo>
                      <a:lnTo>
                        <a:pt x="52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17"/>
                      </a:lnTo>
                      <a:lnTo>
                        <a:pt x="17" y="17"/>
                      </a:lnTo>
                      <a:lnTo>
                        <a:pt x="17" y="26"/>
                      </a:lnTo>
                      <a:lnTo>
                        <a:pt x="34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0" name="Freeform 28"/>
                <p:cNvSpPr>
                  <a:spLocks/>
                </p:cNvSpPr>
                <p:nvPr/>
              </p:nvSpPr>
              <p:spPr bwMode="auto">
                <a:xfrm>
                  <a:off x="2659064" y="1739901"/>
                  <a:ext cx="69850" cy="26988"/>
                </a:xfrm>
                <a:custGeom>
                  <a:avLst/>
                  <a:gdLst>
                    <a:gd name="T0" fmla="*/ 0 w 44"/>
                    <a:gd name="T1" fmla="*/ 0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0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35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1" name="Freeform 29"/>
                <p:cNvSpPr>
                  <a:spLocks/>
                </p:cNvSpPr>
                <p:nvPr/>
              </p:nvSpPr>
              <p:spPr bwMode="auto">
                <a:xfrm>
                  <a:off x="2659064" y="1739901"/>
                  <a:ext cx="69850" cy="26988"/>
                </a:xfrm>
                <a:custGeom>
                  <a:avLst/>
                  <a:gdLst>
                    <a:gd name="T0" fmla="*/ 0 w 44"/>
                    <a:gd name="T1" fmla="*/ 0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0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35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2" name="Freeform 30"/>
                <p:cNvSpPr>
                  <a:spLocks/>
                </p:cNvSpPr>
                <p:nvPr/>
              </p:nvSpPr>
              <p:spPr bwMode="auto">
                <a:xfrm>
                  <a:off x="2687639" y="1795463"/>
                  <a:ext cx="234950" cy="41275"/>
                </a:xfrm>
                <a:custGeom>
                  <a:avLst/>
                  <a:gdLst>
                    <a:gd name="T0" fmla="*/ 2147483647 w 148"/>
                    <a:gd name="T1" fmla="*/ 0 h 26"/>
                    <a:gd name="T2" fmla="*/ 2147483647 w 148"/>
                    <a:gd name="T3" fmla="*/ 0 h 26"/>
                    <a:gd name="T4" fmla="*/ 2147483647 w 148"/>
                    <a:gd name="T5" fmla="*/ 2147483647 h 26"/>
                    <a:gd name="T6" fmla="*/ 0 w 148"/>
                    <a:gd name="T7" fmla="*/ 2147483647 h 26"/>
                    <a:gd name="T8" fmla="*/ 2147483647 w 148"/>
                    <a:gd name="T9" fmla="*/ 2147483647 h 26"/>
                    <a:gd name="T10" fmla="*/ 2147483647 w 148"/>
                    <a:gd name="T11" fmla="*/ 2147483647 h 26"/>
                    <a:gd name="T12" fmla="*/ 2147483647 w 148"/>
                    <a:gd name="T13" fmla="*/ 2147483647 h 26"/>
                    <a:gd name="T14" fmla="*/ 2147483647 w 148"/>
                    <a:gd name="T15" fmla="*/ 2147483647 h 26"/>
                    <a:gd name="T16" fmla="*/ 2147483647 w 148"/>
                    <a:gd name="T17" fmla="*/ 0 h 26"/>
                    <a:gd name="T18" fmla="*/ 2147483647 w 148"/>
                    <a:gd name="T19" fmla="*/ 2147483647 h 26"/>
                    <a:gd name="T20" fmla="*/ 2147483647 w 148"/>
                    <a:gd name="T21" fmla="*/ 2147483647 h 26"/>
                    <a:gd name="T22" fmla="*/ 2147483647 w 148"/>
                    <a:gd name="T23" fmla="*/ 0 h 2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48"/>
                    <a:gd name="T37" fmla="*/ 0 h 26"/>
                    <a:gd name="T38" fmla="*/ 148 w 148"/>
                    <a:gd name="T39" fmla="*/ 26 h 2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48" h="26">
                      <a:moveTo>
                        <a:pt x="26" y="0"/>
                      </a:move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26"/>
                      </a:lnTo>
                      <a:lnTo>
                        <a:pt x="113" y="26"/>
                      </a:lnTo>
                      <a:lnTo>
                        <a:pt x="122" y="17"/>
                      </a:lnTo>
                      <a:lnTo>
                        <a:pt x="148" y="26"/>
                      </a:lnTo>
                      <a:lnTo>
                        <a:pt x="139" y="8"/>
                      </a:lnTo>
                      <a:lnTo>
                        <a:pt x="131" y="0"/>
                      </a:lnTo>
                      <a:lnTo>
                        <a:pt x="87" y="8"/>
                      </a:lnTo>
                      <a:lnTo>
                        <a:pt x="35" y="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3" name="Freeform 31"/>
                <p:cNvSpPr>
                  <a:spLocks/>
                </p:cNvSpPr>
                <p:nvPr/>
              </p:nvSpPr>
              <p:spPr bwMode="auto">
                <a:xfrm>
                  <a:off x="2687639" y="1795463"/>
                  <a:ext cx="234950" cy="41275"/>
                </a:xfrm>
                <a:custGeom>
                  <a:avLst/>
                  <a:gdLst>
                    <a:gd name="T0" fmla="*/ 2147483647 w 148"/>
                    <a:gd name="T1" fmla="*/ 0 h 26"/>
                    <a:gd name="T2" fmla="*/ 2147483647 w 148"/>
                    <a:gd name="T3" fmla="*/ 0 h 26"/>
                    <a:gd name="T4" fmla="*/ 2147483647 w 148"/>
                    <a:gd name="T5" fmla="*/ 2147483647 h 26"/>
                    <a:gd name="T6" fmla="*/ 0 w 148"/>
                    <a:gd name="T7" fmla="*/ 2147483647 h 26"/>
                    <a:gd name="T8" fmla="*/ 2147483647 w 148"/>
                    <a:gd name="T9" fmla="*/ 2147483647 h 26"/>
                    <a:gd name="T10" fmla="*/ 2147483647 w 148"/>
                    <a:gd name="T11" fmla="*/ 2147483647 h 26"/>
                    <a:gd name="T12" fmla="*/ 2147483647 w 148"/>
                    <a:gd name="T13" fmla="*/ 2147483647 h 26"/>
                    <a:gd name="T14" fmla="*/ 2147483647 w 148"/>
                    <a:gd name="T15" fmla="*/ 2147483647 h 26"/>
                    <a:gd name="T16" fmla="*/ 2147483647 w 148"/>
                    <a:gd name="T17" fmla="*/ 0 h 26"/>
                    <a:gd name="T18" fmla="*/ 2147483647 w 148"/>
                    <a:gd name="T19" fmla="*/ 2147483647 h 26"/>
                    <a:gd name="T20" fmla="*/ 2147483647 w 148"/>
                    <a:gd name="T21" fmla="*/ 2147483647 h 26"/>
                    <a:gd name="T22" fmla="*/ 2147483647 w 148"/>
                    <a:gd name="T23" fmla="*/ 0 h 2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48"/>
                    <a:gd name="T37" fmla="*/ 0 h 26"/>
                    <a:gd name="T38" fmla="*/ 148 w 148"/>
                    <a:gd name="T39" fmla="*/ 26 h 2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48" h="26">
                      <a:moveTo>
                        <a:pt x="26" y="0"/>
                      </a:move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26"/>
                      </a:lnTo>
                      <a:lnTo>
                        <a:pt x="113" y="26"/>
                      </a:lnTo>
                      <a:lnTo>
                        <a:pt x="122" y="17"/>
                      </a:lnTo>
                      <a:lnTo>
                        <a:pt x="148" y="26"/>
                      </a:lnTo>
                      <a:lnTo>
                        <a:pt x="139" y="8"/>
                      </a:lnTo>
                      <a:lnTo>
                        <a:pt x="131" y="0"/>
                      </a:lnTo>
                      <a:lnTo>
                        <a:pt x="87" y="8"/>
                      </a:lnTo>
                      <a:lnTo>
                        <a:pt x="35" y="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4" name="Freeform 32"/>
                <p:cNvSpPr>
                  <a:spLocks/>
                </p:cNvSpPr>
                <p:nvPr/>
              </p:nvSpPr>
              <p:spPr bwMode="auto">
                <a:xfrm>
                  <a:off x="2603501" y="1808163"/>
                  <a:ext cx="55563" cy="28575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2147483647 w 35"/>
                    <a:gd name="T5" fmla="*/ 0 h 18"/>
                    <a:gd name="T6" fmla="*/ 0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18"/>
                      </a:moveTo>
                      <a:lnTo>
                        <a:pt x="35" y="0"/>
                      </a:lnTo>
                      <a:lnTo>
                        <a:pt x="27" y="0"/>
                      </a:lnTo>
                      <a:lnTo>
                        <a:pt x="0" y="18"/>
                      </a:lnTo>
                      <a:lnTo>
                        <a:pt x="35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5" name="Freeform 33"/>
                <p:cNvSpPr>
                  <a:spLocks/>
                </p:cNvSpPr>
                <p:nvPr/>
              </p:nvSpPr>
              <p:spPr bwMode="auto">
                <a:xfrm>
                  <a:off x="2603501" y="1808163"/>
                  <a:ext cx="55563" cy="28575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2147483647 w 35"/>
                    <a:gd name="T5" fmla="*/ 0 h 18"/>
                    <a:gd name="T6" fmla="*/ 0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18"/>
                      </a:moveTo>
                      <a:lnTo>
                        <a:pt x="35" y="0"/>
                      </a:lnTo>
                      <a:lnTo>
                        <a:pt x="27" y="0"/>
                      </a:lnTo>
                      <a:lnTo>
                        <a:pt x="0" y="18"/>
                      </a:lnTo>
                      <a:lnTo>
                        <a:pt x="35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6" name="Freeform 34"/>
                <p:cNvSpPr>
                  <a:spLocks/>
                </p:cNvSpPr>
                <p:nvPr/>
              </p:nvSpPr>
              <p:spPr bwMode="auto">
                <a:xfrm>
                  <a:off x="2632076" y="1766888"/>
                  <a:ext cx="55563" cy="41275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0 w 35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26"/>
                    <a:gd name="T17" fmla="*/ 35 w 35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26">
                      <a:moveTo>
                        <a:pt x="0" y="9"/>
                      </a:moveTo>
                      <a:lnTo>
                        <a:pt x="26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7" name="Freeform 35"/>
                <p:cNvSpPr>
                  <a:spLocks/>
                </p:cNvSpPr>
                <p:nvPr/>
              </p:nvSpPr>
              <p:spPr bwMode="auto">
                <a:xfrm>
                  <a:off x="2632076" y="1766888"/>
                  <a:ext cx="55563" cy="41275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0 w 35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26"/>
                    <a:gd name="T17" fmla="*/ 35 w 35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26">
                      <a:moveTo>
                        <a:pt x="0" y="9"/>
                      </a:moveTo>
                      <a:lnTo>
                        <a:pt x="26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8" name="Freeform 36"/>
                <p:cNvSpPr>
                  <a:spLocks/>
                </p:cNvSpPr>
                <p:nvPr/>
              </p:nvSpPr>
              <p:spPr bwMode="auto">
                <a:xfrm>
                  <a:off x="2562226" y="1849438"/>
                  <a:ext cx="125413" cy="55563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2147483647 w 79"/>
                    <a:gd name="T7" fmla="*/ 2147483647 h 35"/>
                    <a:gd name="T8" fmla="*/ 0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2147483647 w 79"/>
                    <a:gd name="T15" fmla="*/ 2147483647 h 3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79"/>
                    <a:gd name="T25" fmla="*/ 0 h 35"/>
                    <a:gd name="T26" fmla="*/ 79 w 79"/>
                    <a:gd name="T27" fmla="*/ 35 h 3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79" h="35">
                      <a:moveTo>
                        <a:pt x="44" y="18"/>
                      </a:moveTo>
                      <a:lnTo>
                        <a:pt x="79" y="0"/>
                      </a:lnTo>
                      <a:lnTo>
                        <a:pt x="35" y="0"/>
                      </a:lnTo>
                      <a:lnTo>
                        <a:pt x="9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26" y="18"/>
                      </a:lnTo>
                      <a:lnTo>
                        <a:pt x="44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9" name="Freeform 37"/>
                <p:cNvSpPr>
                  <a:spLocks/>
                </p:cNvSpPr>
                <p:nvPr/>
              </p:nvSpPr>
              <p:spPr bwMode="auto">
                <a:xfrm>
                  <a:off x="2562226" y="1849438"/>
                  <a:ext cx="125413" cy="55563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2147483647 w 79"/>
                    <a:gd name="T7" fmla="*/ 2147483647 h 35"/>
                    <a:gd name="T8" fmla="*/ 0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2147483647 w 79"/>
                    <a:gd name="T15" fmla="*/ 2147483647 h 3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79"/>
                    <a:gd name="T25" fmla="*/ 0 h 35"/>
                    <a:gd name="T26" fmla="*/ 79 w 79"/>
                    <a:gd name="T27" fmla="*/ 35 h 3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79" h="35">
                      <a:moveTo>
                        <a:pt x="44" y="18"/>
                      </a:moveTo>
                      <a:lnTo>
                        <a:pt x="79" y="0"/>
                      </a:lnTo>
                      <a:lnTo>
                        <a:pt x="35" y="0"/>
                      </a:lnTo>
                      <a:lnTo>
                        <a:pt x="9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26" y="18"/>
                      </a:lnTo>
                      <a:lnTo>
                        <a:pt x="44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0" name="Freeform 38"/>
                <p:cNvSpPr>
                  <a:spLocks noEditPoints="1"/>
                </p:cNvSpPr>
                <p:nvPr/>
              </p:nvSpPr>
              <p:spPr bwMode="auto">
                <a:xfrm>
                  <a:off x="2646364" y="1849438"/>
                  <a:ext cx="469900" cy="304800"/>
                </a:xfrm>
                <a:custGeom>
                  <a:avLst/>
                  <a:gdLst>
                    <a:gd name="T0" fmla="*/ 2147483647 w 296"/>
                    <a:gd name="T1" fmla="*/ 2147483647 h 192"/>
                    <a:gd name="T2" fmla="*/ 2147483647 w 296"/>
                    <a:gd name="T3" fmla="*/ 2147483647 h 192"/>
                    <a:gd name="T4" fmla="*/ 2147483647 w 296"/>
                    <a:gd name="T5" fmla="*/ 2147483647 h 192"/>
                    <a:gd name="T6" fmla="*/ 2147483647 w 296"/>
                    <a:gd name="T7" fmla="*/ 2147483647 h 192"/>
                    <a:gd name="T8" fmla="*/ 2147483647 w 296"/>
                    <a:gd name="T9" fmla="*/ 2147483647 h 192"/>
                    <a:gd name="T10" fmla="*/ 2147483647 w 296"/>
                    <a:gd name="T11" fmla="*/ 2147483647 h 192"/>
                    <a:gd name="T12" fmla="*/ 2147483647 w 296"/>
                    <a:gd name="T13" fmla="*/ 2147483647 h 192"/>
                    <a:gd name="T14" fmla="*/ 0 w 296"/>
                    <a:gd name="T15" fmla="*/ 2147483647 h 192"/>
                    <a:gd name="T16" fmla="*/ 2147483647 w 296"/>
                    <a:gd name="T17" fmla="*/ 2147483647 h 192"/>
                    <a:gd name="T18" fmla="*/ 2147483647 w 296"/>
                    <a:gd name="T19" fmla="*/ 2147483647 h 192"/>
                    <a:gd name="T20" fmla="*/ 2147483647 w 296"/>
                    <a:gd name="T21" fmla="*/ 2147483647 h 192"/>
                    <a:gd name="T22" fmla="*/ 2147483647 w 296"/>
                    <a:gd name="T23" fmla="*/ 2147483647 h 192"/>
                    <a:gd name="T24" fmla="*/ 2147483647 w 296"/>
                    <a:gd name="T25" fmla="*/ 2147483647 h 192"/>
                    <a:gd name="T26" fmla="*/ 2147483647 w 296"/>
                    <a:gd name="T27" fmla="*/ 2147483647 h 192"/>
                    <a:gd name="T28" fmla="*/ 2147483647 w 296"/>
                    <a:gd name="T29" fmla="*/ 2147483647 h 192"/>
                    <a:gd name="T30" fmla="*/ 2147483647 w 296"/>
                    <a:gd name="T31" fmla="*/ 2147483647 h 192"/>
                    <a:gd name="T32" fmla="*/ 2147483647 w 296"/>
                    <a:gd name="T33" fmla="*/ 2147483647 h 192"/>
                    <a:gd name="T34" fmla="*/ 2147483647 w 296"/>
                    <a:gd name="T35" fmla="*/ 2147483647 h 192"/>
                    <a:gd name="T36" fmla="*/ 2147483647 w 296"/>
                    <a:gd name="T37" fmla="*/ 2147483647 h 192"/>
                    <a:gd name="T38" fmla="*/ 2147483647 w 296"/>
                    <a:gd name="T39" fmla="*/ 2147483647 h 192"/>
                    <a:gd name="T40" fmla="*/ 2147483647 w 296"/>
                    <a:gd name="T41" fmla="*/ 2147483647 h 192"/>
                    <a:gd name="T42" fmla="*/ 2147483647 w 296"/>
                    <a:gd name="T43" fmla="*/ 2147483647 h 192"/>
                    <a:gd name="T44" fmla="*/ 2147483647 w 296"/>
                    <a:gd name="T45" fmla="*/ 2147483647 h 192"/>
                    <a:gd name="T46" fmla="*/ 2147483647 w 296"/>
                    <a:gd name="T47" fmla="*/ 2147483647 h 192"/>
                    <a:gd name="T48" fmla="*/ 2147483647 w 296"/>
                    <a:gd name="T49" fmla="*/ 2147483647 h 192"/>
                    <a:gd name="T50" fmla="*/ 2147483647 w 296"/>
                    <a:gd name="T51" fmla="*/ 2147483647 h 192"/>
                    <a:gd name="T52" fmla="*/ 2147483647 w 296"/>
                    <a:gd name="T53" fmla="*/ 2147483647 h 192"/>
                    <a:gd name="T54" fmla="*/ 2147483647 w 296"/>
                    <a:gd name="T55" fmla="*/ 2147483647 h 192"/>
                    <a:gd name="T56" fmla="*/ 2147483647 w 296"/>
                    <a:gd name="T57" fmla="*/ 2147483647 h 192"/>
                    <a:gd name="T58" fmla="*/ 2147483647 w 296"/>
                    <a:gd name="T59" fmla="*/ 2147483647 h 192"/>
                    <a:gd name="T60" fmla="*/ 2147483647 w 296"/>
                    <a:gd name="T61" fmla="*/ 2147483647 h 192"/>
                    <a:gd name="T62" fmla="*/ 2147483647 w 296"/>
                    <a:gd name="T63" fmla="*/ 2147483647 h 192"/>
                    <a:gd name="T64" fmla="*/ 2147483647 w 296"/>
                    <a:gd name="T65" fmla="*/ 2147483647 h 192"/>
                    <a:gd name="T66" fmla="*/ 2147483647 w 296"/>
                    <a:gd name="T67" fmla="*/ 2147483647 h 192"/>
                    <a:gd name="T68" fmla="*/ 2147483647 w 296"/>
                    <a:gd name="T69" fmla="*/ 2147483647 h 192"/>
                    <a:gd name="T70" fmla="*/ 2147483647 w 296"/>
                    <a:gd name="T71" fmla="*/ 2147483647 h 192"/>
                    <a:gd name="T72" fmla="*/ 2147483647 w 296"/>
                    <a:gd name="T73" fmla="*/ 2147483647 h 192"/>
                    <a:gd name="T74" fmla="*/ 2147483647 w 296"/>
                    <a:gd name="T75" fmla="*/ 2147483647 h 192"/>
                    <a:gd name="T76" fmla="*/ 2147483647 w 296"/>
                    <a:gd name="T77" fmla="*/ 2147483647 h 192"/>
                    <a:gd name="T78" fmla="*/ 2147483647 w 296"/>
                    <a:gd name="T79" fmla="*/ 2147483647 h 192"/>
                    <a:gd name="T80" fmla="*/ 2147483647 w 296"/>
                    <a:gd name="T81" fmla="*/ 2147483647 h 192"/>
                    <a:gd name="T82" fmla="*/ 2147483647 w 296"/>
                    <a:gd name="T83" fmla="*/ 2147483647 h 192"/>
                    <a:gd name="T84" fmla="*/ 2147483647 w 296"/>
                    <a:gd name="T85" fmla="*/ 2147483647 h 192"/>
                    <a:gd name="T86" fmla="*/ 2147483647 w 296"/>
                    <a:gd name="T87" fmla="*/ 2147483647 h 192"/>
                    <a:gd name="T88" fmla="*/ 2147483647 w 296"/>
                    <a:gd name="T89" fmla="*/ 2147483647 h 192"/>
                    <a:gd name="T90" fmla="*/ 2147483647 w 296"/>
                    <a:gd name="T91" fmla="*/ 2147483647 h 192"/>
                    <a:gd name="T92" fmla="*/ 2147483647 w 296"/>
                    <a:gd name="T93" fmla="*/ 2147483647 h 192"/>
                    <a:gd name="T94" fmla="*/ 2147483647 w 296"/>
                    <a:gd name="T95" fmla="*/ 2147483647 h 192"/>
                    <a:gd name="T96" fmla="*/ 2147483647 w 296"/>
                    <a:gd name="T97" fmla="*/ 2147483647 h 192"/>
                    <a:gd name="T98" fmla="*/ 2147483647 w 296"/>
                    <a:gd name="T99" fmla="*/ 2147483647 h 192"/>
                    <a:gd name="T100" fmla="*/ 2147483647 w 296"/>
                    <a:gd name="T101" fmla="*/ 0 h 192"/>
                    <a:gd name="T102" fmla="*/ 2147483647 w 296"/>
                    <a:gd name="T103" fmla="*/ 2147483647 h 192"/>
                    <a:gd name="T104" fmla="*/ 2147483647 w 296"/>
                    <a:gd name="T105" fmla="*/ 2147483647 h 192"/>
                    <a:gd name="T106" fmla="*/ 2147483647 w 296"/>
                    <a:gd name="T107" fmla="*/ 2147483647 h 192"/>
                    <a:gd name="T108" fmla="*/ 2147483647 w 296"/>
                    <a:gd name="T109" fmla="*/ 2147483647 h 192"/>
                    <a:gd name="T110" fmla="*/ 2147483647 w 296"/>
                    <a:gd name="T111" fmla="*/ 2147483647 h 192"/>
                    <a:gd name="T112" fmla="*/ 2147483647 w 296"/>
                    <a:gd name="T113" fmla="*/ 0 h 192"/>
                    <a:gd name="T114" fmla="*/ 2147483647 w 296"/>
                    <a:gd name="T115" fmla="*/ 0 h 192"/>
                    <a:gd name="T116" fmla="*/ 2147483647 w 296"/>
                    <a:gd name="T117" fmla="*/ 2147483647 h 19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96"/>
                    <a:gd name="T178" fmla="*/ 0 h 192"/>
                    <a:gd name="T179" fmla="*/ 296 w 296"/>
                    <a:gd name="T180" fmla="*/ 192 h 19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96" h="192">
                      <a:moveTo>
                        <a:pt x="165" y="122"/>
                      </a:moveTo>
                      <a:lnTo>
                        <a:pt x="174" y="105"/>
                      </a:lnTo>
                      <a:lnTo>
                        <a:pt x="200" y="114"/>
                      </a:lnTo>
                      <a:lnTo>
                        <a:pt x="200" y="122"/>
                      </a:lnTo>
                      <a:lnTo>
                        <a:pt x="183" y="122"/>
                      </a:lnTo>
                      <a:lnTo>
                        <a:pt x="165" y="122"/>
                      </a:lnTo>
                      <a:close/>
                      <a:moveTo>
                        <a:pt x="8" y="18"/>
                      </a:moveTo>
                      <a:lnTo>
                        <a:pt x="0" y="44"/>
                      </a:lnTo>
                      <a:lnTo>
                        <a:pt x="26" y="44"/>
                      </a:lnTo>
                      <a:lnTo>
                        <a:pt x="8" y="53"/>
                      </a:lnTo>
                      <a:lnTo>
                        <a:pt x="26" y="53"/>
                      </a:lnTo>
                      <a:lnTo>
                        <a:pt x="43" y="44"/>
                      </a:lnTo>
                      <a:lnTo>
                        <a:pt x="96" y="53"/>
                      </a:lnTo>
                      <a:lnTo>
                        <a:pt x="104" y="61"/>
                      </a:lnTo>
                      <a:lnTo>
                        <a:pt x="113" y="53"/>
                      </a:lnTo>
                      <a:lnTo>
                        <a:pt x="139" y="61"/>
                      </a:lnTo>
                      <a:lnTo>
                        <a:pt x="165" y="88"/>
                      </a:lnTo>
                      <a:lnTo>
                        <a:pt x="157" y="105"/>
                      </a:lnTo>
                      <a:lnTo>
                        <a:pt x="139" y="122"/>
                      </a:lnTo>
                      <a:lnTo>
                        <a:pt x="104" y="131"/>
                      </a:lnTo>
                      <a:lnTo>
                        <a:pt x="87" y="122"/>
                      </a:lnTo>
                      <a:lnTo>
                        <a:pt x="61" y="140"/>
                      </a:lnTo>
                      <a:lnTo>
                        <a:pt x="78" y="157"/>
                      </a:lnTo>
                      <a:lnTo>
                        <a:pt x="104" y="140"/>
                      </a:lnTo>
                      <a:lnTo>
                        <a:pt x="139" y="149"/>
                      </a:lnTo>
                      <a:lnTo>
                        <a:pt x="148" y="166"/>
                      </a:lnTo>
                      <a:lnTo>
                        <a:pt x="200" y="192"/>
                      </a:lnTo>
                      <a:lnTo>
                        <a:pt x="200" y="183"/>
                      </a:lnTo>
                      <a:lnTo>
                        <a:pt x="174" y="157"/>
                      </a:lnTo>
                      <a:lnTo>
                        <a:pt x="209" y="166"/>
                      </a:lnTo>
                      <a:lnTo>
                        <a:pt x="235" y="157"/>
                      </a:lnTo>
                      <a:lnTo>
                        <a:pt x="209" y="122"/>
                      </a:lnTo>
                      <a:lnTo>
                        <a:pt x="218" y="114"/>
                      </a:lnTo>
                      <a:lnTo>
                        <a:pt x="244" y="114"/>
                      </a:lnTo>
                      <a:lnTo>
                        <a:pt x="244" y="122"/>
                      </a:lnTo>
                      <a:lnTo>
                        <a:pt x="261" y="140"/>
                      </a:lnTo>
                      <a:lnTo>
                        <a:pt x="261" y="122"/>
                      </a:lnTo>
                      <a:lnTo>
                        <a:pt x="296" y="114"/>
                      </a:lnTo>
                      <a:lnTo>
                        <a:pt x="287" y="96"/>
                      </a:lnTo>
                      <a:lnTo>
                        <a:pt x="261" y="105"/>
                      </a:lnTo>
                      <a:lnTo>
                        <a:pt x="270" y="96"/>
                      </a:lnTo>
                      <a:lnTo>
                        <a:pt x="226" y="79"/>
                      </a:lnTo>
                      <a:lnTo>
                        <a:pt x="252" y="70"/>
                      </a:lnTo>
                      <a:lnTo>
                        <a:pt x="252" y="53"/>
                      </a:lnTo>
                      <a:lnTo>
                        <a:pt x="235" y="53"/>
                      </a:lnTo>
                      <a:lnTo>
                        <a:pt x="209" y="53"/>
                      </a:lnTo>
                      <a:lnTo>
                        <a:pt x="226" y="44"/>
                      </a:lnTo>
                      <a:lnTo>
                        <a:pt x="183" y="35"/>
                      </a:lnTo>
                      <a:lnTo>
                        <a:pt x="122" y="27"/>
                      </a:lnTo>
                      <a:lnTo>
                        <a:pt x="130" y="9"/>
                      </a:lnTo>
                      <a:lnTo>
                        <a:pt x="113" y="0"/>
                      </a:lnTo>
                      <a:lnTo>
                        <a:pt x="69" y="18"/>
                      </a:lnTo>
                      <a:lnTo>
                        <a:pt x="78" y="35"/>
                      </a:lnTo>
                      <a:lnTo>
                        <a:pt x="52" y="35"/>
                      </a:lnTo>
                      <a:lnTo>
                        <a:pt x="52" y="27"/>
                      </a:lnTo>
                      <a:lnTo>
                        <a:pt x="69" y="9"/>
                      </a:lnTo>
                      <a:lnTo>
                        <a:pt x="78" y="0"/>
                      </a:lnTo>
                      <a:lnTo>
                        <a:pt x="69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1" name="Freeform 39"/>
                <p:cNvSpPr>
                  <a:spLocks noEditPoints="1"/>
                </p:cNvSpPr>
                <p:nvPr/>
              </p:nvSpPr>
              <p:spPr bwMode="auto">
                <a:xfrm>
                  <a:off x="2646364" y="1849438"/>
                  <a:ext cx="469900" cy="304800"/>
                </a:xfrm>
                <a:custGeom>
                  <a:avLst/>
                  <a:gdLst>
                    <a:gd name="T0" fmla="*/ 2147483647 w 296"/>
                    <a:gd name="T1" fmla="*/ 2147483647 h 192"/>
                    <a:gd name="T2" fmla="*/ 2147483647 w 296"/>
                    <a:gd name="T3" fmla="*/ 2147483647 h 192"/>
                    <a:gd name="T4" fmla="*/ 2147483647 w 296"/>
                    <a:gd name="T5" fmla="*/ 2147483647 h 192"/>
                    <a:gd name="T6" fmla="*/ 2147483647 w 296"/>
                    <a:gd name="T7" fmla="*/ 2147483647 h 192"/>
                    <a:gd name="T8" fmla="*/ 2147483647 w 296"/>
                    <a:gd name="T9" fmla="*/ 2147483647 h 192"/>
                    <a:gd name="T10" fmla="*/ 2147483647 w 296"/>
                    <a:gd name="T11" fmla="*/ 2147483647 h 192"/>
                    <a:gd name="T12" fmla="*/ 2147483647 w 296"/>
                    <a:gd name="T13" fmla="*/ 2147483647 h 192"/>
                    <a:gd name="T14" fmla="*/ 0 w 296"/>
                    <a:gd name="T15" fmla="*/ 2147483647 h 192"/>
                    <a:gd name="T16" fmla="*/ 2147483647 w 296"/>
                    <a:gd name="T17" fmla="*/ 2147483647 h 192"/>
                    <a:gd name="T18" fmla="*/ 2147483647 w 296"/>
                    <a:gd name="T19" fmla="*/ 2147483647 h 192"/>
                    <a:gd name="T20" fmla="*/ 2147483647 w 296"/>
                    <a:gd name="T21" fmla="*/ 2147483647 h 192"/>
                    <a:gd name="T22" fmla="*/ 2147483647 w 296"/>
                    <a:gd name="T23" fmla="*/ 2147483647 h 192"/>
                    <a:gd name="T24" fmla="*/ 2147483647 w 296"/>
                    <a:gd name="T25" fmla="*/ 2147483647 h 192"/>
                    <a:gd name="T26" fmla="*/ 2147483647 w 296"/>
                    <a:gd name="T27" fmla="*/ 2147483647 h 192"/>
                    <a:gd name="T28" fmla="*/ 2147483647 w 296"/>
                    <a:gd name="T29" fmla="*/ 2147483647 h 192"/>
                    <a:gd name="T30" fmla="*/ 2147483647 w 296"/>
                    <a:gd name="T31" fmla="*/ 2147483647 h 192"/>
                    <a:gd name="T32" fmla="*/ 2147483647 w 296"/>
                    <a:gd name="T33" fmla="*/ 2147483647 h 192"/>
                    <a:gd name="T34" fmla="*/ 2147483647 w 296"/>
                    <a:gd name="T35" fmla="*/ 2147483647 h 192"/>
                    <a:gd name="T36" fmla="*/ 2147483647 w 296"/>
                    <a:gd name="T37" fmla="*/ 2147483647 h 192"/>
                    <a:gd name="T38" fmla="*/ 2147483647 w 296"/>
                    <a:gd name="T39" fmla="*/ 2147483647 h 192"/>
                    <a:gd name="T40" fmla="*/ 2147483647 w 296"/>
                    <a:gd name="T41" fmla="*/ 2147483647 h 192"/>
                    <a:gd name="T42" fmla="*/ 2147483647 w 296"/>
                    <a:gd name="T43" fmla="*/ 2147483647 h 192"/>
                    <a:gd name="T44" fmla="*/ 2147483647 w 296"/>
                    <a:gd name="T45" fmla="*/ 2147483647 h 192"/>
                    <a:gd name="T46" fmla="*/ 2147483647 w 296"/>
                    <a:gd name="T47" fmla="*/ 2147483647 h 192"/>
                    <a:gd name="T48" fmla="*/ 2147483647 w 296"/>
                    <a:gd name="T49" fmla="*/ 2147483647 h 192"/>
                    <a:gd name="T50" fmla="*/ 2147483647 w 296"/>
                    <a:gd name="T51" fmla="*/ 2147483647 h 192"/>
                    <a:gd name="T52" fmla="*/ 2147483647 w 296"/>
                    <a:gd name="T53" fmla="*/ 2147483647 h 192"/>
                    <a:gd name="T54" fmla="*/ 2147483647 w 296"/>
                    <a:gd name="T55" fmla="*/ 2147483647 h 192"/>
                    <a:gd name="T56" fmla="*/ 2147483647 w 296"/>
                    <a:gd name="T57" fmla="*/ 2147483647 h 192"/>
                    <a:gd name="T58" fmla="*/ 2147483647 w 296"/>
                    <a:gd name="T59" fmla="*/ 2147483647 h 192"/>
                    <a:gd name="T60" fmla="*/ 2147483647 w 296"/>
                    <a:gd name="T61" fmla="*/ 2147483647 h 192"/>
                    <a:gd name="T62" fmla="*/ 2147483647 w 296"/>
                    <a:gd name="T63" fmla="*/ 2147483647 h 192"/>
                    <a:gd name="T64" fmla="*/ 2147483647 w 296"/>
                    <a:gd name="T65" fmla="*/ 2147483647 h 192"/>
                    <a:gd name="T66" fmla="*/ 2147483647 w 296"/>
                    <a:gd name="T67" fmla="*/ 2147483647 h 192"/>
                    <a:gd name="T68" fmla="*/ 2147483647 w 296"/>
                    <a:gd name="T69" fmla="*/ 2147483647 h 192"/>
                    <a:gd name="T70" fmla="*/ 2147483647 w 296"/>
                    <a:gd name="T71" fmla="*/ 2147483647 h 192"/>
                    <a:gd name="T72" fmla="*/ 2147483647 w 296"/>
                    <a:gd name="T73" fmla="*/ 2147483647 h 192"/>
                    <a:gd name="T74" fmla="*/ 2147483647 w 296"/>
                    <a:gd name="T75" fmla="*/ 2147483647 h 192"/>
                    <a:gd name="T76" fmla="*/ 2147483647 w 296"/>
                    <a:gd name="T77" fmla="*/ 2147483647 h 192"/>
                    <a:gd name="T78" fmla="*/ 2147483647 w 296"/>
                    <a:gd name="T79" fmla="*/ 2147483647 h 192"/>
                    <a:gd name="T80" fmla="*/ 2147483647 w 296"/>
                    <a:gd name="T81" fmla="*/ 2147483647 h 192"/>
                    <a:gd name="T82" fmla="*/ 2147483647 w 296"/>
                    <a:gd name="T83" fmla="*/ 2147483647 h 192"/>
                    <a:gd name="T84" fmla="*/ 2147483647 w 296"/>
                    <a:gd name="T85" fmla="*/ 2147483647 h 192"/>
                    <a:gd name="T86" fmla="*/ 2147483647 w 296"/>
                    <a:gd name="T87" fmla="*/ 2147483647 h 192"/>
                    <a:gd name="T88" fmla="*/ 2147483647 w 296"/>
                    <a:gd name="T89" fmla="*/ 2147483647 h 192"/>
                    <a:gd name="T90" fmla="*/ 2147483647 w 296"/>
                    <a:gd name="T91" fmla="*/ 2147483647 h 192"/>
                    <a:gd name="T92" fmla="*/ 2147483647 w 296"/>
                    <a:gd name="T93" fmla="*/ 2147483647 h 192"/>
                    <a:gd name="T94" fmla="*/ 2147483647 w 296"/>
                    <a:gd name="T95" fmla="*/ 2147483647 h 192"/>
                    <a:gd name="T96" fmla="*/ 2147483647 w 296"/>
                    <a:gd name="T97" fmla="*/ 2147483647 h 192"/>
                    <a:gd name="T98" fmla="*/ 2147483647 w 296"/>
                    <a:gd name="T99" fmla="*/ 2147483647 h 192"/>
                    <a:gd name="T100" fmla="*/ 2147483647 w 296"/>
                    <a:gd name="T101" fmla="*/ 0 h 192"/>
                    <a:gd name="T102" fmla="*/ 2147483647 w 296"/>
                    <a:gd name="T103" fmla="*/ 2147483647 h 192"/>
                    <a:gd name="T104" fmla="*/ 2147483647 w 296"/>
                    <a:gd name="T105" fmla="*/ 2147483647 h 192"/>
                    <a:gd name="T106" fmla="*/ 2147483647 w 296"/>
                    <a:gd name="T107" fmla="*/ 2147483647 h 192"/>
                    <a:gd name="T108" fmla="*/ 2147483647 w 296"/>
                    <a:gd name="T109" fmla="*/ 2147483647 h 192"/>
                    <a:gd name="T110" fmla="*/ 2147483647 w 296"/>
                    <a:gd name="T111" fmla="*/ 2147483647 h 192"/>
                    <a:gd name="T112" fmla="*/ 2147483647 w 296"/>
                    <a:gd name="T113" fmla="*/ 0 h 192"/>
                    <a:gd name="T114" fmla="*/ 2147483647 w 296"/>
                    <a:gd name="T115" fmla="*/ 0 h 192"/>
                    <a:gd name="T116" fmla="*/ 2147483647 w 296"/>
                    <a:gd name="T117" fmla="*/ 2147483647 h 19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96"/>
                    <a:gd name="T178" fmla="*/ 0 h 192"/>
                    <a:gd name="T179" fmla="*/ 296 w 296"/>
                    <a:gd name="T180" fmla="*/ 192 h 19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96" h="192">
                      <a:moveTo>
                        <a:pt x="165" y="122"/>
                      </a:moveTo>
                      <a:lnTo>
                        <a:pt x="174" y="105"/>
                      </a:lnTo>
                      <a:lnTo>
                        <a:pt x="200" y="114"/>
                      </a:lnTo>
                      <a:lnTo>
                        <a:pt x="200" y="122"/>
                      </a:lnTo>
                      <a:lnTo>
                        <a:pt x="183" y="122"/>
                      </a:lnTo>
                      <a:lnTo>
                        <a:pt x="165" y="122"/>
                      </a:lnTo>
                      <a:close/>
                      <a:moveTo>
                        <a:pt x="8" y="18"/>
                      </a:moveTo>
                      <a:lnTo>
                        <a:pt x="0" y="44"/>
                      </a:lnTo>
                      <a:lnTo>
                        <a:pt x="26" y="44"/>
                      </a:lnTo>
                      <a:lnTo>
                        <a:pt x="8" y="53"/>
                      </a:lnTo>
                      <a:lnTo>
                        <a:pt x="26" y="53"/>
                      </a:lnTo>
                      <a:lnTo>
                        <a:pt x="43" y="44"/>
                      </a:lnTo>
                      <a:lnTo>
                        <a:pt x="96" y="53"/>
                      </a:lnTo>
                      <a:lnTo>
                        <a:pt x="104" y="61"/>
                      </a:lnTo>
                      <a:lnTo>
                        <a:pt x="113" y="53"/>
                      </a:lnTo>
                      <a:lnTo>
                        <a:pt x="139" y="61"/>
                      </a:lnTo>
                      <a:lnTo>
                        <a:pt x="165" y="88"/>
                      </a:lnTo>
                      <a:lnTo>
                        <a:pt x="157" y="105"/>
                      </a:lnTo>
                      <a:lnTo>
                        <a:pt x="139" y="122"/>
                      </a:lnTo>
                      <a:lnTo>
                        <a:pt x="104" y="131"/>
                      </a:lnTo>
                      <a:lnTo>
                        <a:pt x="87" y="122"/>
                      </a:lnTo>
                      <a:lnTo>
                        <a:pt x="61" y="140"/>
                      </a:lnTo>
                      <a:lnTo>
                        <a:pt x="78" y="157"/>
                      </a:lnTo>
                      <a:lnTo>
                        <a:pt x="104" y="140"/>
                      </a:lnTo>
                      <a:lnTo>
                        <a:pt x="139" y="149"/>
                      </a:lnTo>
                      <a:lnTo>
                        <a:pt x="148" y="166"/>
                      </a:lnTo>
                      <a:lnTo>
                        <a:pt x="200" y="192"/>
                      </a:lnTo>
                      <a:lnTo>
                        <a:pt x="200" y="183"/>
                      </a:lnTo>
                      <a:lnTo>
                        <a:pt x="174" y="157"/>
                      </a:lnTo>
                      <a:lnTo>
                        <a:pt x="209" y="166"/>
                      </a:lnTo>
                      <a:lnTo>
                        <a:pt x="235" y="157"/>
                      </a:lnTo>
                      <a:lnTo>
                        <a:pt x="209" y="122"/>
                      </a:lnTo>
                      <a:lnTo>
                        <a:pt x="218" y="114"/>
                      </a:lnTo>
                      <a:lnTo>
                        <a:pt x="244" y="114"/>
                      </a:lnTo>
                      <a:lnTo>
                        <a:pt x="244" y="122"/>
                      </a:lnTo>
                      <a:lnTo>
                        <a:pt x="261" y="140"/>
                      </a:lnTo>
                      <a:lnTo>
                        <a:pt x="261" y="122"/>
                      </a:lnTo>
                      <a:lnTo>
                        <a:pt x="296" y="114"/>
                      </a:lnTo>
                      <a:lnTo>
                        <a:pt x="287" y="96"/>
                      </a:lnTo>
                      <a:lnTo>
                        <a:pt x="261" y="105"/>
                      </a:lnTo>
                      <a:lnTo>
                        <a:pt x="270" y="96"/>
                      </a:lnTo>
                      <a:lnTo>
                        <a:pt x="226" y="79"/>
                      </a:lnTo>
                      <a:lnTo>
                        <a:pt x="252" y="70"/>
                      </a:lnTo>
                      <a:lnTo>
                        <a:pt x="252" y="53"/>
                      </a:lnTo>
                      <a:lnTo>
                        <a:pt x="235" y="53"/>
                      </a:lnTo>
                      <a:lnTo>
                        <a:pt x="209" y="53"/>
                      </a:lnTo>
                      <a:lnTo>
                        <a:pt x="226" y="44"/>
                      </a:lnTo>
                      <a:lnTo>
                        <a:pt x="183" y="35"/>
                      </a:lnTo>
                      <a:lnTo>
                        <a:pt x="122" y="27"/>
                      </a:lnTo>
                      <a:lnTo>
                        <a:pt x="130" y="9"/>
                      </a:lnTo>
                      <a:lnTo>
                        <a:pt x="113" y="0"/>
                      </a:lnTo>
                      <a:lnTo>
                        <a:pt x="69" y="18"/>
                      </a:lnTo>
                      <a:lnTo>
                        <a:pt x="78" y="35"/>
                      </a:lnTo>
                      <a:lnTo>
                        <a:pt x="52" y="35"/>
                      </a:lnTo>
                      <a:lnTo>
                        <a:pt x="52" y="27"/>
                      </a:lnTo>
                      <a:lnTo>
                        <a:pt x="69" y="9"/>
                      </a:lnTo>
                      <a:lnTo>
                        <a:pt x="78" y="0"/>
                      </a:lnTo>
                      <a:lnTo>
                        <a:pt x="69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2" name="Freeform 40"/>
                <p:cNvSpPr>
                  <a:spLocks/>
                </p:cNvSpPr>
                <p:nvPr/>
              </p:nvSpPr>
              <p:spPr bwMode="auto">
                <a:xfrm>
                  <a:off x="2867026" y="1849438"/>
                  <a:ext cx="69850" cy="14288"/>
                </a:xfrm>
                <a:custGeom>
                  <a:avLst/>
                  <a:gdLst>
                    <a:gd name="T0" fmla="*/ 0 w 44"/>
                    <a:gd name="T1" fmla="*/ 0 h 9"/>
                    <a:gd name="T2" fmla="*/ 0 w 44"/>
                    <a:gd name="T3" fmla="*/ 2147483647 h 9"/>
                    <a:gd name="T4" fmla="*/ 2147483647 w 44"/>
                    <a:gd name="T5" fmla="*/ 2147483647 h 9"/>
                    <a:gd name="T6" fmla="*/ 2147483647 w 44"/>
                    <a:gd name="T7" fmla="*/ 2147483647 h 9"/>
                    <a:gd name="T8" fmla="*/ 2147483647 w 44"/>
                    <a:gd name="T9" fmla="*/ 0 h 9"/>
                    <a:gd name="T10" fmla="*/ 0 w 4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9"/>
                    <a:gd name="T20" fmla="*/ 44 w 4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9"/>
                      </a:lnTo>
                      <a:lnTo>
                        <a:pt x="44" y="9"/>
                      </a:lnTo>
                      <a:lnTo>
                        <a:pt x="4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3" name="Freeform 41"/>
                <p:cNvSpPr>
                  <a:spLocks/>
                </p:cNvSpPr>
                <p:nvPr/>
              </p:nvSpPr>
              <p:spPr bwMode="auto">
                <a:xfrm>
                  <a:off x="2867026" y="1849438"/>
                  <a:ext cx="69850" cy="14288"/>
                </a:xfrm>
                <a:custGeom>
                  <a:avLst/>
                  <a:gdLst>
                    <a:gd name="T0" fmla="*/ 0 w 44"/>
                    <a:gd name="T1" fmla="*/ 0 h 9"/>
                    <a:gd name="T2" fmla="*/ 0 w 44"/>
                    <a:gd name="T3" fmla="*/ 2147483647 h 9"/>
                    <a:gd name="T4" fmla="*/ 2147483647 w 44"/>
                    <a:gd name="T5" fmla="*/ 2147483647 h 9"/>
                    <a:gd name="T6" fmla="*/ 2147483647 w 44"/>
                    <a:gd name="T7" fmla="*/ 2147483647 h 9"/>
                    <a:gd name="T8" fmla="*/ 2147483647 w 44"/>
                    <a:gd name="T9" fmla="*/ 0 h 9"/>
                    <a:gd name="T10" fmla="*/ 0 w 4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9"/>
                    <a:gd name="T20" fmla="*/ 44 w 4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9"/>
                      </a:lnTo>
                      <a:lnTo>
                        <a:pt x="44" y="9"/>
                      </a:lnTo>
                      <a:lnTo>
                        <a:pt x="4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4" name="Freeform 42"/>
                <p:cNvSpPr>
                  <a:spLocks/>
                </p:cNvSpPr>
                <p:nvPr/>
              </p:nvSpPr>
              <p:spPr bwMode="auto">
                <a:xfrm>
                  <a:off x="2811464" y="1974851"/>
                  <a:ext cx="69850" cy="26988"/>
                </a:xfrm>
                <a:custGeom>
                  <a:avLst/>
                  <a:gdLst>
                    <a:gd name="T0" fmla="*/ 2147483647 w 44"/>
                    <a:gd name="T1" fmla="*/ 0 h 17"/>
                    <a:gd name="T2" fmla="*/ 2147483647 w 44"/>
                    <a:gd name="T3" fmla="*/ 2147483647 h 17"/>
                    <a:gd name="T4" fmla="*/ 0 w 44"/>
                    <a:gd name="T5" fmla="*/ 2147483647 h 17"/>
                    <a:gd name="T6" fmla="*/ 2147483647 w 44"/>
                    <a:gd name="T7" fmla="*/ 2147483647 h 17"/>
                    <a:gd name="T8" fmla="*/ 2147483647 w 44"/>
                    <a:gd name="T9" fmla="*/ 2147483647 h 17"/>
                    <a:gd name="T10" fmla="*/ 2147483647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35" y="0"/>
                      </a:moveTo>
                      <a:lnTo>
                        <a:pt x="9" y="9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44" y="17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5" name="Freeform 43"/>
                <p:cNvSpPr>
                  <a:spLocks/>
                </p:cNvSpPr>
                <p:nvPr/>
              </p:nvSpPr>
              <p:spPr bwMode="auto">
                <a:xfrm>
                  <a:off x="2811464" y="1974851"/>
                  <a:ext cx="69850" cy="26988"/>
                </a:xfrm>
                <a:custGeom>
                  <a:avLst/>
                  <a:gdLst>
                    <a:gd name="T0" fmla="*/ 2147483647 w 44"/>
                    <a:gd name="T1" fmla="*/ 0 h 17"/>
                    <a:gd name="T2" fmla="*/ 2147483647 w 44"/>
                    <a:gd name="T3" fmla="*/ 2147483647 h 17"/>
                    <a:gd name="T4" fmla="*/ 0 w 44"/>
                    <a:gd name="T5" fmla="*/ 2147483647 h 17"/>
                    <a:gd name="T6" fmla="*/ 2147483647 w 44"/>
                    <a:gd name="T7" fmla="*/ 2147483647 h 17"/>
                    <a:gd name="T8" fmla="*/ 2147483647 w 44"/>
                    <a:gd name="T9" fmla="*/ 2147483647 h 17"/>
                    <a:gd name="T10" fmla="*/ 2147483647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35" y="0"/>
                      </a:moveTo>
                      <a:lnTo>
                        <a:pt x="9" y="9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44" y="17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6" name="Freeform 44"/>
                <p:cNvSpPr>
                  <a:spLocks/>
                </p:cNvSpPr>
                <p:nvPr/>
              </p:nvSpPr>
              <p:spPr bwMode="auto">
                <a:xfrm>
                  <a:off x="1344614" y="1905001"/>
                  <a:ext cx="1744663" cy="788988"/>
                </a:xfrm>
                <a:custGeom>
                  <a:avLst/>
                  <a:gdLst>
                    <a:gd name="T0" fmla="*/ 2147483647 w 1099"/>
                    <a:gd name="T1" fmla="*/ 2147483647 h 497"/>
                    <a:gd name="T2" fmla="*/ 2147483647 w 1099"/>
                    <a:gd name="T3" fmla="*/ 2147483647 h 497"/>
                    <a:gd name="T4" fmla="*/ 2147483647 w 1099"/>
                    <a:gd name="T5" fmla="*/ 2147483647 h 497"/>
                    <a:gd name="T6" fmla="*/ 2147483647 w 1099"/>
                    <a:gd name="T7" fmla="*/ 2147483647 h 497"/>
                    <a:gd name="T8" fmla="*/ 2147483647 w 1099"/>
                    <a:gd name="T9" fmla="*/ 0 h 497"/>
                    <a:gd name="T10" fmla="*/ 2147483647 w 1099"/>
                    <a:gd name="T11" fmla="*/ 2147483647 h 497"/>
                    <a:gd name="T12" fmla="*/ 2147483647 w 1099"/>
                    <a:gd name="T13" fmla="*/ 2147483647 h 497"/>
                    <a:gd name="T14" fmla="*/ 2147483647 w 1099"/>
                    <a:gd name="T15" fmla="*/ 2147483647 h 497"/>
                    <a:gd name="T16" fmla="*/ 2147483647 w 1099"/>
                    <a:gd name="T17" fmla="*/ 2147483647 h 497"/>
                    <a:gd name="T18" fmla="*/ 2147483647 w 1099"/>
                    <a:gd name="T19" fmla="*/ 2147483647 h 497"/>
                    <a:gd name="T20" fmla="*/ 2147483647 w 1099"/>
                    <a:gd name="T21" fmla="*/ 2147483647 h 497"/>
                    <a:gd name="T22" fmla="*/ 2147483647 w 1099"/>
                    <a:gd name="T23" fmla="*/ 2147483647 h 497"/>
                    <a:gd name="T24" fmla="*/ 2147483647 w 1099"/>
                    <a:gd name="T25" fmla="*/ 2147483647 h 497"/>
                    <a:gd name="T26" fmla="*/ 2147483647 w 1099"/>
                    <a:gd name="T27" fmla="*/ 2147483647 h 497"/>
                    <a:gd name="T28" fmla="*/ 2147483647 w 1099"/>
                    <a:gd name="T29" fmla="*/ 2147483647 h 497"/>
                    <a:gd name="T30" fmla="*/ 2147483647 w 1099"/>
                    <a:gd name="T31" fmla="*/ 2147483647 h 497"/>
                    <a:gd name="T32" fmla="*/ 2147483647 w 1099"/>
                    <a:gd name="T33" fmla="*/ 2147483647 h 497"/>
                    <a:gd name="T34" fmla="*/ 2147483647 w 1099"/>
                    <a:gd name="T35" fmla="*/ 2147483647 h 497"/>
                    <a:gd name="T36" fmla="*/ 2147483647 w 1099"/>
                    <a:gd name="T37" fmla="*/ 2147483647 h 497"/>
                    <a:gd name="T38" fmla="*/ 2147483647 w 1099"/>
                    <a:gd name="T39" fmla="*/ 2147483647 h 497"/>
                    <a:gd name="T40" fmla="*/ 2147483647 w 1099"/>
                    <a:gd name="T41" fmla="*/ 2147483647 h 497"/>
                    <a:gd name="T42" fmla="*/ 2147483647 w 1099"/>
                    <a:gd name="T43" fmla="*/ 2147483647 h 497"/>
                    <a:gd name="T44" fmla="*/ 2147483647 w 1099"/>
                    <a:gd name="T45" fmla="*/ 2147483647 h 497"/>
                    <a:gd name="T46" fmla="*/ 2147483647 w 1099"/>
                    <a:gd name="T47" fmla="*/ 2147483647 h 497"/>
                    <a:gd name="T48" fmla="*/ 2147483647 w 1099"/>
                    <a:gd name="T49" fmla="*/ 2147483647 h 497"/>
                    <a:gd name="T50" fmla="*/ 2147483647 w 1099"/>
                    <a:gd name="T51" fmla="*/ 2147483647 h 497"/>
                    <a:gd name="T52" fmla="*/ 2147483647 w 1099"/>
                    <a:gd name="T53" fmla="*/ 2147483647 h 497"/>
                    <a:gd name="T54" fmla="*/ 2147483647 w 1099"/>
                    <a:gd name="T55" fmla="*/ 2147483647 h 497"/>
                    <a:gd name="T56" fmla="*/ 2147483647 w 1099"/>
                    <a:gd name="T57" fmla="*/ 2147483647 h 497"/>
                    <a:gd name="T58" fmla="*/ 2147483647 w 1099"/>
                    <a:gd name="T59" fmla="*/ 2147483647 h 497"/>
                    <a:gd name="T60" fmla="*/ 2147483647 w 1099"/>
                    <a:gd name="T61" fmla="*/ 2147483647 h 497"/>
                    <a:gd name="T62" fmla="*/ 2147483647 w 1099"/>
                    <a:gd name="T63" fmla="*/ 2147483647 h 497"/>
                    <a:gd name="T64" fmla="*/ 2147483647 w 1099"/>
                    <a:gd name="T65" fmla="*/ 2147483647 h 497"/>
                    <a:gd name="T66" fmla="*/ 2147483647 w 1099"/>
                    <a:gd name="T67" fmla="*/ 2147483647 h 497"/>
                    <a:gd name="T68" fmla="*/ 2147483647 w 1099"/>
                    <a:gd name="T69" fmla="*/ 2147483647 h 497"/>
                    <a:gd name="T70" fmla="*/ 2147483647 w 1099"/>
                    <a:gd name="T71" fmla="*/ 2147483647 h 497"/>
                    <a:gd name="T72" fmla="*/ 2147483647 w 1099"/>
                    <a:gd name="T73" fmla="*/ 2147483647 h 497"/>
                    <a:gd name="T74" fmla="*/ 2147483647 w 1099"/>
                    <a:gd name="T75" fmla="*/ 2147483647 h 497"/>
                    <a:gd name="T76" fmla="*/ 2147483647 w 1099"/>
                    <a:gd name="T77" fmla="*/ 2147483647 h 497"/>
                    <a:gd name="T78" fmla="*/ 2147483647 w 1099"/>
                    <a:gd name="T79" fmla="*/ 2147483647 h 497"/>
                    <a:gd name="T80" fmla="*/ 2147483647 w 1099"/>
                    <a:gd name="T81" fmla="*/ 2147483647 h 497"/>
                    <a:gd name="T82" fmla="*/ 2147483647 w 1099"/>
                    <a:gd name="T83" fmla="*/ 2147483647 h 497"/>
                    <a:gd name="T84" fmla="*/ 2147483647 w 1099"/>
                    <a:gd name="T85" fmla="*/ 2147483647 h 497"/>
                    <a:gd name="T86" fmla="*/ 2147483647 w 1099"/>
                    <a:gd name="T87" fmla="*/ 2147483647 h 497"/>
                    <a:gd name="T88" fmla="*/ 2147483647 w 1099"/>
                    <a:gd name="T89" fmla="*/ 2147483647 h 497"/>
                    <a:gd name="T90" fmla="*/ 2147483647 w 1099"/>
                    <a:gd name="T91" fmla="*/ 2147483647 h 497"/>
                    <a:gd name="T92" fmla="*/ 2147483647 w 1099"/>
                    <a:gd name="T93" fmla="*/ 2147483647 h 497"/>
                    <a:gd name="T94" fmla="*/ 2147483647 w 1099"/>
                    <a:gd name="T95" fmla="*/ 2147483647 h 497"/>
                    <a:gd name="T96" fmla="*/ 2147483647 w 1099"/>
                    <a:gd name="T97" fmla="*/ 2147483647 h 497"/>
                    <a:gd name="T98" fmla="*/ 2147483647 w 1099"/>
                    <a:gd name="T99" fmla="*/ 2147483647 h 497"/>
                    <a:gd name="T100" fmla="*/ 2147483647 w 1099"/>
                    <a:gd name="T101" fmla="*/ 2147483647 h 497"/>
                    <a:gd name="T102" fmla="*/ 2147483647 w 1099"/>
                    <a:gd name="T103" fmla="*/ 2147483647 h 497"/>
                    <a:gd name="T104" fmla="*/ 2147483647 w 1099"/>
                    <a:gd name="T105" fmla="*/ 2147483647 h 497"/>
                    <a:gd name="T106" fmla="*/ 2147483647 w 1099"/>
                    <a:gd name="T107" fmla="*/ 2147483647 h 497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099"/>
                    <a:gd name="T163" fmla="*/ 0 h 497"/>
                    <a:gd name="T164" fmla="*/ 1099 w 1099"/>
                    <a:gd name="T165" fmla="*/ 497 h 497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099" h="497">
                      <a:moveTo>
                        <a:pt x="820" y="87"/>
                      </a:moveTo>
                      <a:lnTo>
                        <a:pt x="828" y="79"/>
                      </a:lnTo>
                      <a:lnTo>
                        <a:pt x="855" y="79"/>
                      </a:lnTo>
                      <a:lnTo>
                        <a:pt x="881" y="53"/>
                      </a:lnTo>
                      <a:lnTo>
                        <a:pt x="889" y="35"/>
                      </a:lnTo>
                      <a:lnTo>
                        <a:pt x="855" y="26"/>
                      </a:lnTo>
                      <a:lnTo>
                        <a:pt x="846" y="44"/>
                      </a:lnTo>
                      <a:lnTo>
                        <a:pt x="811" y="61"/>
                      </a:lnTo>
                      <a:lnTo>
                        <a:pt x="793" y="61"/>
                      </a:lnTo>
                      <a:lnTo>
                        <a:pt x="811" y="35"/>
                      </a:lnTo>
                      <a:lnTo>
                        <a:pt x="785" y="35"/>
                      </a:lnTo>
                      <a:lnTo>
                        <a:pt x="776" y="44"/>
                      </a:lnTo>
                      <a:lnTo>
                        <a:pt x="767" y="35"/>
                      </a:lnTo>
                      <a:lnTo>
                        <a:pt x="785" y="26"/>
                      </a:lnTo>
                      <a:lnTo>
                        <a:pt x="767" y="0"/>
                      </a:lnTo>
                      <a:lnTo>
                        <a:pt x="724" y="18"/>
                      </a:lnTo>
                      <a:lnTo>
                        <a:pt x="741" y="35"/>
                      </a:lnTo>
                      <a:lnTo>
                        <a:pt x="724" y="53"/>
                      </a:lnTo>
                      <a:lnTo>
                        <a:pt x="698" y="53"/>
                      </a:lnTo>
                      <a:lnTo>
                        <a:pt x="680" y="61"/>
                      </a:lnTo>
                      <a:lnTo>
                        <a:pt x="645" y="61"/>
                      </a:lnTo>
                      <a:lnTo>
                        <a:pt x="593" y="53"/>
                      </a:lnTo>
                      <a:lnTo>
                        <a:pt x="549" y="53"/>
                      </a:lnTo>
                      <a:lnTo>
                        <a:pt x="541" y="79"/>
                      </a:lnTo>
                      <a:lnTo>
                        <a:pt x="532" y="61"/>
                      </a:lnTo>
                      <a:lnTo>
                        <a:pt x="488" y="70"/>
                      </a:lnTo>
                      <a:lnTo>
                        <a:pt x="462" y="61"/>
                      </a:lnTo>
                      <a:lnTo>
                        <a:pt x="480" y="44"/>
                      </a:lnTo>
                      <a:lnTo>
                        <a:pt x="401" y="26"/>
                      </a:lnTo>
                      <a:lnTo>
                        <a:pt x="366" y="35"/>
                      </a:lnTo>
                      <a:lnTo>
                        <a:pt x="358" y="44"/>
                      </a:lnTo>
                      <a:lnTo>
                        <a:pt x="349" y="26"/>
                      </a:lnTo>
                      <a:lnTo>
                        <a:pt x="323" y="35"/>
                      </a:lnTo>
                      <a:lnTo>
                        <a:pt x="279" y="26"/>
                      </a:lnTo>
                      <a:lnTo>
                        <a:pt x="227" y="44"/>
                      </a:lnTo>
                      <a:lnTo>
                        <a:pt x="183" y="35"/>
                      </a:lnTo>
                      <a:lnTo>
                        <a:pt x="166" y="35"/>
                      </a:lnTo>
                      <a:lnTo>
                        <a:pt x="0" y="175"/>
                      </a:lnTo>
                      <a:lnTo>
                        <a:pt x="35" y="183"/>
                      </a:lnTo>
                      <a:lnTo>
                        <a:pt x="26" y="201"/>
                      </a:lnTo>
                      <a:lnTo>
                        <a:pt x="61" y="183"/>
                      </a:lnTo>
                      <a:lnTo>
                        <a:pt x="70" y="209"/>
                      </a:lnTo>
                      <a:lnTo>
                        <a:pt x="70" y="244"/>
                      </a:lnTo>
                      <a:lnTo>
                        <a:pt x="70" y="262"/>
                      </a:lnTo>
                      <a:lnTo>
                        <a:pt x="52" y="270"/>
                      </a:lnTo>
                      <a:lnTo>
                        <a:pt x="35" y="288"/>
                      </a:lnTo>
                      <a:lnTo>
                        <a:pt x="35" y="305"/>
                      </a:lnTo>
                      <a:lnTo>
                        <a:pt x="44" y="305"/>
                      </a:lnTo>
                      <a:lnTo>
                        <a:pt x="35" y="323"/>
                      </a:lnTo>
                      <a:lnTo>
                        <a:pt x="52" y="314"/>
                      </a:lnTo>
                      <a:lnTo>
                        <a:pt x="35" y="340"/>
                      </a:lnTo>
                      <a:lnTo>
                        <a:pt x="52" y="349"/>
                      </a:lnTo>
                      <a:lnTo>
                        <a:pt x="79" y="375"/>
                      </a:lnTo>
                      <a:lnTo>
                        <a:pt x="488" y="375"/>
                      </a:lnTo>
                      <a:lnTo>
                        <a:pt x="488" y="366"/>
                      </a:lnTo>
                      <a:lnTo>
                        <a:pt x="506" y="366"/>
                      </a:lnTo>
                      <a:lnTo>
                        <a:pt x="506" y="384"/>
                      </a:lnTo>
                      <a:lnTo>
                        <a:pt x="532" y="392"/>
                      </a:lnTo>
                      <a:lnTo>
                        <a:pt x="541" y="384"/>
                      </a:lnTo>
                      <a:lnTo>
                        <a:pt x="558" y="401"/>
                      </a:lnTo>
                      <a:lnTo>
                        <a:pt x="575" y="392"/>
                      </a:lnTo>
                      <a:lnTo>
                        <a:pt x="584" y="384"/>
                      </a:lnTo>
                      <a:lnTo>
                        <a:pt x="610" y="375"/>
                      </a:lnTo>
                      <a:lnTo>
                        <a:pt x="628" y="401"/>
                      </a:lnTo>
                      <a:lnTo>
                        <a:pt x="637" y="419"/>
                      </a:lnTo>
                      <a:lnTo>
                        <a:pt x="671" y="427"/>
                      </a:lnTo>
                      <a:lnTo>
                        <a:pt x="689" y="445"/>
                      </a:lnTo>
                      <a:lnTo>
                        <a:pt x="671" y="453"/>
                      </a:lnTo>
                      <a:lnTo>
                        <a:pt x="663" y="445"/>
                      </a:lnTo>
                      <a:lnTo>
                        <a:pt x="654" y="453"/>
                      </a:lnTo>
                      <a:lnTo>
                        <a:pt x="628" y="497"/>
                      </a:lnTo>
                      <a:lnTo>
                        <a:pt x="654" y="488"/>
                      </a:lnTo>
                      <a:lnTo>
                        <a:pt x="671" y="488"/>
                      </a:lnTo>
                      <a:lnTo>
                        <a:pt x="680" y="488"/>
                      </a:lnTo>
                      <a:lnTo>
                        <a:pt x="680" y="471"/>
                      </a:lnTo>
                      <a:lnTo>
                        <a:pt x="724" y="462"/>
                      </a:lnTo>
                      <a:lnTo>
                        <a:pt x="732" y="462"/>
                      </a:lnTo>
                      <a:lnTo>
                        <a:pt x="759" y="445"/>
                      </a:lnTo>
                      <a:lnTo>
                        <a:pt x="837" y="436"/>
                      </a:lnTo>
                      <a:lnTo>
                        <a:pt x="872" y="401"/>
                      </a:lnTo>
                      <a:lnTo>
                        <a:pt x="889" y="401"/>
                      </a:lnTo>
                      <a:lnTo>
                        <a:pt x="881" y="419"/>
                      </a:lnTo>
                      <a:lnTo>
                        <a:pt x="881" y="453"/>
                      </a:lnTo>
                      <a:lnTo>
                        <a:pt x="898" y="445"/>
                      </a:lnTo>
                      <a:lnTo>
                        <a:pt x="916" y="427"/>
                      </a:lnTo>
                      <a:lnTo>
                        <a:pt x="924" y="445"/>
                      </a:lnTo>
                      <a:lnTo>
                        <a:pt x="916" y="445"/>
                      </a:lnTo>
                      <a:lnTo>
                        <a:pt x="881" y="462"/>
                      </a:lnTo>
                      <a:lnTo>
                        <a:pt x="889" y="471"/>
                      </a:lnTo>
                      <a:lnTo>
                        <a:pt x="916" y="471"/>
                      </a:lnTo>
                      <a:lnTo>
                        <a:pt x="933" y="445"/>
                      </a:lnTo>
                      <a:lnTo>
                        <a:pt x="968" y="445"/>
                      </a:lnTo>
                      <a:lnTo>
                        <a:pt x="968" y="427"/>
                      </a:lnTo>
                      <a:lnTo>
                        <a:pt x="942" y="427"/>
                      </a:lnTo>
                      <a:lnTo>
                        <a:pt x="924" y="427"/>
                      </a:lnTo>
                      <a:lnTo>
                        <a:pt x="916" y="419"/>
                      </a:lnTo>
                      <a:lnTo>
                        <a:pt x="924" y="401"/>
                      </a:lnTo>
                      <a:lnTo>
                        <a:pt x="898" y="392"/>
                      </a:lnTo>
                      <a:lnTo>
                        <a:pt x="898" y="384"/>
                      </a:lnTo>
                      <a:lnTo>
                        <a:pt x="933" y="392"/>
                      </a:lnTo>
                      <a:lnTo>
                        <a:pt x="942" y="375"/>
                      </a:lnTo>
                      <a:lnTo>
                        <a:pt x="924" y="366"/>
                      </a:lnTo>
                      <a:lnTo>
                        <a:pt x="898" y="375"/>
                      </a:lnTo>
                      <a:lnTo>
                        <a:pt x="863" y="392"/>
                      </a:lnTo>
                      <a:lnTo>
                        <a:pt x="828" y="419"/>
                      </a:lnTo>
                      <a:lnTo>
                        <a:pt x="855" y="384"/>
                      </a:lnTo>
                      <a:lnTo>
                        <a:pt x="881" y="366"/>
                      </a:lnTo>
                      <a:lnTo>
                        <a:pt x="907" y="349"/>
                      </a:lnTo>
                      <a:lnTo>
                        <a:pt x="977" y="349"/>
                      </a:lnTo>
                      <a:lnTo>
                        <a:pt x="1011" y="349"/>
                      </a:lnTo>
                      <a:lnTo>
                        <a:pt x="1029" y="340"/>
                      </a:lnTo>
                      <a:lnTo>
                        <a:pt x="1064" y="323"/>
                      </a:lnTo>
                      <a:lnTo>
                        <a:pt x="1081" y="323"/>
                      </a:lnTo>
                      <a:lnTo>
                        <a:pt x="1090" y="323"/>
                      </a:lnTo>
                      <a:lnTo>
                        <a:pt x="1081" y="305"/>
                      </a:lnTo>
                      <a:lnTo>
                        <a:pt x="1090" y="305"/>
                      </a:lnTo>
                      <a:lnTo>
                        <a:pt x="1099" y="288"/>
                      </a:lnTo>
                      <a:lnTo>
                        <a:pt x="1029" y="297"/>
                      </a:lnTo>
                      <a:lnTo>
                        <a:pt x="1072" y="279"/>
                      </a:lnTo>
                      <a:lnTo>
                        <a:pt x="1029" y="253"/>
                      </a:lnTo>
                      <a:lnTo>
                        <a:pt x="1038" y="227"/>
                      </a:lnTo>
                      <a:lnTo>
                        <a:pt x="1029" y="218"/>
                      </a:lnTo>
                      <a:lnTo>
                        <a:pt x="1029" y="201"/>
                      </a:lnTo>
                      <a:lnTo>
                        <a:pt x="1020" y="201"/>
                      </a:lnTo>
                      <a:lnTo>
                        <a:pt x="1029" y="183"/>
                      </a:lnTo>
                      <a:lnTo>
                        <a:pt x="950" y="218"/>
                      </a:lnTo>
                      <a:lnTo>
                        <a:pt x="942" y="218"/>
                      </a:lnTo>
                      <a:lnTo>
                        <a:pt x="950" y="209"/>
                      </a:lnTo>
                      <a:lnTo>
                        <a:pt x="950" y="201"/>
                      </a:lnTo>
                      <a:lnTo>
                        <a:pt x="968" y="166"/>
                      </a:lnTo>
                      <a:lnTo>
                        <a:pt x="950" y="166"/>
                      </a:lnTo>
                      <a:lnTo>
                        <a:pt x="933" y="148"/>
                      </a:lnTo>
                      <a:lnTo>
                        <a:pt x="924" y="148"/>
                      </a:lnTo>
                      <a:lnTo>
                        <a:pt x="881" y="140"/>
                      </a:lnTo>
                      <a:lnTo>
                        <a:pt x="872" y="131"/>
                      </a:lnTo>
                      <a:lnTo>
                        <a:pt x="863" y="148"/>
                      </a:lnTo>
                      <a:lnTo>
                        <a:pt x="846" y="175"/>
                      </a:lnTo>
                      <a:lnTo>
                        <a:pt x="855" y="183"/>
                      </a:lnTo>
                      <a:lnTo>
                        <a:pt x="820" y="209"/>
                      </a:lnTo>
                      <a:lnTo>
                        <a:pt x="828" y="236"/>
                      </a:lnTo>
                      <a:lnTo>
                        <a:pt x="785" y="270"/>
                      </a:lnTo>
                      <a:lnTo>
                        <a:pt x="767" y="279"/>
                      </a:lnTo>
                      <a:lnTo>
                        <a:pt x="759" y="305"/>
                      </a:lnTo>
                      <a:lnTo>
                        <a:pt x="732" y="340"/>
                      </a:lnTo>
                      <a:lnTo>
                        <a:pt x="715" y="323"/>
                      </a:lnTo>
                      <a:lnTo>
                        <a:pt x="724" y="270"/>
                      </a:lnTo>
                      <a:lnTo>
                        <a:pt x="715" y="270"/>
                      </a:lnTo>
                      <a:lnTo>
                        <a:pt x="689" y="270"/>
                      </a:lnTo>
                      <a:lnTo>
                        <a:pt x="645" y="236"/>
                      </a:lnTo>
                      <a:lnTo>
                        <a:pt x="610" y="236"/>
                      </a:lnTo>
                      <a:lnTo>
                        <a:pt x="610" y="201"/>
                      </a:lnTo>
                      <a:lnTo>
                        <a:pt x="602" y="201"/>
                      </a:lnTo>
                      <a:lnTo>
                        <a:pt x="610" y="183"/>
                      </a:lnTo>
                      <a:lnTo>
                        <a:pt x="654" y="157"/>
                      </a:lnTo>
                      <a:lnTo>
                        <a:pt x="654" y="148"/>
                      </a:lnTo>
                      <a:lnTo>
                        <a:pt x="698" y="131"/>
                      </a:lnTo>
                      <a:lnTo>
                        <a:pt x="680" y="122"/>
                      </a:lnTo>
                      <a:lnTo>
                        <a:pt x="706" y="122"/>
                      </a:lnTo>
                      <a:lnTo>
                        <a:pt x="767" y="105"/>
                      </a:lnTo>
                      <a:lnTo>
                        <a:pt x="724" y="87"/>
                      </a:lnTo>
                      <a:lnTo>
                        <a:pt x="776" y="87"/>
                      </a:lnTo>
                      <a:lnTo>
                        <a:pt x="802" y="79"/>
                      </a:lnTo>
                      <a:lnTo>
                        <a:pt x="820" y="8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7" name="Freeform 45"/>
                <p:cNvSpPr>
                  <a:spLocks/>
                </p:cNvSpPr>
                <p:nvPr/>
              </p:nvSpPr>
              <p:spPr bwMode="auto">
                <a:xfrm>
                  <a:off x="1344614" y="1905001"/>
                  <a:ext cx="1744663" cy="788988"/>
                </a:xfrm>
                <a:custGeom>
                  <a:avLst/>
                  <a:gdLst>
                    <a:gd name="T0" fmla="*/ 2147483647 w 1099"/>
                    <a:gd name="T1" fmla="*/ 2147483647 h 497"/>
                    <a:gd name="T2" fmla="*/ 2147483647 w 1099"/>
                    <a:gd name="T3" fmla="*/ 2147483647 h 497"/>
                    <a:gd name="T4" fmla="*/ 2147483647 w 1099"/>
                    <a:gd name="T5" fmla="*/ 2147483647 h 497"/>
                    <a:gd name="T6" fmla="*/ 2147483647 w 1099"/>
                    <a:gd name="T7" fmla="*/ 2147483647 h 497"/>
                    <a:gd name="T8" fmla="*/ 2147483647 w 1099"/>
                    <a:gd name="T9" fmla="*/ 0 h 497"/>
                    <a:gd name="T10" fmla="*/ 2147483647 w 1099"/>
                    <a:gd name="T11" fmla="*/ 2147483647 h 497"/>
                    <a:gd name="T12" fmla="*/ 2147483647 w 1099"/>
                    <a:gd name="T13" fmla="*/ 2147483647 h 497"/>
                    <a:gd name="T14" fmla="*/ 2147483647 w 1099"/>
                    <a:gd name="T15" fmla="*/ 2147483647 h 497"/>
                    <a:gd name="T16" fmla="*/ 2147483647 w 1099"/>
                    <a:gd name="T17" fmla="*/ 2147483647 h 497"/>
                    <a:gd name="T18" fmla="*/ 2147483647 w 1099"/>
                    <a:gd name="T19" fmla="*/ 2147483647 h 497"/>
                    <a:gd name="T20" fmla="*/ 2147483647 w 1099"/>
                    <a:gd name="T21" fmla="*/ 2147483647 h 497"/>
                    <a:gd name="T22" fmla="*/ 2147483647 w 1099"/>
                    <a:gd name="T23" fmla="*/ 2147483647 h 497"/>
                    <a:gd name="T24" fmla="*/ 2147483647 w 1099"/>
                    <a:gd name="T25" fmla="*/ 2147483647 h 497"/>
                    <a:gd name="T26" fmla="*/ 2147483647 w 1099"/>
                    <a:gd name="T27" fmla="*/ 2147483647 h 497"/>
                    <a:gd name="T28" fmla="*/ 2147483647 w 1099"/>
                    <a:gd name="T29" fmla="*/ 2147483647 h 497"/>
                    <a:gd name="T30" fmla="*/ 2147483647 w 1099"/>
                    <a:gd name="T31" fmla="*/ 2147483647 h 497"/>
                    <a:gd name="T32" fmla="*/ 2147483647 w 1099"/>
                    <a:gd name="T33" fmla="*/ 2147483647 h 497"/>
                    <a:gd name="T34" fmla="*/ 2147483647 w 1099"/>
                    <a:gd name="T35" fmla="*/ 2147483647 h 497"/>
                    <a:gd name="T36" fmla="*/ 2147483647 w 1099"/>
                    <a:gd name="T37" fmla="*/ 2147483647 h 497"/>
                    <a:gd name="T38" fmla="*/ 2147483647 w 1099"/>
                    <a:gd name="T39" fmla="*/ 2147483647 h 497"/>
                    <a:gd name="T40" fmla="*/ 2147483647 w 1099"/>
                    <a:gd name="T41" fmla="*/ 2147483647 h 497"/>
                    <a:gd name="T42" fmla="*/ 2147483647 w 1099"/>
                    <a:gd name="T43" fmla="*/ 2147483647 h 497"/>
                    <a:gd name="T44" fmla="*/ 2147483647 w 1099"/>
                    <a:gd name="T45" fmla="*/ 2147483647 h 497"/>
                    <a:gd name="T46" fmla="*/ 2147483647 w 1099"/>
                    <a:gd name="T47" fmla="*/ 2147483647 h 497"/>
                    <a:gd name="T48" fmla="*/ 2147483647 w 1099"/>
                    <a:gd name="T49" fmla="*/ 2147483647 h 497"/>
                    <a:gd name="T50" fmla="*/ 2147483647 w 1099"/>
                    <a:gd name="T51" fmla="*/ 2147483647 h 497"/>
                    <a:gd name="T52" fmla="*/ 2147483647 w 1099"/>
                    <a:gd name="T53" fmla="*/ 2147483647 h 497"/>
                    <a:gd name="T54" fmla="*/ 2147483647 w 1099"/>
                    <a:gd name="T55" fmla="*/ 2147483647 h 497"/>
                    <a:gd name="T56" fmla="*/ 2147483647 w 1099"/>
                    <a:gd name="T57" fmla="*/ 2147483647 h 497"/>
                    <a:gd name="T58" fmla="*/ 2147483647 w 1099"/>
                    <a:gd name="T59" fmla="*/ 2147483647 h 497"/>
                    <a:gd name="T60" fmla="*/ 2147483647 w 1099"/>
                    <a:gd name="T61" fmla="*/ 2147483647 h 497"/>
                    <a:gd name="T62" fmla="*/ 2147483647 w 1099"/>
                    <a:gd name="T63" fmla="*/ 2147483647 h 497"/>
                    <a:gd name="T64" fmla="*/ 2147483647 w 1099"/>
                    <a:gd name="T65" fmla="*/ 2147483647 h 497"/>
                    <a:gd name="T66" fmla="*/ 2147483647 w 1099"/>
                    <a:gd name="T67" fmla="*/ 2147483647 h 497"/>
                    <a:gd name="T68" fmla="*/ 2147483647 w 1099"/>
                    <a:gd name="T69" fmla="*/ 2147483647 h 497"/>
                    <a:gd name="T70" fmla="*/ 2147483647 w 1099"/>
                    <a:gd name="T71" fmla="*/ 2147483647 h 497"/>
                    <a:gd name="T72" fmla="*/ 2147483647 w 1099"/>
                    <a:gd name="T73" fmla="*/ 2147483647 h 497"/>
                    <a:gd name="T74" fmla="*/ 2147483647 w 1099"/>
                    <a:gd name="T75" fmla="*/ 2147483647 h 497"/>
                    <a:gd name="T76" fmla="*/ 2147483647 w 1099"/>
                    <a:gd name="T77" fmla="*/ 2147483647 h 497"/>
                    <a:gd name="T78" fmla="*/ 2147483647 w 1099"/>
                    <a:gd name="T79" fmla="*/ 2147483647 h 497"/>
                    <a:gd name="T80" fmla="*/ 2147483647 w 1099"/>
                    <a:gd name="T81" fmla="*/ 2147483647 h 497"/>
                    <a:gd name="T82" fmla="*/ 2147483647 w 1099"/>
                    <a:gd name="T83" fmla="*/ 2147483647 h 497"/>
                    <a:gd name="T84" fmla="*/ 2147483647 w 1099"/>
                    <a:gd name="T85" fmla="*/ 2147483647 h 497"/>
                    <a:gd name="T86" fmla="*/ 2147483647 w 1099"/>
                    <a:gd name="T87" fmla="*/ 2147483647 h 497"/>
                    <a:gd name="T88" fmla="*/ 2147483647 w 1099"/>
                    <a:gd name="T89" fmla="*/ 2147483647 h 497"/>
                    <a:gd name="T90" fmla="*/ 2147483647 w 1099"/>
                    <a:gd name="T91" fmla="*/ 2147483647 h 497"/>
                    <a:gd name="T92" fmla="*/ 2147483647 w 1099"/>
                    <a:gd name="T93" fmla="*/ 2147483647 h 497"/>
                    <a:gd name="T94" fmla="*/ 2147483647 w 1099"/>
                    <a:gd name="T95" fmla="*/ 2147483647 h 497"/>
                    <a:gd name="T96" fmla="*/ 2147483647 w 1099"/>
                    <a:gd name="T97" fmla="*/ 2147483647 h 497"/>
                    <a:gd name="T98" fmla="*/ 2147483647 w 1099"/>
                    <a:gd name="T99" fmla="*/ 2147483647 h 497"/>
                    <a:gd name="T100" fmla="*/ 2147483647 w 1099"/>
                    <a:gd name="T101" fmla="*/ 2147483647 h 497"/>
                    <a:gd name="T102" fmla="*/ 2147483647 w 1099"/>
                    <a:gd name="T103" fmla="*/ 2147483647 h 497"/>
                    <a:gd name="T104" fmla="*/ 2147483647 w 1099"/>
                    <a:gd name="T105" fmla="*/ 2147483647 h 497"/>
                    <a:gd name="T106" fmla="*/ 2147483647 w 1099"/>
                    <a:gd name="T107" fmla="*/ 2147483647 h 497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099"/>
                    <a:gd name="T163" fmla="*/ 0 h 497"/>
                    <a:gd name="T164" fmla="*/ 1099 w 1099"/>
                    <a:gd name="T165" fmla="*/ 497 h 497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099" h="497">
                      <a:moveTo>
                        <a:pt x="820" y="87"/>
                      </a:moveTo>
                      <a:lnTo>
                        <a:pt x="828" y="79"/>
                      </a:lnTo>
                      <a:lnTo>
                        <a:pt x="855" y="79"/>
                      </a:lnTo>
                      <a:lnTo>
                        <a:pt x="881" y="53"/>
                      </a:lnTo>
                      <a:lnTo>
                        <a:pt x="889" y="35"/>
                      </a:lnTo>
                      <a:lnTo>
                        <a:pt x="855" y="26"/>
                      </a:lnTo>
                      <a:lnTo>
                        <a:pt x="846" y="44"/>
                      </a:lnTo>
                      <a:lnTo>
                        <a:pt x="811" y="61"/>
                      </a:lnTo>
                      <a:lnTo>
                        <a:pt x="793" y="61"/>
                      </a:lnTo>
                      <a:lnTo>
                        <a:pt x="811" y="35"/>
                      </a:lnTo>
                      <a:lnTo>
                        <a:pt x="785" y="35"/>
                      </a:lnTo>
                      <a:lnTo>
                        <a:pt x="776" y="44"/>
                      </a:lnTo>
                      <a:lnTo>
                        <a:pt x="767" y="35"/>
                      </a:lnTo>
                      <a:lnTo>
                        <a:pt x="785" y="26"/>
                      </a:lnTo>
                      <a:lnTo>
                        <a:pt x="767" y="0"/>
                      </a:lnTo>
                      <a:lnTo>
                        <a:pt x="724" y="18"/>
                      </a:lnTo>
                      <a:lnTo>
                        <a:pt x="741" y="35"/>
                      </a:lnTo>
                      <a:lnTo>
                        <a:pt x="724" y="53"/>
                      </a:lnTo>
                      <a:lnTo>
                        <a:pt x="698" y="53"/>
                      </a:lnTo>
                      <a:lnTo>
                        <a:pt x="680" y="61"/>
                      </a:lnTo>
                      <a:lnTo>
                        <a:pt x="645" y="61"/>
                      </a:lnTo>
                      <a:lnTo>
                        <a:pt x="593" y="53"/>
                      </a:lnTo>
                      <a:lnTo>
                        <a:pt x="549" y="53"/>
                      </a:lnTo>
                      <a:lnTo>
                        <a:pt x="541" y="79"/>
                      </a:lnTo>
                      <a:lnTo>
                        <a:pt x="532" y="61"/>
                      </a:lnTo>
                      <a:lnTo>
                        <a:pt x="488" y="70"/>
                      </a:lnTo>
                      <a:lnTo>
                        <a:pt x="462" y="61"/>
                      </a:lnTo>
                      <a:lnTo>
                        <a:pt x="480" y="44"/>
                      </a:lnTo>
                      <a:lnTo>
                        <a:pt x="401" y="26"/>
                      </a:lnTo>
                      <a:lnTo>
                        <a:pt x="366" y="35"/>
                      </a:lnTo>
                      <a:lnTo>
                        <a:pt x="358" y="44"/>
                      </a:lnTo>
                      <a:lnTo>
                        <a:pt x="349" y="26"/>
                      </a:lnTo>
                      <a:lnTo>
                        <a:pt x="323" y="35"/>
                      </a:lnTo>
                      <a:lnTo>
                        <a:pt x="279" y="26"/>
                      </a:lnTo>
                      <a:lnTo>
                        <a:pt x="227" y="44"/>
                      </a:lnTo>
                      <a:lnTo>
                        <a:pt x="183" y="35"/>
                      </a:lnTo>
                      <a:lnTo>
                        <a:pt x="166" y="35"/>
                      </a:lnTo>
                      <a:lnTo>
                        <a:pt x="0" y="175"/>
                      </a:lnTo>
                      <a:lnTo>
                        <a:pt x="35" y="183"/>
                      </a:lnTo>
                      <a:lnTo>
                        <a:pt x="26" y="201"/>
                      </a:lnTo>
                      <a:lnTo>
                        <a:pt x="61" y="183"/>
                      </a:lnTo>
                      <a:lnTo>
                        <a:pt x="70" y="209"/>
                      </a:lnTo>
                      <a:lnTo>
                        <a:pt x="70" y="244"/>
                      </a:lnTo>
                      <a:lnTo>
                        <a:pt x="70" y="262"/>
                      </a:lnTo>
                      <a:lnTo>
                        <a:pt x="52" y="270"/>
                      </a:lnTo>
                      <a:lnTo>
                        <a:pt x="35" y="288"/>
                      </a:lnTo>
                      <a:lnTo>
                        <a:pt x="35" y="305"/>
                      </a:lnTo>
                      <a:lnTo>
                        <a:pt x="44" y="305"/>
                      </a:lnTo>
                      <a:lnTo>
                        <a:pt x="35" y="323"/>
                      </a:lnTo>
                      <a:lnTo>
                        <a:pt x="52" y="314"/>
                      </a:lnTo>
                      <a:lnTo>
                        <a:pt x="35" y="340"/>
                      </a:lnTo>
                      <a:lnTo>
                        <a:pt x="52" y="349"/>
                      </a:lnTo>
                      <a:lnTo>
                        <a:pt x="79" y="375"/>
                      </a:lnTo>
                      <a:lnTo>
                        <a:pt x="488" y="375"/>
                      </a:lnTo>
                      <a:lnTo>
                        <a:pt x="488" y="366"/>
                      </a:lnTo>
                      <a:lnTo>
                        <a:pt x="506" y="366"/>
                      </a:lnTo>
                      <a:lnTo>
                        <a:pt x="506" y="384"/>
                      </a:lnTo>
                      <a:lnTo>
                        <a:pt x="532" y="392"/>
                      </a:lnTo>
                      <a:lnTo>
                        <a:pt x="541" y="384"/>
                      </a:lnTo>
                      <a:lnTo>
                        <a:pt x="558" y="401"/>
                      </a:lnTo>
                      <a:lnTo>
                        <a:pt x="575" y="392"/>
                      </a:lnTo>
                      <a:lnTo>
                        <a:pt x="584" y="384"/>
                      </a:lnTo>
                      <a:lnTo>
                        <a:pt x="610" y="375"/>
                      </a:lnTo>
                      <a:lnTo>
                        <a:pt x="628" y="401"/>
                      </a:lnTo>
                      <a:lnTo>
                        <a:pt x="637" y="419"/>
                      </a:lnTo>
                      <a:lnTo>
                        <a:pt x="671" y="427"/>
                      </a:lnTo>
                      <a:lnTo>
                        <a:pt x="689" y="445"/>
                      </a:lnTo>
                      <a:lnTo>
                        <a:pt x="671" y="453"/>
                      </a:lnTo>
                      <a:lnTo>
                        <a:pt x="663" y="445"/>
                      </a:lnTo>
                      <a:lnTo>
                        <a:pt x="654" y="453"/>
                      </a:lnTo>
                      <a:lnTo>
                        <a:pt x="628" y="497"/>
                      </a:lnTo>
                      <a:lnTo>
                        <a:pt x="654" y="488"/>
                      </a:lnTo>
                      <a:lnTo>
                        <a:pt x="671" y="488"/>
                      </a:lnTo>
                      <a:lnTo>
                        <a:pt x="680" y="488"/>
                      </a:lnTo>
                      <a:lnTo>
                        <a:pt x="680" y="471"/>
                      </a:lnTo>
                      <a:lnTo>
                        <a:pt x="724" y="462"/>
                      </a:lnTo>
                      <a:lnTo>
                        <a:pt x="732" y="462"/>
                      </a:lnTo>
                      <a:lnTo>
                        <a:pt x="759" y="445"/>
                      </a:lnTo>
                      <a:lnTo>
                        <a:pt x="837" y="436"/>
                      </a:lnTo>
                      <a:lnTo>
                        <a:pt x="872" y="401"/>
                      </a:lnTo>
                      <a:lnTo>
                        <a:pt x="889" y="401"/>
                      </a:lnTo>
                      <a:lnTo>
                        <a:pt x="881" y="419"/>
                      </a:lnTo>
                      <a:lnTo>
                        <a:pt x="881" y="453"/>
                      </a:lnTo>
                      <a:lnTo>
                        <a:pt x="898" y="445"/>
                      </a:lnTo>
                      <a:lnTo>
                        <a:pt x="916" y="427"/>
                      </a:lnTo>
                      <a:lnTo>
                        <a:pt x="924" y="445"/>
                      </a:lnTo>
                      <a:lnTo>
                        <a:pt x="916" y="445"/>
                      </a:lnTo>
                      <a:lnTo>
                        <a:pt x="881" y="462"/>
                      </a:lnTo>
                      <a:lnTo>
                        <a:pt x="889" y="471"/>
                      </a:lnTo>
                      <a:lnTo>
                        <a:pt x="916" y="471"/>
                      </a:lnTo>
                      <a:lnTo>
                        <a:pt x="933" y="445"/>
                      </a:lnTo>
                      <a:lnTo>
                        <a:pt x="968" y="445"/>
                      </a:lnTo>
                      <a:lnTo>
                        <a:pt x="968" y="427"/>
                      </a:lnTo>
                      <a:lnTo>
                        <a:pt x="942" y="427"/>
                      </a:lnTo>
                      <a:lnTo>
                        <a:pt x="924" y="427"/>
                      </a:lnTo>
                      <a:lnTo>
                        <a:pt x="916" y="419"/>
                      </a:lnTo>
                      <a:lnTo>
                        <a:pt x="924" y="401"/>
                      </a:lnTo>
                      <a:lnTo>
                        <a:pt x="898" y="392"/>
                      </a:lnTo>
                      <a:lnTo>
                        <a:pt x="898" y="384"/>
                      </a:lnTo>
                      <a:lnTo>
                        <a:pt x="933" y="392"/>
                      </a:lnTo>
                      <a:lnTo>
                        <a:pt x="942" y="375"/>
                      </a:lnTo>
                      <a:lnTo>
                        <a:pt x="924" y="366"/>
                      </a:lnTo>
                      <a:lnTo>
                        <a:pt x="898" y="375"/>
                      </a:lnTo>
                      <a:lnTo>
                        <a:pt x="863" y="392"/>
                      </a:lnTo>
                      <a:lnTo>
                        <a:pt x="828" y="419"/>
                      </a:lnTo>
                      <a:lnTo>
                        <a:pt x="855" y="384"/>
                      </a:lnTo>
                      <a:lnTo>
                        <a:pt x="881" y="366"/>
                      </a:lnTo>
                      <a:lnTo>
                        <a:pt x="907" y="349"/>
                      </a:lnTo>
                      <a:lnTo>
                        <a:pt x="977" y="349"/>
                      </a:lnTo>
                      <a:lnTo>
                        <a:pt x="1011" y="349"/>
                      </a:lnTo>
                      <a:lnTo>
                        <a:pt x="1029" y="340"/>
                      </a:lnTo>
                      <a:lnTo>
                        <a:pt x="1064" y="323"/>
                      </a:lnTo>
                      <a:lnTo>
                        <a:pt x="1081" y="323"/>
                      </a:lnTo>
                      <a:lnTo>
                        <a:pt x="1090" y="323"/>
                      </a:lnTo>
                      <a:lnTo>
                        <a:pt x="1081" y="305"/>
                      </a:lnTo>
                      <a:lnTo>
                        <a:pt x="1090" y="305"/>
                      </a:lnTo>
                      <a:lnTo>
                        <a:pt x="1099" y="288"/>
                      </a:lnTo>
                      <a:lnTo>
                        <a:pt x="1029" y="297"/>
                      </a:lnTo>
                      <a:lnTo>
                        <a:pt x="1072" y="279"/>
                      </a:lnTo>
                      <a:lnTo>
                        <a:pt x="1029" y="253"/>
                      </a:lnTo>
                      <a:lnTo>
                        <a:pt x="1038" y="227"/>
                      </a:lnTo>
                      <a:lnTo>
                        <a:pt x="1029" y="218"/>
                      </a:lnTo>
                      <a:lnTo>
                        <a:pt x="1029" y="201"/>
                      </a:lnTo>
                      <a:lnTo>
                        <a:pt x="1020" y="201"/>
                      </a:lnTo>
                      <a:lnTo>
                        <a:pt x="1029" y="183"/>
                      </a:lnTo>
                      <a:lnTo>
                        <a:pt x="950" y="218"/>
                      </a:lnTo>
                      <a:lnTo>
                        <a:pt x="942" y="218"/>
                      </a:lnTo>
                      <a:lnTo>
                        <a:pt x="950" y="209"/>
                      </a:lnTo>
                      <a:lnTo>
                        <a:pt x="950" y="201"/>
                      </a:lnTo>
                      <a:lnTo>
                        <a:pt x="968" y="166"/>
                      </a:lnTo>
                      <a:lnTo>
                        <a:pt x="950" y="166"/>
                      </a:lnTo>
                      <a:lnTo>
                        <a:pt x="933" y="148"/>
                      </a:lnTo>
                      <a:lnTo>
                        <a:pt x="924" y="148"/>
                      </a:lnTo>
                      <a:lnTo>
                        <a:pt x="881" y="140"/>
                      </a:lnTo>
                      <a:lnTo>
                        <a:pt x="872" y="131"/>
                      </a:lnTo>
                      <a:lnTo>
                        <a:pt x="863" y="148"/>
                      </a:lnTo>
                      <a:lnTo>
                        <a:pt x="846" y="175"/>
                      </a:lnTo>
                      <a:lnTo>
                        <a:pt x="855" y="183"/>
                      </a:lnTo>
                      <a:lnTo>
                        <a:pt x="820" y="209"/>
                      </a:lnTo>
                      <a:lnTo>
                        <a:pt x="828" y="236"/>
                      </a:lnTo>
                      <a:lnTo>
                        <a:pt x="785" y="270"/>
                      </a:lnTo>
                      <a:lnTo>
                        <a:pt x="767" y="279"/>
                      </a:lnTo>
                      <a:lnTo>
                        <a:pt x="759" y="305"/>
                      </a:lnTo>
                      <a:lnTo>
                        <a:pt x="732" y="340"/>
                      </a:lnTo>
                      <a:lnTo>
                        <a:pt x="715" y="323"/>
                      </a:lnTo>
                      <a:lnTo>
                        <a:pt x="724" y="270"/>
                      </a:lnTo>
                      <a:lnTo>
                        <a:pt x="715" y="270"/>
                      </a:lnTo>
                      <a:lnTo>
                        <a:pt x="689" y="270"/>
                      </a:lnTo>
                      <a:lnTo>
                        <a:pt x="645" y="236"/>
                      </a:lnTo>
                      <a:lnTo>
                        <a:pt x="610" y="236"/>
                      </a:lnTo>
                      <a:lnTo>
                        <a:pt x="610" y="201"/>
                      </a:lnTo>
                      <a:lnTo>
                        <a:pt x="602" y="201"/>
                      </a:lnTo>
                      <a:lnTo>
                        <a:pt x="610" y="183"/>
                      </a:lnTo>
                      <a:lnTo>
                        <a:pt x="654" y="157"/>
                      </a:lnTo>
                      <a:lnTo>
                        <a:pt x="654" y="148"/>
                      </a:lnTo>
                      <a:lnTo>
                        <a:pt x="698" y="131"/>
                      </a:lnTo>
                      <a:lnTo>
                        <a:pt x="680" y="122"/>
                      </a:lnTo>
                      <a:lnTo>
                        <a:pt x="706" y="122"/>
                      </a:lnTo>
                      <a:lnTo>
                        <a:pt x="767" y="105"/>
                      </a:lnTo>
                      <a:lnTo>
                        <a:pt x="724" y="87"/>
                      </a:lnTo>
                      <a:lnTo>
                        <a:pt x="776" y="87"/>
                      </a:lnTo>
                      <a:lnTo>
                        <a:pt x="802" y="79"/>
                      </a:lnTo>
                      <a:lnTo>
                        <a:pt x="820" y="8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8" name="Freeform 46"/>
                <p:cNvSpPr>
                  <a:spLocks/>
                </p:cNvSpPr>
                <p:nvPr/>
              </p:nvSpPr>
              <p:spPr bwMode="auto">
                <a:xfrm>
                  <a:off x="2590801" y="21129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17"/>
                      </a:move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8" y="26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9" name="Freeform 47"/>
                <p:cNvSpPr>
                  <a:spLocks/>
                </p:cNvSpPr>
                <p:nvPr/>
              </p:nvSpPr>
              <p:spPr bwMode="auto">
                <a:xfrm>
                  <a:off x="2590801" y="21129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17"/>
                      </a:move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8" y="26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0" name="Freeform 48"/>
                <p:cNvSpPr>
                  <a:spLocks/>
                </p:cNvSpPr>
                <p:nvPr/>
              </p:nvSpPr>
              <p:spPr bwMode="auto">
                <a:xfrm>
                  <a:off x="2659064" y="2139951"/>
                  <a:ext cx="28575" cy="1428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0 h 9"/>
                    <a:gd name="T4" fmla="*/ 0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1" name="Freeform 49"/>
                <p:cNvSpPr>
                  <a:spLocks/>
                </p:cNvSpPr>
                <p:nvPr/>
              </p:nvSpPr>
              <p:spPr bwMode="auto">
                <a:xfrm>
                  <a:off x="2659064" y="2139951"/>
                  <a:ext cx="28575" cy="1428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0 h 9"/>
                    <a:gd name="T4" fmla="*/ 0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2" name="Freeform 50"/>
                <p:cNvSpPr>
                  <a:spLocks/>
                </p:cNvSpPr>
                <p:nvPr/>
              </p:nvSpPr>
              <p:spPr bwMode="auto">
                <a:xfrm>
                  <a:off x="2576514" y="2043113"/>
                  <a:ext cx="96838" cy="69850"/>
                </a:xfrm>
                <a:custGeom>
                  <a:avLst/>
                  <a:gdLst>
                    <a:gd name="T0" fmla="*/ 2147483647 w 61"/>
                    <a:gd name="T1" fmla="*/ 2147483647 h 44"/>
                    <a:gd name="T2" fmla="*/ 2147483647 w 61"/>
                    <a:gd name="T3" fmla="*/ 2147483647 h 44"/>
                    <a:gd name="T4" fmla="*/ 2147483647 w 61"/>
                    <a:gd name="T5" fmla="*/ 2147483647 h 44"/>
                    <a:gd name="T6" fmla="*/ 2147483647 w 61"/>
                    <a:gd name="T7" fmla="*/ 0 h 44"/>
                    <a:gd name="T8" fmla="*/ 0 w 61"/>
                    <a:gd name="T9" fmla="*/ 2147483647 h 44"/>
                    <a:gd name="T10" fmla="*/ 0 w 61"/>
                    <a:gd name="T11" fmla="*/ 2147483647 h 44"/>
                    <a:gd name="T12" fmla="*/ 2147483647 w 61"/>
                    <a:gd name="T13" fmla="*/ 2147483647 h 44"/>
                    <a:gd name="T14" fmla="*/ 2147483647 w 61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61"/>
                    <a:gd name="T25" fmla="*/ 0 h 44"/>
                    <a:gd name="T26" fmla="*/ 61 w 61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61" h="44">
                      <a:moveTo>
                        <a:pt x="26" y="35"/>
                      </a:moveTo>
                      <a:lnTo>
                        <a:pt x="52" y="44"/>
                      </a:lnTo>
                      <a:lnTo>
                        <a:pt x="61" y="35"/>
                      </a:lnTo>
                      <a:lnTo>
                        <a:pt x="26" y="0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44"/>
                      </a:lnTo>
                      <a:lnTo>
                        <a:pt x="26" y="35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3" name="Freeform 51"/>
                <p:cNvSpPr>
                  <a:spLocks/>
                </p:cNvSpPr>
                <p:nvPr/>
              </p:nvSpPr>
              <p:spPr bwMode="auto">
                <a:xfrm>
                  <a:off x="2576514" y="2043113"/>
                  <a:ext cx="96838" cy="69850"/>
                </a:xfrm>
                <a:custGeom>
                  <a:avLst/>
                  <a:gdLst>
                    <a:gd name="T0" fmla="*/ 2147483647 w 61"/>
                    <a:gd name="T1" fmla="*/ 2147483647 h 44"/>
                    <a:gd name="T2" fmla="*/ 2147483647 w 61"/>
                    <a:gd name="T3" fmla="*/ 2147483647 h 44"/>
                    <a:gd name="T4" fmla="*/ 2147483647 w 61"/>
                    <a:gd name="T5" fmla="*/ 2147483647 h 44"/>
                    <a:gd name="T6" fmla="*/ 2147483647 w 61"/>
                    <a:gd name="T7" fmla="*/ 0 h 44"/>
                    <a:gd name="T8" fmla="*/ 0 w 61"/>
                    <a:gd name="T9" fmla="*/ 2147483647 h 44"/>
                    <a:gd name="T10" fmla="*/ 0 w 61"/>
                    <a:gd name="T11" fmla="*/ 2147483647 h 44"/>
                    <a:gd name="T12" fmla="*/ 2147483647 w 61"/>
                    <a:gd name="T13" fmla="*/ 2147483647 h 44"/>
                    <a:gd name="T14" fmla="*/ 2147483647 w 61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61"/>
                    <a:gd name="T25" fmla="*/ 0 h 44"/>
                    <a:gd name="T26" fmla="*/ 61 w 61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61" h="44">
                      <a:moveTo>
                        <a:pt x="26" y="35"/>
                      </a:moveTo>
                      <a:lnTo>
                        <a:pt x="52" y="44"/>
                      </a:lnTo>
                      <a:lnTo>
                        <a:pt x="61" y="35"/>
                      </a:lnTo>
                      <a:lnTo>
                        <a:pt x="26" y="0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44"/>
                      </a:lnTo>
                      <a:lnTo>
                        <a:pt x="26" y="35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4" name="Freeform 52"/>
                <p:cNvSpPr>
                  <a:spLocks/>
                </p:cNvSpPr>
                <p:nvPr/>
              </p:nvSpPr>
              <p:spPr bwMode="auto">
                <a:xfrm>
                  <a:off x="2852739" y="247332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0 w 35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27" y="17"/>
                      </a:lnTo>
                      <a:lnTo>
                        <a:pt x="35" y="8"/>
                      </a:lnTo>
                      <a:lnTo>
                        <a:pt x="27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5" name="Freeform 53"/>
                <p:cNvSpPr>
                  <a:spLocks/>
                </p:cNvSpPr>
                <p:nvPr/>
              </p:nvSpPr>
              <p:spPr bwMode="auto">
                <a:xfrm>
                  <a:off x="2852739" y="247332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0 w 35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27" y="17"/>
                      </a:lnTo>
                      <a:lnTo>
                        <a:pt x="35" y="8"/>
                      </a:lnTo>
                      <a:lnTo>
                        <a:pt x="27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6" name="Freeform 54"/>
                <p:cNvSpPr>
                  <a:spLocks/>
                </p:cNvSpPr>
                <p:nvPr/>
              </p:nvSpPr>
              <p:spPr bwMode="auto">
                <a:xfrm>
                  <a:off x="2949576" y="2444751"/>
                  <a:ext cx="166688" cy="125413"/>
                </a:xfrm>
                <a:custGeom>
                  <a:avLst/>
                  <a:gdLst>
                    <a:gd name="T0" fmla="*/ 2147483647 w 105"/>
                    <a:gd name="T1" fmla="*/ 0 h 79"/>
                    <a:gd name="T2" fmla="*/ 2147483647 w 105"/>
                    <a:gd name="T3" fmla="*/ 0 h 79"/>
                    <a:gd name="T4" fmla="*/ 2147483647 w 105"/>
                    <a:gd name="T5" fmla="*/ 2147483647 h 79"/>
                    <a:gd name="T6" fmla="*/ 2147483647 w 105"/>
                    <a:gd name="T7" fmla="*/ 2147483647 h 79"/>
                    <a:gd name="T8" fmla="*/ 0 w 105"/>
                    <a:gd name="T9" fmla="*/ 2147483647 h 79"/>
                    <a:gd name="T10" fmla="*/ 2147483647 w 105"/>
                    <a:gd name="T11" fmla="*/ 2147483647 h 79"/>
                    <a:gd name="T12" fmla="*/ 2147483647 w 105"/>
                    <a:gd name="T13" fmla="*/ 2147483647 h 79"/>
                    <a:gd name="T14" fmla="*/ 2147483647 w 105"/>
                    <a:gd name="T15" fmla="*/ 2147483647 h 79"/>
                    <a:gd name="T16" fmla="*/ 2147483647 w 105"/>
                    <a:gd name="T17" fmla="*/ 2147483647 h 79"/>
                    <a:gd name="T18" fmla="*/ 2147483647 w 105"/>
                    <a:gd name="T19" fmla="*/ 2147483647 h 79"/>
                    <a:gd name="T20" fmla="*/ 2147483647 w 105"/>
                    <a:gd name="T21" fmla="*/ 2147483647 h 79"/>
                    <a:gd name="T22" fmla="*/ 2147483647 w 105"/>
                    <a:gd name="T23" fmla="*/ 2147483647 h 79"/>
                    <a:gd name="T24" fmla="*/ 2147483647 w 105"/>
                    <a:gd name="T25" fmla="*/ 2147483647 h 79"/>
                    <a:gd name="T26" fmla="*/ 2147483647 w 105"/>
                    <a:gd name="T27" fmla="*/ 2147483647 h 79"/>
                    <a:gd name="T28" fmla="*/ 2147483647 w 105"/>
                    <a:gd name="T29" fmla="*/ 2147483647 h 79"/>
                    <a:gd name="T30" fmla="*/ 2147483647 w 105"/>
                    <a:gd name="T31" fmla="*/ 2147483647 h 79"/>
                    <a:gd name="T32" fmla="*/ 2147483647 w 105"/>
                    <a:gd name="T33" fmla="*/ 2147483647 h 79"/>
                    <a:gd name="T34" fmla="*/ 2147483647 w 105"/>
                    <a:gd name="T35" fmla="*/ 2147483647 h 79"/>
                    <a:gd name="T36" fmla="*/ 2147483647 w 105"/>
                    <a:gd name="T37" fmla="*/ 0 h 7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05"/>
                    <a:gd name="T58" fmla="*/ 0 h 79"/>
                    <a:gd name="T59" fmla="*/ 105 w 105"/>
                    <a:gd name="T60" fmla="*/ 79 h 7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05" h="79">
                      <a:moveTo>
                        <a:pt x="61" y="0"/>
                      </a:moveTo>
                      <a:lnTo>
                        <a:pt x="61" y="0"/>
                      </a:lnTo>
                      <a:lnTo>
                        <a:pt x="44" y="9"/>
                      </a:lnTo>
                      <a:lnTo>
                        <a:pt x="27" y="35"/>
                      </a:lnTo>
                      <a:lnTo>
                        <a:pt x="0" y="52"/>
                      </a:lnTo>
                      <a:lnTo>
                        <a:pt x="44" y="61"/>
                      </a:lnTo>
                      <a:lnTo>
                        <a:pt x="44" y="79"/>
                      </a:lnTo>
                      <a:lnTo>
                        <a:pt x="79" y="52"/>
                      </a:lnTo>
                      <a:lnTo>
                        <a:pt x="79" y="70"/>
                      </a:lnTo>
                      <a:lnTo>
                        <a:pt x="96" y="79"/>
                      </a:lnTo>
                      <a:lnTo>
                        <a:pt x="105" y="61"/>
                      </a:lnTo>
                      <a:lnTo>
                        <a:pt x="88" y="52"/>
                      </a:lnTo>
                      <a:lnTo>
                        <a:pt x="96" y="44"/>
                      </a:lnTo>
                      <a:lnTo>
                        <a:pt x="88" y="35"/>
                      </a:lnTo>
                      <a:lnTo>
                        <a:pt x="96" y="26"/>
                      </a:lnTo>
                      <a:lnTo>
                        <a:pt x="61" y="26"/>
                      </a:lnTo>
                      <a:lnTo>
                        <a:pt x="61" y="9"/>
                      </a:lnTo>
                      <a:lnTo>
                        <a:pt x="53" y="9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7" name="Freeform 55"/>
                <p:cNvSpPr>
                  <a:spLocks/>
                </p:cNvSpPr>
                <p:nvPr/>
              </p:nvSpPr>
              <p:spPr bwMode="auto">
                <a:xfrm>
                  <a:off x="2949576" y="2444751"/>
                  <a:ext cx="166688" cy="125413"/>
                </a:xfrm>
                <a:custGeom>
                  <a:avLst/>
                  <a:gdLst>
                    <a:gd name="T0" fmla="*/ 2147483647 w 105"/>
                    <a:gd name="T1" fmla="*/ 0 h 79"/>
                    <a:gd name="T2" fmla="*/ 2147483647 w 105"/>
                    <a:gd name="T3" fmla="*/ 0 h 79"/>
                    <a:gd name="T4" fmla="*/ 2147483647 w 105"/>
                    <a:gd name="T5" fmla="*/ 2147483647 h 79"/>
                    <a:gd name="T6" fmla="*/ 2147483647 w 105"/>
                    <a:gd name="T7" fmla="*/ 2147483647 h 79"/>
                    <a:gd name="T8" fmla="*/ 0 w 105"/>
                    <a:gd name="T9" fmla="*/ 2147483647 h 79"/>
                    <a:gd name="T10" fmla="*/ 2147483647 w 105"/>
                    <a:gd name="T11" fmla="*/ 2147483647 h 79"/>
                    <a:gd name="T12" fmla="*/ 2147483647 w 105"/>
                    <a:gd name="T13" fmla="*/ 2147483647 h 79"/>
                    <a:gd name="T14" fmla="*/ 2147483647 w 105"/>
                    <a:gd name="T15" fmla="*/ 2147483647 h 79"/>
                    <a:gd name="T16" fmla="*/ 2147483647 w 105"/>
                    <a:gd name="T17" fmla="*/ 2147483647 h 79"/>
                    <a:gd name="T18" fmla="*/ 2147483647 w 105"/>
                    <a:gd name="T19" fmla="*/ 2147483647 h 79"/>
                    <a:gd name="T20" fmla="*/ 2147483647 w 105"/>
                    <a:gd name="T21" fmla="*/ 2147483647 h 79"/>
                    <a:gd name="T22" fmla="*/ 2147483647 w 105"/>
                    <a:gd name="T23" fmla="*/ 2147483647 h 79"/>
                    <a:gd name="T24" fmla="*/ 2147483647 w 105"/>
                    <a:gd name="T25" fmla="*/ 2147483647 h 79"/>
                    <a:gd name="T26" fmla="*/ 2147483647 w 105"/>
                    <a:gd name="T27" fmla="*/ 2147483647 h 79"/>
                    <a:gd name="T28" fmla="*/ 2147483647 w 105"/>
                    <a:gd name="T29" fmla="*/ 2147483647 h 79"/>
                    <a:gd name="T30" fmla="*/ 2147483647 w 105"/>
                    <a:gd name="T31" fmla="*/ 2147483647 h 79"/>
                    <a:gd name="T32" fmla="*/ 2147483647 w 105"/>
                    <a:gd name="T33" fmla="*/ 2147483647 h 79"/>
                    <a:gd name="T34" fmla="*/ 2147483647 w 105"/>
                    <a:gd name="T35" fmla="*/ 2147483647 h 79"/>
                    <a:gd name="T36" fmla="*/ 2147483647 w 105"/>
                    <a:gd name="T37" fmla="*/ 0 h 7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05"/>
                    <a:gd name="T58" fmla="*/ 0 h 79"/>
                    <a:gd name="T59" fmla="*/ 105 w 105"/>
                    <a:gd name="T60" fmla="*/ 79 h 7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05" h="79">
                      <a:moveTo>
                        <a:pt x="61" y="0"/>
                      </a:moveTo>
                      <a:lnTo>
                        <a:pt x="61" y="0"/>
                      </a:lnTo>
                      <a:lnTo>
                        <a:pt x="44" y="9"/>
                      </a:lnTo>
                      <a:lnTo>
                        <a:pt x="27" y="35"/>
                      </a:lnTo>
                      <a:lnTo>
                        <a:pt x="0" y="52"/>
                      </a:lnTo>
                      <a:lnTo>
                        <a:pt x="44" y="61"/>
                      </a:lnTo>
                      <a:lnTo>
                        <a:pt x="44" y="79"/>
                      </a:lnTo>
                      <a:lnTo>
                        <a:pt x="79" y="52"/>
                      </a:lnTo>
                      <a:lnTo>
                        <a:pt x="79" y="70"/>
                      </a:lnTo>
                      <a:lnTo>
                        <a:pt x="96" y="79"/>
                      </a:lnTo>
                      <a:lnTo>
                        <a:pt x="105" y="61"/>
                      </a:lnTo>
                      <a:lnTo>
                        <a:pt x="88" y="52"/>
                      </a:lnTo>
                      <a:lnTo>
                        <a:pt x="96" y="44"/>
                      </a:lnTo>
                      <a:lnTo>
                        <a:pt x="88" y="35"/>
                      </a:lnTo>
                      <a:lnTo>
                        <a:pt x="96" y="26"/>
                      </a:lnTo>
                      <a:lnTo>
                        <a:pt x="61" y="26"/>
                      </a:lnTo>
                      <a:lnTo>
                        <a:pt x="61" y="9"/>
                      </a:lnTo>
                      <a:lnTo>
                        <a:pt x="53" y="9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8" name="Freeform 56"/>
                <p:cNvSpPr>
                  <a:spLocks/>
                </p:cNvSpPr>
                <p:nvPr/>
              </p:nvSpPr>
              <p:spPr bwMode="auto">
                <a:xfrm>
                  <a:off x="2881314" y="2527301"/>
                  <a:ext cx="14288" cy="14288"/>
                </a:xfrm>
                <a:custGeom>
                  <a:avLst/>
                  <a:gdLst>
                    <a:gd name="T0" fmla="*/ 0 w 9"/>
                    <a:gd name="T1" fmla="*/ 2147483647 h 9"/>
                    <a:gd name="T2" fmla="*/ 2147483647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9"/>
                      </a:move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9" name="Freeform 57"/>
                <p:cNvSpPr>
                  <a:spLocks/>
                </p:cNvSpPr>
                <p:nvPr/>
              </p:nvSpPr>
              <p:spPr bwMode="auto">
                <a:xfrm>
                  <a:off x="2881314" y="2527301"/>
                  <a:ext cx="14288" cy="14288"/>
                </a:xfrm>
                <a:custGeom>
                  <a:avLst/>
                  <a:gdLst>
                    <a:gd name="T0" fmla="*/ 0 w 9"/>
                    <a:gd name="T1" fmla="*/ 2147483647 h 9"/>
                    <a:gd name="T2" fmla="*/ 2147483647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9"/>
                      </a:move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0" name="Freeform 58"/>
                <p:cNvSpPr>
                  <a:spLocks/>
                </p:cNvSpPr>
                <p:nvPr/>
              </p:nvSpPr>
              <p:spPr bwMode="auto">
                <a:xfrm>
                  <a:off x="2881314" y="2555876"/>
                  <a:ext cx="41275" cy="26988"/>
                </a:xfrm>
                <a:custGeom>
                  <a:avLst/>
                  <a:gdLst>
                    <a:gd name="T0" fmla="*/ 0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2147483647 h 17"/>
                    <a:gd name="T6" fmla="*/ 2147483647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0 h 17"/>
                    <a:gd name="T12" fmla="*/ 0 w 26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17"/>
                    <a:gd name="T23" fmla="*/ 26 w 26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17">
                      <a:moveTo>
                        <a:pt x="0" y="9"/>
                      </a:moveTo>
                      <a:lnTo>
                        <a:pt x="9" y="17"/>
                      </a:lnTo>
                      <a:lnTo>
                        <a:pt x="26" y="17"/>
                      </a:lnTo>
                      <a:lnTo>
                        <a:pt x="26" y="9"/>
                      </a:lnTo>
                      <a:lnTo>
                        <a:pt x="17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1" name="Freeform 59"/>
                <p:cNvSpPr>
                  <a:spLocks/>
                </p:cNvSpPr>
                <p:nvPr/>
              </p:nvSpPr>
              <p:spPr bwMode="auto">
                <a:xfrm>
                  <a:off x="2881314" y="2555876"/>
                  <a:ext cx="41275" cy="26988"/>
                </a:xfrm>
                <a:custGeom>
                  <a:avLst/>
                  <a:gdLst>
                    <a:gd name="T0" fmla="*/ 0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2147483647 h 17"/>
                    <a:gd name="T6" fmla="*/ 2147483647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0 h 17"/>
                    <a:gd name="T12" fmla="*/ 0 w 26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17"/>
                    <a:gd name="T23" fmla="*/ 26 w 26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17">
                      <a:moveTo>
                        <a:pt x="0" y="9"/>
                      </a:moveTo>
                      <a:lnTo>
                        <a:pt x="9" y="17"/>
                      </a:lnTo>
                      <a:lnTo>
                        <a:pt x="26" y="17"/>
                      </a:lnTo>
                      <a:lnTo>
                        <a:pt x="26" y="9"/>
                      </a:lnTo>
                      <a:lnTo>
                        <a:pt x="17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2" name="Freeform 60"/>
                <p:cNvSpPr>
                  <a:spLocks/>
                </p:cNvSpPr>
                <p:nvPr/>
              </p:nvSpPr>
              <p:spPr bwMode="auto">
                <a:xfrm>
                  <a:off x="2811464" y="2541588"/>
                  <a:ext cx="55563" cy="28575"/>
                </a:xfrm>
                <a:custGeom>
                  <a:avLst/>
                  <a:gdLst>
                    <a:gd name="T0" fmla="*/ 2147483647 w 35"/>
                    <a:gd name="T1" fmla="*/ 0 h 18"/>
                    <a:gd name="T2" fmla="*/ 0 w 35"/>
                    <a:gd name="T3" fmla="*/ 2147483647 h 18"/>
                    <a:gd name="T4" fmla="*/ 2147483647 w 35"/>
                    <a:gd name="T5" fmla="*/ 2147483647 h 18"/>
                    <a:gd name="T6" fmla="*/ 2147483647 w 35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8"/>
                    <a:gd name="T14" fmla="*/ 35 w 35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8">
                      <a:moveTo>
                        <a:pt x="9" y="0"/>
                      </a:moveTo>
                      <a:lnTo>
                        <a:pt x="0" y="18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3" name="Freeform 61"/>
                <p:cNvSpPr>
                  <a:spLocks/>
                </p:cNvSpPr>
                <p:nvPr/>
              </p:nvSpPr>
              <p:spPr bwMode="auto">
                <a:xfrm>
                  <a:off x="2811464" y="2541588"/>
                  <a:ext cx="55563" cy="28575"/>
                </a:xfrm>
                <a:custGeom>
                  <a:avLst/>
                  <a:gdLst>
                    <a:gd name="T0" fmla="*/ 2147483647 w 35"/>
                    <a:gd name="T1" fmla="*/ 0 h 18"/>
                    <a:gd name="T2" fmla="*/ 0 w 35"/>
                    <a:gd name="T3" fmla="*/ 2147483647 h 18"/>
                    <a:gd name="T4" fmla="*/ 2147483647 w 35"/>
                    <a:gd name="T5" fmla="*/ 2147483647 h 18"/>
                    <a:gd name="T6" fmla="*/ 2147483647 w 35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8"/>
                    <a:gd name="T14" fmla="*/ 35 w 35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8">
                      <a:moveTo>
                        <a:pt x="9" y="0"/>
                      </a:moveTo>
                      <a:lnTo>
                        <a:pt x="0" y="18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4" name="Freeform 62"/>
                <p:cNvSpPr>
                  <a:spLocks/>
                </p:cNvSpPr>
                <p:nvPr/>
              </p:nvSpPr>
              <p:spPr bwMode="auto">
                <a:xfrm>
                  <a:off x="2063751" y="1863726"/>
                  <a:ext cx="333375" cy="111125"/>
                </a:xfrm>
                <a:custGeom>
                  <a:avLst/>
                  <a:gdLst>
                    <a:gd name="T0" fmla="*/ 2147483647 w 210"/>
                    <a:gd name="T1" fmla="*/ 2147483647 h 70"/>
                    <a:gd name="T2" fmla="*/ 2147483647 w 210"/>
                    <a:gd name="T3" fmla="*/ 0 h 70"/>
                    <a:gd name="T4" fmla="*/ 2147483647 w 210"/>
                    <a:gd name="T5" fmla="*/ 2147483647 h 70"/>
                    <a:gd name="T6" fmla="*/ 2147483647 w 210"/>
                    <a:gd name="T7" fmla="*/ 2147483647 h 70"/>
                    <a:gd name="T8" fmla="*/ 2147483647 w 210"/>
                    <a:gd name="T9" fmla="*/ 2147483647 h 70"/>
                    <a:gd name="T10" fmla="*/ 2147483647 w 210"/>
                    <a:gd name="T11" fmla="*/ 2147483647 h 70"/>
                    <a:gd name="T12" fmla="*/ 2147483647 w 210"/>
                    <a:gd name="T13" fmla="*/ 2147483647 h 70"/>
                    <a:gd name="T14" fmla="*/ 2147483647 w 210"/>
                    <a:gd name="T15" fmla="*/ 2147483647 h 70"/>
                    <a:gd name="T16" fmla="*/ 0 w 210"/>
                    <a:gd name="T17" fmla="*/ 2147483647 h 70"/>
                    <a:gd name="T18" fmla="*/ 2147483647 w 210"/>
                    <a:gd name="T19" fmla="*/ 2147483647 h 70"/>
                    <a:gd name="T20" fmla="*/ 2147483647 w 210"/>
                    <a:gd name="T21" fmla="*/ 2147483647 h 70"/>
                    <a:gd name="T22" fmla="*/ 2147483647 w 210"/>
                    <a:gd name="T23" fmla="*/ 2147483647 h 70"/>
                    <a:gd name="T24" fmla="*/ 2147483647 w 210"/>
                    <a:gd name="T25" fmla="*/ 2147483647 h 70"/>
                    <a:gd name="T26" fmla="*/ 2147483647 w 210"/>
                    <a:gd name="T27" fmla="*/ 2147483647 h 70"/>
                    <a:gd name="T28" fmla="*/ 2147483647 w 210"/>
                    <a:gd name="T29" fmla="*/ 2147483647 h 70"/>
                    <a:gd name="T30" fmla="*/ 2147483647 w 210"/>
                    <a:gd name="T31" fmla="*/ 2147483647 h 70"/>
                    <a:gd name="T32" fmla="*/ 2147483647 w 210"/>
                    <a:gd name="T33" fmla="*/ 2147483647 h 70"/>
                    <a:gd name="T34" fmla="*/ 2147483647 w 210"/>
                    <a:gd name="T35" fmla="*/ 2147483647 h 70"/>
                    <a:gd name="T36" fmla="*/ 2147483647 w 210"/>
                    <a:gd name="T37" fmla="*/ 0 h 70"/>
                    <a:gd name="T38" fmla="*/ 2147483647 w 210"/>
                    <a:gd name="T39" fmla="*/ 0 h 70"/>
                    <a:gd name="T40" fmla="*/ 2147483647 w 210"/>
                    <a:gd name="T41" fmla="*/ 2147483647 h 70"/>
                    <a:gd name="T42" fmla="*/ 2147483647 w 210"/>
                    <a:gd name="T43" fmla="*/ 0 h 70"/>
                    <a:gd name="T44" fmla="*/ 2147483647 w 210"/>
                    <a:gd name="T45" fmla="*/ 2147483647 h 70"/>
                    <a:gd name="T46" fmla="*/ 2147483647 w 210"/>
                    <a:gd name="T47" fmla="*/ 2147483647 h 70"/>
                    <a:gd name="T48" fmla="*/ 2147483647 w 210"/>
                    <a:gd name="T49" fmla="*/ 2147483647 h 7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10"/>
                    <a:gd name="T76" fmla="*/ 0 h 70"/>
                    <a:gd name="T77" fmla="*/ 210 w 210"/>
                    <a:gd name="T78" fmla="*/ 70 h 7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10" h="70">
                      <a:moveTo>
                        <a:pt x="96" y="18"/>
                      </a:moveTo>
                      <a:lnTo>
                        <a:pt x="96" y="0"/>
                      </a:lnTo>
                      <a:lnTo>
                        <a:pt x="27" y="26"/>
                      </a:lnTo>
                      <a:lnTo>
                        <a:pt x="35" y="35"/>
                      </a:lnTo>
                      <a:lnTo>
                        <a:pt x="70" y="26"/>
                      </a:lnTo>
                      <a:lnTo>
                        <a:pt x="44" y="35"/>
                      </a:lnTo>
                      <a:lnTo>
                        <a:pt x="70" y="44"/>
                      </a:lnTo>
                      <a:lnTo>
                        <a:pt x="27" y="44"/>
                      </a:lnTo>
                      <a:lnTo>
                        <a:pt x="0" y="61"/>
                      </a:lnTo>
                      <a:lnTo>
                        <a:pt x="35" y="61"/>
                      </a:lnTo>
                      <a:lnTo>
                        <a:pt x="44" y="70"/>
                      </a:lnTo>
                      <a:lnTo>
                        <a:pt x="122" y="61"/>
                      </a:lnTo>
                      <a:lnTo>
                        <a:pt x="157" y="70"/>
                      </a:lnTo>
                      <a:lnTo>
                        <a:pt x="175" y="61"/>
                      </a:lnTo>
                      <a:lnTo>
                        <a:pt x="201" y="61"/>
                      </a:lnTo>
                      <a:lnTo>
                        <a:pt x="210" y="44"/>
                      </a:lnTo>
                      <a:lnTo>
                        <a:pt x="192" y="44"/>
                      </a:lnTo>
                      <a:lnTo>
                        <a:pt x="201" y="26"/>
                      </a:lnTo>
                      <a:lnTo>
                        <a:pt x="201" y="0"/>
                      </a:lnTo>
                      <a:lnTo>
                        <a:pt x="175" y="0"/>
                      </a:lnTo>
                      <a:lnTo>
                        <a:pt x="166" y="26"/>
                      </a:lnTo>
                      <a:lnTo>
                        <a:pt x="157" y="0"/>
                      </a:lnTo>
                      <a:lnTo>
                        <a:pt x="114" y="26"/>
                      </a:lnTo>
                      <a:lnTo>
                        <a:pt x="114" y="9"/>
                      </a:lnTo>
                      <a:lnTo>
                        <a:pt x="96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5" name="Freeform 63"/>
                <p:cNvSpPr>
                  <a:spLocks/>
                </p:cNvSpPr>
                <p:nvPr/>
              </p:nvSpPr>
              <p:spPr bwMode="auto">
                <a:xfrm>
                  <a:off x="2063751" y="1863726"/>
                  <a:ext cx="333375" cy="111125"/>
                </a:xfrm>
                <a:custGeom>
                  <a:avLst/>
                  <a:gdLst>
                    <a:gd name="T0" fmla="*/ 2147483647 w 210"/>
                    <a:gd name="T1" fmla="*/ 2147483647 h 70"/>
                    <a:gd name="T2" fmla="*/ 2147483647 w 210"/>
                    <a:gd name="T3" fmla="*/ 0 h 70"/>
                    <a:gd name="T4" fmla="*/ 2147483647 w 210"/>
                    <a:gd name="T5" fmla="*/ 2147483647 h 70"/>
                    <a:gd name="T6" fmla="*/ 2147483647 w 210"/>
                    <a:gd name="T7" fmla="*/ 2147483647 h 70"/>
                    <a:gd name="T8" fmla="*/ 2147483647 w 210"/>
                    <a:gd name="T9" fmla="*/ 2147483647 h 70"/>
                    <a:gd name="T10" fmla="*/ 2147483647 w 210"/>
                    <a:gd name="T11" fmla="*/ 2147483647 h 70"/>
                    <a:gd name="T12" fmla="*/ 2147483647 w 210"/>
                    <a:gd name="T13" fmla="*/ 2147483647 h 70"/>
                    <a:gd name="T14" fmla="*/ 2147483647 w 210"/>
                    <a:gd name="T15" fmla="*/ 2147483647 h 70"/>
                    <a:gd name="T16" fmla="*/ 0 w 210"/>
                    <a:gd name="T17" fmla="*/ 2147483647 h 70"/>
                    <a:gd name="T18" fmla="*/ 2147483647 w 210"/>
                    <a:gd name="T19" fmla="*/ 2147483647 h 70"/>
                    <a:gd name="T20" fmla="*/ 2147483647 w 210"/>
                    <a:gd name="T21" fmla="*/ 2147483647 h 70"/>
                    <a:gd name="T22" fmla="*/ 2147483647 w 210"/>
                    <a:gd name="T23" fmla="*/ 2147483647 h 70"/>
                    <a:gd name="T24" fmla="*/ 2147483647 w 210"/>
                    <a:gd name="T25" fmla="*/ 2147483647 h 70"/>
                    <a:gd name="T26" fmla="*/ 2147483647 w 210"/>
                    <a:gd name="T27" fmla="*/ 2147483647 h 70"/>
                    <a:gd name="T28" fmla="*/ 2147483647 w 210"/>
                    <a:gd name="T29" fmla="*/ 2147483647 h 70"/>
                    <a:gd name="T30" fmla="*/ 2147483647 w 210"/>
                    <a:gd name="T31" fmla="*/ 2147483647 h 70"/>
                    <a:gd name="T32" fmla="*/ 2147483647 w 210"/>
                    <a:gd name="T33" fmla="*/ 2147483647 h 70"/>
                    <a:gd name="T34" fmla="*/ 2147483647 w 210"/>
                    <a:gd name="T35" fmla="*/ 2147483647 h 70"/>
                    <a:gd name="T36" fmla="*/ 2147483647 w 210"/>
                    <a:gd name="T37" fmla="*/ 0 h 70"/>
                    <a:gd name="T38" fmla="*/ 2147483647 w 210"/>
                    <a:gd name="T39" fmla="*/ 0 h 70"/>
                    <a:gd name="T40" fmla="*/ 2147483647 w 210"/>
                    <a:gd name="T41" fmla="*/ 2147483647 h 70"/>
                    <a:gd name="T42" fmla="*/ 2147483647 w 210"/>
                    <a:gd name="T43" fmla="*/ 0 h 70"/>
                    <a:gd name="T44" fmla="*/ 2147483647 w 210"/>
                    <a:gd name="T45" fmla="*/ 2147483647 h 70"/>
                    <a:gd name="T46" fmla="*/ 2147483647 w 210"/>
                    <a:gd name="T47" fmla="*/ 2147483647 h 70"/>
                    <a:gd name="T48" fmla="*/ 2147483647 w 210"/>
                    <a:gd name="T49" fmla="*/ 2147483647 h 7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10"/>
                    <a:gd name="T76" fmla="*/ 0 h 70"/>
                    <a:gd name="T77" fmla="*/ 210 w 210"/>
                    <a:gd name="T78" fmla="*/ 70 h 7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10" h="70">
                      <a:moveTo>
                        <a:pt x="96" y="18"/>
                      </a:moveTo>
                      <a:lnTo>
                        <a:pt x="96" y="0"/>
                      </a:lnTo>
                      <a:lnTo>
                        <a:pt x="27" y="26"/>
                      </a:lnTo>
                      <a:lnTo>
                        <a:pt x="35" y="35"/>
                      </a:lnTo>
                      <a:lnTo>
                        <a:pt x="70" y="26"/>
                      </a:lnTo>
                      <a:lnTo>
                        <a:pt x="44" y="35"/>
                      </a:lnTo>
                      <a:lnTo>
                        <a:pt x="70" y="44"/>
                      </a:lnTo>
                      <a:lnTo>
                        <a:pt x="27" y="44"/>
                      </a:lnTo>
                      <a:lnTo>
                        <a:pt x="0" y="61"/>
                      </a:lnTo>
                      <a:lnTo>
                        <a:pt x="35" y="61"/>
                      </a:lnTo>
                      <a:lnTo>
                        <a:pt x="44" y="70"/>
                      </a:lnTo>
                      <a:lnTo>
                        <a:pt x="122" y="61"/>
                      </a:lnTo>
                      <a:lnTo>
                        <a:pt x="157" y="70"/>
                      </a:lnTo>
                      <a:lnTo>
                        <a:pt x="175" y="61"/>
                      </a:lnTo>
                      <a:lnTo>
                        <a:pt x="201" y="61"/>
                      </a:lnTo>
                      <a:lnTo>
                        <a:pt x="210" y="44"/>
                      </a:lnTo>
                      <a:lnTo>
                        <a:pt x="192" y="44"/>
                      </a:lnTo>
                      <a:lnTo>
                        <a:pt x="201" y="26"/>
                      </a:lnTo>
                      <a:lnTo>
                        <a:pt x="201" y="0"/>
                      </a:lnTo>
                      <a:lnTo>
                        <a:pt x="175" y="0"/>
                      </a:lnTo>
                      <a:lnTo>
                        <a:pt x="166" y="26"/>
                      </a:lnTo>
                      <a:lnTo>
                        <a:pt x="157" y="0"/>
                      </a:lnTo>
                      <a:lnTo>
                        <a:pt x="114" y="26"/>
                      </a:lnTo>
                      <a:lnTo>
                        <a:pt x="114" y="9"/>
                      </a:lnTo>
                      <a:lnTo>
                        <a:pt x="96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6" name="Freeform 64"/>
                <p:cNvSpPr>
                  <a:spLocks/>
                </p:cNvSpPr>
                <p:nvPr/>
              </p:nvSpPr>
              <p:spPr bwMode="auto">
                <a:xfrm>
                  <a:off x="2174876" y="1766888"/>
                  <a:ext cx="138113" cy="41275"/>
                </a:xfrm>
                <a:custGeom>
                  <a:avLst/>
                  <a:gdLst>
                    <a:gd name="T0" fmla="*/ 0 w 87"/>
                    <a:gd name="T1" fmla="*/ 2147483647 h 26"/>
                    <a:gd name="T2" fmla="*/ 2147483647 w 87"/>
                    <a:gd name="T3" fmla="*/ 2147483647 h 26"/>
                    <a:gd name="T4" fmla="*/ 2147483647 w 87"/>
                    <a:gd name="T5" fmla="*/ 2147483647 h 26"/>
                    <a:gd name="T6" fmla="*/ 2147483647 w 87"/>
                    <a:gd name="T7" fmla="*/ 2147483647 h 26"/>
                    <a:gd name="T8" fmla="*/ 2147483647 w 87"/>
                    <a:gd name="T9" fmla="*/ 0 h 26"/>
                    <a:gd name="T10" fmla="*/ 2147483647 w 87"/>
                    <a:gd name="T11" fmla="*/ 0 h 26"/>
                    <a:gd name="T12" fmla="*/ 2147483647 w 87"/>
                    <a:gd name="T13" fmla="*/ 2147483647 h 26"/>
                    <a:gd name="T14" fmla="*/ 0 w 87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87"/>
                    <a:gd name="T25" fmla="*/ 0 h 26"/>
                    <a:gd name="T26" fmla="*/ 87 w 87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87" h="26">
                      <a:moveTo>
                        <a:pt x="0" y="26"/>
                      </a:moveTo>
                      <a:lnTo>
                        <a:pt x="26" y="26"/>
                      </a:lnTo>
                      <a:lnTo>
                        <a:pt x="52" y="18"/>
                      </a:lnTo>
                      <a:lnTo>
                        <a:pt x="79" y="9"/>
                      </a:lnTo>
                      <a:lnTo>
                        <a:pt x="87" y="0"/>
                      </a:lnTo>
                      <a:lnTo>
                        <a:pt x="70" y="0"/>
                      </a:lnTo>
                      <a:lnTo>
                        <a:pt x="18" y="9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7" name="Freeform 65"/>
                <p:cNvSpPr>
                  <a:spLocks/>
                </p:cNvSpPr>
                <p:nvPr/>
              </p:nvSpPr>
              <p:spPr bwMode="auto">
                <a:xfrm>
                  <a:off x="2174876" y="1766888"/>
                  <a:ext cx="138113" cy="41275"/>
                </a:xfrm>
                <a:custGeom>
                  <a:avLst/>
                  <a:gdLst>
                    <a:gd name="T0" fmla="*/ 0 w 87"/>
                    <a:gd name="T1" fmla="*/ 2147483647 h 26"/>
                    <a:gd name="T2" fmla="*/ 2147483647 w 87"/>
                    <a:gd name="T3" fmla="*/ 2147483647 h 26"/>
                    <a:gd name="T4" fmla="*/ 2147483647 w 87"/>
                    <a:gd name="T5" fmla="*/ 2147483647 h 26"/>
                    <a:gd name="T6" fmla="*/ 2147483647 w 87"/>
                    <a:gd name="T7" fmla="*/ 2147483647 h 26"/>
                    <a:gd name="T8" fmla="*/ 2147483647 w 87"/>
                    <a:gd name="T9" fmla="*/ 0 h 26"/>
                    <a:gd name="T10" fmla="*/ 2147483647 w 87"/>
                    <a:gd name="T11" fmla="*/ 0 h 26"/>
                    <a:gd name="T12" fmla="*/ 2147483647 w 87"/>
                    <a:gd name="T13" fmla="*/ 2147483647 h 26"/>
                    <a:gd name="T14" fmla="*/ 0 w 87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87"/>
                    <a:gd name="T25" fmla="*/ 0 h 26"/>
                    <a:gd name="T26" fmla="*/ 87 w 87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87" h="26">
                      <a:moveTo>
                        <a:pt x="0" y="26"/>
                      </a:moveTo>
                      <a:lnTo>
                        <a:pt x="26" y="26"/>
                      </a:lnTo>
                      <a:lnTo>
                        <a:pt x="52" y="18"/>
                      </a:lnTo>
                      <a:lnTo>
                        <a:pt x="79" y="9"/>
                      </a:lnTo>
                      <a:lnTo>
                        <a:pt x="87" y="0"/>
                      </a:lnTo>
                      <a:lnTo>
                        <a:pt x="70" y="0"/>
                      </a:lnTo>
                      <a:lnTo>
                        <a:pt x="18" y="9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8" name="Freeform 66"/>
                <p:cNvSpPr>
                  <a:spLocks/>
                </p:cNvSpPr>
                <p:nvPr/>
              </p:nvSpPr>
              <p:spPr bwMode="auto">
                <a:xfrm>
                  <a:off x="2244726" y="1781176"/>
                  <a:ext cx="207963" cy="68263"/>
                </a:xfrm>
                <a:custGeom>
                  <a:avLst/>
                  <a:gdLst>
                    <a:gd name="T0" fmla="*/ 2147483647 w 131"/>
                    <a:gd name="T1" fmla="*/ 2147483647 h 43"/>
                    <a:gd name="T2" fmla="*/ 2147483647 w 131"/>
                    <a:gd name="T3" fmla="*/ 2147483647 h 43"/>
                    <a:gd name="T4" fmla="*/ 2147483647 w 131"/>
                    <a:gd name="T5" fmla="*/ 2147483647 h 43"/>
                    <a:gd name="T6" fmla="*/ 2147483647 w 131"/>
                    <a:gd name="T7" fmla="*/ 2147483647 h 43"/>
                    <a:gd name="T8" fmla="*/ 2147483647 w 131"/>
                    <a:gd name="T9" fmla="*/ 2147483647 h 43"/>
                    <a:gd name="T10" fmla="*/ 2147483647 w 131"/>
                    <a:gd name="T11" fmla="*/ 2147483647 h 43"/>
                    <a:gd name="T12" fmla="*/ 2147483647 w 131"/>
                    <a:gd name="T13" fmla="*/ 0 h 43"/>
                    <a:gd name="T14" fmla="*/ 2147483647 w 131"/>
                    <a:gd name="T15" fmla="*/ 2147483647 h 43"/>
                    <a:gd name="T16" fmla="*/ 2147483647 w 131"/>
                    <a:gd name="T17" fmla="*/ 2147483647 h 43"/>
                    <a:gd name="T18" fmla="*/ 2147483647 w 131"/>
                    <a:gd name="T19" fmla="*/ 2147483647 h 43"/>
                    <a:gd name="T20" fmla="*/ 2147483647 w 131"/>
                    <a:gd name="T21" fmla="*/ 2147483647 h 43"/>
                    <a:gd name="T22" fmla="*/ 0 w 131"/>
                    <a:gd name="T23" fmla="*/ 2147483647 h 43"/>
                    <a:gd name="T24" fmla="*/ 2147483647 w 131"/>
                    <a:gd name="T25" fmla="*/ 2147483647 h 4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43"/>
                    <a:gd name="T41" fmla="*/ 131 w 131"/>
                    <a:gd name="T42" fmla="*/ 43 h 4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43">
                      <a:moveTo>
                        <a:pt x="35" y="26"/>
                      </a:moveTo>
                      <a:lnTo>
                        <a:pt x="17" y="43"/>
                      </a:lnTo>
                      <a:lnTo>
                        <a:pt x="43" y="43"/>
                      </a:lnTo>
                      <a:lnTo>
                        <a:pt x="104" y="35"/>
                      </a:lnTo>
                      <a:lnTo>
                        <a:pt x="131" y="17"/>
                      </a:lnTo>
                      <a:lnTo>
                        <a:pt x="113" y="17"/>
                      </a:lnTo>
                      <a:lnTo>
                        <a:pt x="122" y="0"/>
                      </a:lnTo>
                      <a:lnTo>
                        <a:pt x="104" y="9"/>
                      </a:lnTo>
                      <a:lnTo>
                        <a:pt x="87" y="26"/>
                      </a:lnTo>
                      <a:lnTo>
                        <a:pt x="52" y="17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35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9" name="Freeform 67"/>
                <p:cNvSpPr>
                  <a:spLocks/>
                </p:cNvSpPr>
                <p:nvPr/>
              </p:nvSpPr>
              <p:spPr bwMode="auto">
                <a:xfrm>
                  <a:off x="2244726" y="1781176"/>
                  <a:ext cx="207963" cy="68263"/>
                </a:xfrm>
                <a:custGeom>
                  <a:avLst/>
                  <a:gdLst>
                    <a:gd name="T0" fmla="*/ 2147483647 w 131"/>
                    <a:gd name="T1" fmla="*/ 2147483647 h 43"/>
                    <a:gd name="T2" fmla="*/ 2147483647 w 131"/>
                    <a:gd name="T3" fmla="*/ 2147483647 h 43"/>
                    <a:gd name="T4" fmla="*/ 2147483647 w 131"/>
                    <a:gd name="T5" fmla="*/ 2147483647 h 43"/>
                    <a:gd name="T6" fmla="*/ 2147483647 w 131"/>
                    <a:gd name="T7" fmla="*/ 2147483647 h 43"/>
                    <a:gd name="T8" fmla="*/ 2147483647 w 131"/>
                    <a:gd name="T9" fmla="*/ 2147483647 h 43"/>
                    <a:gd name="T10" fmla="*/ 2147483647 w 131"/>
                    <a:gd name="T11" fmla="*/ 2147483647 h 43"/>
                    <a:gd name="T12" fmla="*/ 2147483647 w 131"/>
                    <a:gd name="T13" fmla="*/ 0 h 43"/>
                    <a:gd name="T14" fmla="*/ 2147483647 w 131"/>
                    <a:gd name="T15" fmla="*/ 2147483647 h 43"/>
                    <a:gd name="T16" fmla="*/ 2147483647 w 131"/>
                    <a:gd name="T17" fmla="*/ 2147483647 h 43"/>
                    <a:gd name="T18" fmla="*/ 2147483647 w 131"/>
                    <a:gd name="T19" fmla="*/ 2147483647 h 43"/>
                    <a:gd name="T20" fmla="*/ 2147483647 w 131"/>
                    <a:gd name="T21" fmla="*/ 2147483647 h 43"/>
                    <a:gd name="T22" fmla="*/ 0 w 131"/>
                    <a:gd name="T23" fmla="*/ 2147483647 h 43"/>
                    <a:gd name="T24" fmla="*/ 2147483647 w 131"/>
                    <a:gd name="T25" fmla="*/ 2147483647 h 4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43"/>
                    <a:gd name="T41" fmla="*/ 131 w 131"/>
                    <a:gd name="T42" fmla="*/ 43 h 4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43">
                      <a:moveTo>
                        <a:pt x="35" y="26"/>
                      </a:moveTo>
                      <a:lnTo>
                        <a:pt x="17" y="43"/>
                      </a:lnTo>
                      <a:lnTo>
                        <a:pt x="43" y="43"/>
                      </a:lnTo>
                      <a:lnTo>
                        <a:pt x="104" y="35"/>
                      </a:lnTo>
                      <a:lnTo>
                        <a:pt x="131" y="17"/>
                      </a:lnTo>
                      <a:lnTo>
                        <a:pt x="113" y="17"/>
                      </a:lnTo>
                      <a:lnTo>
                        <a:pt x="122" y="0"/>
                      </a:lnTo>
                      <a:lnTo>
                        <a:pt x="104" y="9"/>
                      </a:lnTo>
                      <a:lnTo>
                        <a:pt x="87" y="26"/>
                      </a:lnTo>
                      <a:lnTo>
                        <a:pt x="52" y="17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35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0" name="Freeform 68"/>
                <p:cNvSpPr>
                  <a:spLocks/>
                </p:cNvSpPr>
                <p:nvPr/>
              </p:nvSpPr>
              <p:spPr bwMode="auto">
                <a:xfrm>
                  <a:off x="2382839" y="1739901"/>
                  <a:ext cx="96838" cy="41275"/>
                </a:xfrm>
                <a:custGeom>
                  <a:avLst/>
                  <a:gdLst>
                    <a:gd name="T0" fmla="*/ 2147483647 w 61"/>
                    <a:gd name="T1" fmla="*/ 0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2147483647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0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0"/>
                      </a:move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26"/>
                      </a:lnTo>
                      <a:lnTo>
                        <a:pt x="26" y="17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1" name="Freeform 69"/>
                <p:cNvSpPr>
                  <a:spLocks/>
                </p:cNvSpPr>
                <p:nvPr/>
              </p:nvSpPr>
              <p:spPr bwMode="auto">
                <a:xfrm>
                  <a:off x="2382839" y="1739901"/>
                  <a:ext cx="96838" cy="41275"/>
                </a:xfrm>
                <a:custGeom>
                  <a:avLst/>
                  <a:gdLst>
                    <a:gd name="T0" fmla="*/ 2147483647 w 61"/>
                    <a:gd name="T1" fmla="*/ 0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2147483647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0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0"/>
                      </a:move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26"/>
                      </a:lnTo>
                      <a:lnTo>
                        <a:pt x="26" y="17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2" name="Freeform 70"/>
                <p:cNvSpPr>
                  <a:spLocks/>
                </p:cNvSpPr>
                <p:nvPr/>
              </p:nvSpPr>
              <p:spPr bwMode="auto">
                <a:xfrm>
                  <a:off x="2438401" y="18081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3" name="Freeform 71"/>
                <p:cNvSpPr>
                  <a:spLocks/>
                </p:cNvSpPr>
                <p:nvPr/>
              </p:nvSpPr>
              <p:spPr bwMode="auto">
                <a:xfrm>
                  <a:off x="2438401" y="18081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4" name="Freeform 72"/>
                <p:cNvSpPr>
                  <a:spLocks/>
                </p:cNvSpPr>
                <p:nvPr/>
              </p:nvSpPr>
              <p:spPr bwMode="auto">
                <a:xfrm>
                  <a:off x="2382839" y="1849438"/>
                  <a:ext cx="41275" cy="28575"/>
                </a:xfrm>
                <a:custGeom>
                  <a:avLst/>
                  <a:gdLst>
                    <a:gd name="T0" fmla="*/ 0 w 26"/>
                    <a:gd name="T1" fmla="*/ 2147483647 h 18"/>
                    <a:gd name="T2" fmla="*/ 2147483647 w 26"/>
                    <a:gd name="T3" fmla="*/ 2147483647 h 18"/>
                    <a:gd name="T4" fmla="*/ 2147483647 w 26"/>
                    <a:gd name="T5" fmla="*/ 0 h 18"/>
                    <a:gd name="T6" fmla="*/ 0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0" y="9"/>
                      </a:moveTo>
                      <a:lnTo>
                        <a:pt x="17" y="18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5" name="Freeform 73"/>
                <p:cNvSpPr>
                  <a:spLocks/>
                </p:cNvSpPr>
                <p:nvPr/>
              </p:nvSpPr>
              <p:spPr bwMode="auto">
                <a:xfrm>
                  <a:off x="2382839" y="1849438"/>
                  <a:ext cx="41275" cy="28575"/>
                </a:xfrm>
                <a:custGeom>
                  <a:avLst/>
                  <a:gdLst>
                    <a:gd name="T0" fmla="*/ 0 w 26"/>
                    <a:gd name="T1" fmla="*/ 2147483647 h 18"/>
                    <a:gd name="T2" fmla="*/ 2147483647 w 26"/>
                    <a:gd name="T3" fmla="*/ 2147483647 h 18"/>
                    <a:gd name="T4" fmla="*/ 2147483647 w 26"/>
                    <a:gd name="T5" fmla="*/ 0 h 18"/>
                    <a:gd name="T6" fmla="*/ 0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0" y="9"/>
                      </a:moveTo>
                      <a:lnTo>
                        <a:pt x="17" y="18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6" name="Freeform 74"/>
                <p:cNvSpPr>
                  <a:spLocks/>
                </p:cNvSpPr>
                <p:nvPr/>
              </p:nvSpPr>
              <p:spPr bwMode="auto">
                <a:xfrm>
                  <a:off x="2438401" y="1849438"/>
                  <a:ext cx="111125" cy="69850"/>
                </a:xfrm>
                <a:custGeom>
                  <a:avLst/>
                  <a:gdLst>
                    <a:gd name="T0" fmla="*/ 0 w 70"/>
                    <a:gd name="T1" fmla="*/ 2147483647 h 44"/>
                    <a:gd name="T2" fmla="*/ 2147483647 w 70"/>
                    <a:gd name="T3" fmla="*/ 2147483647 h 44"/>
                    <a:gd name="T4" fmla="*/ 2147483647 w 70"/>
                    <a:gd name="T5" fmla="*/ 2147483647 h 44"/>
                    <a:gd name="T6" fmla="*/ 2147483647 w 70"/>
                    <a:gd name="T7" fmla="*/ 2147483647 h 44"/>
                    <a:gd name="T8" fmla="*/ 2147483647 w 70"/>
                    <a:gd name="T9" fmla="*/ 2147483647 h 44"/>
                    <a:gd name="T10" fmla="*/ 2147483647 w 70"/>
                    <a:gd name="T11" fmla="*/ 2147483647 h 44"/>
                    <a:gd name="T12" fmla="*/ 2147483647 w 70"/>
                    <a:gd name="T13" fmla="*/ 2147483647 h 44"/>
                    <a:gd name="T14" fmla="*/ 2147483647 w 70"/>
                    <a:gd name="T15" fmla="*/ 0 h 44"/>
                    <a:gd name="T16" fmla="*/ 2147483647 w 70"/>
                    <a:gd name="T17" fmla="*/ 0 h 44"/>
                    <a:gd name="T18" fmla="*/ 2147483647 w 70"/>
                    <a:gd name="T19" fmla="*/ 2147483647 h 44"/>
                    <a:gd name="T20" fmla="*/ 0 w 70"/>
                    <a:gd name="T21" fmla="*/ 2147483647 h 44"/>
                    <a:gd name="T22" fmla="*/ 0 w 70"/>
                    <a:gd name="T23" fmla="*/ 2147483647 h 4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44"/>
                    <a:gd name="T38" fmla="*/ 70 w 70"/>
                    <a:gd name="T39" fmla="*/ 44 h 4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17" y="44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61" y="27"/>
                      </a:lnTo>
                      <a:lnTo>
                        <a:pt x="61" y="9"/>
                      </a:lnTo>
                      <a:lnTo>
                        <a:pt x="70" y="0"/>
                      </a:lnTo>
                      <a:lnTo>
                        <a:pt x="43" y="0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7" name="Freeform 75"/>
                <p:cNvSpPr>
                  <a:spLocks/>
                </p:cNvSpPr>
                <p:nvPr/>
              </p:nvSpPr>
              <p:spPr bwMode="auto">
                <a:xfrm>
                  <a:off x="2438401" y="1849438"/>
                  <a:ext cx="111125" cy="69850"/>
                </a:xfrm>
                <a:custGeom>
                  <a:avLst/>
                  <a:gdLst>
                    <a:gd name="T0" fmla="*/ 0 w 70"/>
                    <a:gd name="T1" fmla="*/ 2147483647 h 44"/>
                    <a:gd name="T2" fmla="*/ 2147483647 w 70"/>
                    <a:gd name="T3" fmla="*/ 2147483647 h 44"/>
                    <a:gd name="T4" fmla="*/ 2147483647 w 70"/>
                    <a:gd name="T5" fmla="*/ 2147483647 h 44"/>
                    <a:gd name="T6" fmla="*/ 2147483647 w 70"/>
                    <a:gd name="T7" fmla="*/ 2147483647 h 44"/>
                    <a:gd name="T8" fmla="*/ 2147483647 w 70"/>
                    <a:gd name="T9" fmla="*/ 2147483647 h 44"/>
                    <a:gd name="T10" fmla="*/ 2147483647 w 70"/>
                    <a:gd name="T11" fmla="*/ 2147483647 h 44"/>
                    <a:gd name="T12" fmla="*/ 2147483647 w 70"/>
                    <a:gd name="T13" fmla="*/ 2147483647 h 44"/>
                    <a:gd name="T14" fmla="*/ 2147483647 w 70"/>
                    <a:gd name="T15" fmla="*/ 0 h 44"/>
                    <a:gd name="T16" fmla="*/ 2147483647 w 70"/>
                    <a:gd name="T17" fmla="*/ 0 h 44"/>
                    <a:gd name="T18" fmla="*/ 2147483647 w 70"/>
                    <a:gd name="T19" fmla="*/ 2147483647 h 44"/>
                    <a:gd name="T20" fmla="*/ 0 w 70"/>
                    <a:gd name="T21" fmla="*/ 2147483647 h 44"/>
                    <a:gd name="T22" fmla="*/ 0 w 70"/>
                    <a:gd name="T23" fmla="*/ 2147483647 h 4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44"/>
                    <a:gd name="T38" fmla="*/ 70 w 70"/>
                    <a:gd name="T39" fmla="*/ 44 h 4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17" y="44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61" y="27"/>
                      </a:lnTo>
                      <a:lnTo>
                        <a:pt x="61" y="9"/>
                      </a:lnTo>
                      <a:lnTo>
                        <a:pt x="70" y="0"/>
                      </a:lnTo>
                      <a:lnTo>
                        <a:pt x="43" y="0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8" name="Rectangle 76"/>
                <p:cNvSpPr>
                  <a:spLocks noChangeArrowheads="1"/>
                </p:cNvSpPr>
                <p:nvPr/>
              </p:nvSpPr>
              <p:spPr bwMode="auto">
                <a:xfrm>
                  <a:off x="2506664" y="1766888"/>
                  <a:ext cx="14288" cy="142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9" name="Rectangle 77"/>
                <p:cNvSpPr>
                  <a:spLocks noChangeArrowheads="1"/>
                </p:cNvSpPr>
                <p:nvPr/>
              </p:nvSpPr>
              <p:spPr bwMode="auto">
                <a:xfrm>
                  <a:off x="2506664" y="1766888"/>
                  <a:ext cx="14288" cy="14288"/>
                </a:xfrm>
                <a:prstGeom prst="rect">
                  <a:avLst/>
                </a:pr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0" name="Freeform 78"/>
                <p:cNvSpPr>
                  <a:spLocks/>
                </p:cNvSpPr>
                <p:nvPr/>
              </p:nvSpPr>
              <p:spPr bwMode="auto">
                <a:xfrm>
                  <a:off x="2493964" y="1795463"/>
                  <a:ext cx="55563" cy="26988"/>
                </a:xfrm>
                <a:custGeom>
                  <a:avLst/>
                  <a:gdLst>
                    <a:gd name="T0" fmla="*/ 2147483647 w 35"/>
                    <a:gd name="T1" fmla="*/ 2147483647 h 17"/>
                    <a:gd name="T2" fmla="*/ 2147483647 w 35"/>
                    <a:gd name="T3" fmla="*/ 0 h 17"/>
                    <a:gd name="T4" fmla="*/ 0 w 35"/>
                    <a:gd name="T5" fmla="*/ 2147483647 h 17"/>
                    <a:gd name="T6" fmla="*/ 2147483647 w 35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7"/>
                    <a:gd name="T14" fmla="*/ 35 w 35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7">
                      <a:moveTo>
                        <a:pt x="26" y="17"/>
                      </a:moveTo>
                      <a:lnTo>
                        <a:pt x="35" y="0"/>
                      </a:lnTo>
                      <a:lnTo>
                        <a:pt x="0" y="8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1" name="Freeform 79"/>
                <p:cNvSpPr>
                  <a:spLocks/>
                </p:cNvSpPr>
                <p:nvPr/>
              </p:nvSpPr>
              <p:spPr bwMode="auto">
                <a:xfrm>
                  <a:off x="2493964" y="1795463"/>
                  <a:ext cx="55563" cy="26988"/>
                </a:xfrm>
                <a:custGeom>
                  <a:avLst/>
                  <a:gdLst>
                    <a:gd name="T0" fmla="*/ 2147483647 w 35"/>
                    <a:gd name="T1" fmla="*/ 2147483647 h 17"/>
                    <a:gd name="T2" fmla="*/ 2147483647 w 35"/>
                    <a:gd name="T3" fmla="*/ 0 h 17"/>
                    <a:gd name="T4" fmla="*/ 0 w 35"/>
                    <a:gd name="T5" fmla="*/ 2147483647 h 17"/>
                    <a:gd name="T6" fmla="*/ 2147483647 w 35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7"/>
                    <a:gd name="T14" fmla="*/ 35 w 35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7">
                      <a:moveTo>
                        <a:pt x="26" y="17"/>
                      </a:moveTo>
                      <a:lnTo>
                        <a:pt x="35" y="0"/>
                      </a:lnTo>
                      <a:lnTo>
                        <a:pt x="0" y="8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2" name="Freeform 80"/>
                <p:cNvSpPr>
                  <a:spLocks/>
                </p:cNvSpPr>
                <p:nvPr/>
              </p:nvSpPr>
              <p:spPr bwMode="auto">
                <a:xfrm>
                  <a:off x="2549526" y="1781176"/>
                  <a:ext cx="68263" cy="55563"/>
                </a:xfrm>
                <a:custGeom>
                  <a:avLst/>
                  <a:gdLst>
                    <a:gd name="T0" fmla="*/ 0 w 43"/>
                    <a:gd name="T1" fmla="*/ 2147483647 h 35"/>
                    <a:gd name="T2" fmla="*/ 0 w 43"/>
                    <a:gd name="T3" fmla="*/ 2147483647 h 35"/>
                    <a:gd name="T4" fmla="*/ 2147483647 w 43"/>
                    <a:gd name="T5" fmla="*/ 2147483647 h 35"/>
                    <a:gd name="T6" fmla="*/ 2147483647 w 43"/>
                    <a:gd name="T7" fmla="*/ 0 h 35"/>
                    <a:gd name="T8" fmla="*/ 0 w 43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35"/>
                    <a:gd name="T17" fmla="*/ 43 w 43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35">
                      <a:moveTo>
                        <a:pt x="0" y="17"/>
                      </a:moveTo>
                      <a:lnTo>
                        <a:pt x="0" y="35"/>
                      </a:lnTo>
                      <a:lnTo>
                        <a:pt x="43" y="9"/>
                      </a:lnTo>
                      <a:lnTo>
                        <a:pt x="8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3" name="Freeform 81"/>
                <p:cNvSpPr>
                  <a:spLocks/>
                </p:cNvSpPr>
                <p:nvPr/>
              </p:nvSpPr>
              <p:spPr bwMode="auto">
                <a:xfrm>
                  <a:off x="2549526" y="1781176"/>
                  <a:ext cx="68263" cy="55563"/>
                </a:xfrm>
                <a:custGeom>
                  <a:avLst/>
                  <a:gdLst>
                    <a:gd name="T0" fmla="*/ 0 w 43"/>
                    <a:gd name="T1" fmla="*/ 2147483647 h 35"/>
                    <a:gd name="T2" fmla="*/ 0 w 43"/>
                    <a:gd name="T3" fmla="*/ 2147483647 h 35"/>
                    <a:gd name="T4" fmla="*/ 2147483647 w 43"/>
                    <a:gd name="T5" fmla="*/ 2147483647 h 35"/>
                    <a:gd name="T6" fmla="*/ 2147483647 w 43"/>
                    <a:gd name="T7" fmla="*/ 0 h 35"/>
                    <a:gd name="T8" fmla="*/ 0 w 43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35"/>
                    <a:gd name="T17" fmla="*/ 43 w 43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35">
                      <a:moveTo>
                        <a:pt x="0" y="17"/>
                      </a:moveTo>
                      <a:lnTo>
                        <a:pt x="0" y="35"/>
                      </a:lnTo>
                      <a:lnTo>
                        <a:pt x="43" y="9"/>
                      </a:lnTo>
                      <a:lnTo>
                        <a:pt x="8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4" name="Freeform 82"/>
                <p:cNvSpPr>
                  <a:spLocks/>
                </p:cNvSpPr>
                <p:nvPr/>
              </p:nvSpPr>
              <p:spPr bwMode="auto">
                <a:xfrm>
                  <a:off x="1995489" y="1836738"/>
                  <a:ext cx="207963" cy="82550"/>
                </a:xfrm>
                <a:custGeom>
                  <a:avLst/>
                  <a:gdLst>
                    <a:gd name="T0" fmla="*/ 2147483647 w 131"/>
                    <a:gd name="T1" fmla="*/ 0 h 52"/>
                    <a:gd name="T2" fmla="*/ 2147483647 w 131"/>
                    <a:gd name="T3" fmla="*/ 2147483647 h 52"/>
                    <a:gd name="T4" fmla="*/ 2147483647 w 131"/>
                    <a:gd name="T5" fmla="*/ 2147483647 h 52"/>
                    <a:gd name="T6" fmla="*/ 0 w 131"/>
                    <a:gd name="T7" fmla="*/ 2147483647 h 52"/>
                    <a:gd name="T8" fmla="*/ 0 w 131"/>
                    <a:gd name="T9" fmla="*/ 2147483647 h 52"/>
                    <a:gd name="T10" fmla="*/ 2147483647 w 131"/>
                    <a:gd name="T11" fmla="*/ 2147483647 h 52"/>
                    <a:gd name="T12" fmla="*/ 2147483647 w 131"/>
                    <a:gd name="T13" fmla="*/ 2147483647 h 52"/>
                    <a:gd name="T14" fmla="*/ 2147483647 w 131"/>
                    <a:gd name="T15" fmla="*/ 0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1"/>
                    <a:gd name="T25" fmla="*/ 0 h 52"/>
                    <a:gd name="T26" fmla="*/ 131 w 131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1" h="52">
                      <a:moveTo>
                        <a:pt x="70" y="0"/>
                      </a:moveTo>
                      <a:lnTo>
                        <a:pt x="43" y="8"/>
                      </a:lnTo>
                      <a:lnTo>
                        <a:pt x="0" y="26"/>
                      </a:lnTo>
                      <a:lnTo>
                        <a:pt x="0" y="52"/>
                      </a:lnTo>
                      <a:lnTo>
                        <a:pt x="17" y="52"/>
                      </a:lnTo>
                      <a:lnTo>
                        <a:pt x="131" y="8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5" name="Freeform 83"/>
                <p:cNvSpPr>
                  <a:spLocks/>
                </p:cNvSpPr>
                <p:nvPr/>
              </p:nvSpPr>
              <p:spPr bwMode="auto">
                <a:xfrm>
                  <a:off x="1995489" y="1836738"/>
                  <a:ext cx="207963" cy="82550"/>
                </a:xfrm>
                <a:custGeom>
                  <a:avLst/>
                  <a:gdLst>
                    <a:gd name="T0" fmla="*/ 2147483647 w 131"/>
                    <a:gd name="T1" fmla="*/ 0 h 52"/>
                    <a:gd name="T2" fmla="*/ 2147483647 w 131"/>
                    <a:gd name="T3" fmla="*/ 2147483647 h 52"/>
                    <a:gd name="T4" fmla="*/ 2147483647 w 131"/>
                    <a:gd name="T5" fmla="*/ 2147483647 h 52"/>
                    <a:gd name="T6" fmla="*/ 0 w 131"/>
                    <a:gd name="T7" fmla="*/ 2147483647 h 52"/>
                    <a:gd name="T8" fmla="*/ 0 w 131"/>
                    <a:gd name="T9" fmla="*/ 2147483647 h 52"/>
                    <a:gd name="T10" fmla="*/ 2147483647 w 131"/>
                    <a:gd name="T11" fmla="*/ 2147483647 h 52"/>
                    <a:gd name="T12" fmla="*/ 2147483647 w 131"/>
                    <a:gd name="T13" fmla="*/ 2147483647 h 52"/>
                    <a:gd name="T14" fmla="*/ 2147483647 w 131"/>
                    <a:gd name="T15" fmla="*/ 0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1"/>
                    <a:gd name="T25" fmla="*/ 0 h 52"/>
                    <a:gd name="T26" fmla="*/ 131 w 131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1" h="52">
                      <a:moveTo>
                        <a:pt x="70" y="0"/>
                      </a:moveTo>
                      <a:lnTo>
                        <a:pt x="43" y="8"/>
                      </a:lnTo>
                      <a:lnTo>
                        <a:pt x="0" y="26"/>
                      </a:lnTo>
                      <a:lnTo>
                        <a:pt x="0" y="52"/>
                      </a:lnTo>
                      <a:lnTo>
                        <a:pt x="17" y="52"/>
                      </a:lnTo>
                      <a:lnTo>
                        <a:pt x="131" y="8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6" name="Freeform 84"/>
                <p:cNvSpPr>
                  <a:spLocks/>
                </p:cNvSpPr>
                <p:nvPr/>
              </p:nvSpPr>
              <p:spPr bwMode="auto">
                <a:xfrm>
                  <a:off x="2409826" y="1946276"/>
                  <a:ext cx="84138" cy="28575"/>
                </a:xfrm>
                <a:custGeom>
                  <a:avLst/>
                  <a:gdLst>
                    <a:gd name="T0" fmla="*/ 2147483647 w 53"/>
                    <a:gd name="T1" fmla="*/ 2147483647 h 18"/>
                    <a:gd name="T2" fmla="*/ 2147483647 w 53"/>
                    <a:gd name="T3" fmla="*/ 0 h 18"/>
                    <a:gd name="T4" fmla="*/ 0 w 53"/>
                    <a:gd name="T5" fmla="*/ 2147483647 h 18"/>
                    <a:gd name="T6" fmla="*/ 2147483647 w 53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3"/>
                    <a:gd name="T13" fmla="*/ 0 h 18"/>
                    <a:gd name="T14" fmla="*/ 53 w 53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3" h="18">
                      <a:moveTo>
                        <a:pt x="53" y="18"/>
                      </a:moveTo>
                      <a:lnTo>
                        <a:pt x="35" y="0"/>
                      </a:lnTo>
                      <a:lnTo>
                        <a:pt x="0" y="18"/>
                      </a:lnTo>
                      <a:lnTo>
                        <a:pt x="53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7" name="Freeform 85"/>
                <p:cNvSpPr>
                  <a:spLocks/>
                </p:cNvSpPr>
                <p:nvPr/>
              </p:nvSpPr>
              <p:spPr bwMode="auto">
                <a:xfrm>
                  <a:off x="2409826" y="1946276"/>
                  <a:ext cx="84138" cy="28575"/>
                </a:xfrm>
                <a:custGeom>
                  <a:avLst/>
                  <a:gdLst>
                    <a:gd name="T0" fmla="*/ 2147483647 w 53"/>
                    <a:gd name="T1" fmla="*/ 2147483647 h 18"/>
                    <a:gd name="T2" fmla="*/ 2147483647 w 53"/>
                    <a:gd name="T3" fmla="*/ 0 h 18"/>
                    <a:gd name="T4" fmla="*/ 0 w 53"/>
                    <a:gd name="T5" fmla="*/ 2147483647 h 18"/>
                    <a:gd name="T6" fmla="*/ 2147483647 w 53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3"/>
                    <a:gd name="T13" fmla="*/ 0 h 18"/>
                    <a:gd name="T14" fmla="*/ 53 w 53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3" h="18">
                      <a:moveTo>
                        <a:pt x="53" y="18"/>
                      </a:moveTo>
                      <a:lnTo>
                        <a:pt x="35" y="0"/>
                      </a:lnTo>
                      <a:lnTo>
                        <a:pt x="0" y="18"/>
                      </a:lnTo>
                      <a:lnTo>
                        <a:pt x="53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8" name="Freeform 86"/>
                <p:cNvSpPr>
                  <a:spLocks/>
                </p:cNvSpPr>
                <p:nvPr/>
              </p:nvSpPr>
              <p:spPr bwMode="auto">
                <a:xfrm>
                  <a:off x="2576514" y="2292351"/>
                  <a:ext cx="26988" cy="28575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2147483647 w 17"/>
                    <a:gd name="T3" fmla="*/ 0 h 18"/>
                    <a:gd name="T4" fmla="*/ 0 w 17"/>
                    <a:gd name="T5" fmla="*/ 0 h 18"/>
                    <a:gd name="T6" fmla="*/ 0 w 17"/>
                    <a:gd name="T7" fmla="*/ 2147483647 h 18"/>
                    <a:gd name="T8" fmla="*/ 2147483647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17" y="0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9" name="Freeform 87"/>
                <p:cNvSpPr>
                  <a:spLocks/>
                </p:cNvSpPr>
                <p:nvPr/>
              </p:nvSpPr>
              <p:spPr bwMode="auto">
                <a:xfrm>
                  <a:off x="2576514" y="2292351"/>
                  <a:ext cx="26988" cy="28575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2147483647 w 17"/>
                    <a:gd name="T3" fmla="*/ 0 h 18"/>
                    <a:gd name="T4" fmla="*/ 0 w 17"/>
                    <a:gd name="T5" fmla="*/ 0 h 18"/>
                    <a:gd name="T6" fmla="*/ 0 w 17"/>
                    <a:gd name="T7" fmla="*/ 2147483647 h 18"/>
                    <a:gd name="T8" fmla="*/ 2147483647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17" y="0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0" name="Freeform 88"/>
                <p:cNvSpPr>
                  <a:spLocks/>
                </p:cNvSpPr>
                <p:nvPr/>
              </p:nvSpPr>
              <p:spPr bwMode="auto">
                <a:xfrm>
                  <a:off x="1330326" y="2347913"/>
                  <a:ext cx="41275" cy="69850"/>
                </a:xfrm>
                <a:custGeom>
                  <a:avLst/>
                  <a:gdLst>
                    <a:gd name="T0" fmla="*/ 0 w 26"/>
                    <a:gd name="T1" fmla="*/ 2147483647 h 44"/>
                    <a:gd name="T2" fmla="*/ 2147483647 w 26"/>
                    <a:gd name="T3" fmla="*/ 2147483647 h 44"/>
                    <a:gd name="T4" fmla="*/ 2147483647 w 26"/>
                    <a:gd name="T5" fmla="*/ 2147483647 h 44"/>
                    <a:gd name="T6" fmla="*/ 2147483647 w 26"/>
                    <a:gd name="T7" fmla="*/ 0 h 44"/>
                    <a:gd name="T8" fmla="*/ 0 w 26"/>
                    <a:gd name="T9" fmla="*/ 2147483647 h 4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44"/>
                    <a:gd name="T17" fmla="*/ 26 w 26"/>
                    <a:gd name="T18" fmla="*/ 44 h 4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44">
                      <a:moveTo>
                        <a:pt x="0" y="9"/>
                      </a:moveTo>
                      <a:lnTo>
                        <a:pt x="9" y="44"/>
                      </a:lnTo>
                      <a:lnTo>
                        <a:pt x="26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1" name="Freeform 89"/>
                <p:cNvSpPr>
                  <a:spLocks/>
                </p:cNvSpPr>
                <p:nvPr/>
              </p:nvSpPr>
              <p:spPr bwMode="auto">
                <a:xfrm>
                  <a:off x="1330326" y="2347913"/>
                  <a:ext cx="41275" cy="69850"/>
                </a:xfrm>
                <a:custGeom>
                  <a:avLst/>
                  <a:gdLst>
                    <a:gd name="T0" fmla="*/ 0 w 26"/>
                    <a:gd name="T1" fmla="*/ 2147483647 h 44"/>
                    <a:gd name="T2" fmla="*/ 2147483647 w 26"/>
                    <a:gd name="T3" fmla="*/ 2147483647 h 44"/>
                    <a:gd name="T4" fmla="*/ 2147483647 w 26"/>
                    <a:gd name="T5" fmla="*/ 2147483647 h 44"/>
                    <a:gd name="T6" fmla="*/ 2147483647 w 26"/>
                    <a:gd name="T7" fmla="*/ 0 h 44"/>
                    <a:gd name="T8" fmla="*/ 0 w 26"/>
                    <a:gd name="T9" fmla="*/ 2147483647 h 4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44"/>
                    <a:gd name="T17" fmla="*/ 26 w 26"/>
                    <a:gd name="T18" fmla="*/ 44 h 4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44">
                      <a:moveTo>
                        <a:pt x="0" y="9"/>
                      </a:moveTo>
                      <a:lnTo>
                        <a:pt x="9" y="44"/>
                      </a:lnTo>
                      <a:lnTo>
                        <a:pt x="26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2" name="Freeform 90"/>
                <p:cNvSpPr>
                  <a:spLocks/>
                </p:cNvSpPr>
                <p:nvPr/>
              </p:nvSpPr>
              <p:spPr bwMode="auto">
                <a:xfrm>
                  <a:off x="1358901" y="2459038"/>
                  <a:ext cx="82550" cy="55563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0 h 35"/>
                    <a:gd name="T4" fmla="*/ 0 w 52"/>
                    <a:gd name="T5" fmla="*/ 0 h 35"/>
                    <a:gd name="T6" fmla="*/ 2147483647 w 52"/>
                    <a:gd name="T7" fmla="*/ 2147483647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7" y="17"/>
                      </a:lnTo>
                      <a:lnTo>
                        <a:pt x="43" y="35"/>
                      </a:lnTo>
                      <a:lnTo>
                        <a:pt x="52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3" name="Freeform 91"/>
                <p:cNvSpPr>
                  <a:spLocks/>
                </p:cNvSpPr>
                <p:nvPr/>
              </p:nvSpPr>
              <p:spPr bwMode="auto">
                <a:xfrm>
                  <a:off x="1358901" y="2459038"/>
                  <a:ext cx="82550" cy="55563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0 h 35"/>
                    <a:gd name="T4" fmla="*/ 0 w 52"/>
                    <a:gd name="T5" fmla="*/ 0 h 35"/>
                    <a:gd name="T6" fmla="*/ 2147483647 w 52"/>
                    <a:gd name="T7" fmla="*/ 2147483647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7" y="17"/>
                      </a:lnTo>
                      <a:lnTo>
                        <a:pt x="43" y="35"/>
                      </a:lnTo>
                      <a:lnTo>
                        <a:pt x="52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4" name="Freeform 92"/>
                <p:cNvSpPr>
                  <a:spLocks/>
                </p:cNvSpPr>
                <p:nvPr/>
              </p:nvSpPr>
              <p:spPr bwMode="auto">
                <a:xfrm>
                  <a:off x="1344614" y="2984501"/>
                  <a:ext cx="719138" cy="525463"/>
                </a:xfrm>
                <a:custGeom>
                  <a:avLst/>
                  <a:gdLst>
                    <a:gd name="T0" fmla="*/ 2147483647 w 453"/>
                    <a:gd name="T1" fmla="*/ 2147483647 h 331"/>
                    <a:gd name="T2" fmla="*/ 2147483647 w 453"/>
                    <a:gd name="T3" fmla="*/ 2147483647 h 331"/>
                    <a:gd name="T4" fmla="*/ 2147483647 w 453"/>
                    <a:gd name="T5" fmla="*/ 2147483647 h 331"/>
                    <a:gd name="T6" fmla="*/ 2147483647 w 453"/>
                    <a:gd name="T7" fmla="*/ 2147483647 h 331"/>
                    <a:gd name="T8" fmla="*/ 2147483647 w 453"/>
                    <a:gd name="T9" fmla="*/ 2147483647 h 331"/>
                    <a:gd name="T10" fmla="*/ 2147483647 w 453"/>
                    <a:gd name="T11" fmla="*/ 2147483647 h 331"/>
                    <a:gd name="T12" fmla="*/ 2147483647 w 453"/>
                    <a:gd name="T13" fmla="*/ 2147483647 h 331"/>
                    <a:gd name="T14" fmla="*/ 2147483647 w 453"/>
                    <a:gd name="T15" fmla="*/ 2147483647 h 331"/>
                    <a:gd name="T16" fmla="*/ 2147483647 w 453"/>
                    <a:gd name="T17" fmla="*/ 2147483647 h 331"/>
                    <a:gd name="T18" fmla="*/ 2147483647 w 453"/>
                    <a:gd name="T19" fmla="*/ 2147483647 h 331"/>
                    <a:gd name="T20" fmla="*/ 2147483647 w 453"/>
                    <a:gd name="T21" fmla="*/ 2147483647 h 331"/>
                    <a:gd name="T22" fmla="*/ 2147483647 w 453"/>
                    <a:gd name="T23" fmla="*/ 2147483647 h 331"/>
                    <a:gd name="T24" fmla="*/ 2147483647 w 453"/>
                    <a:gd name="T25" fmla="*/ 2147483647 h 331"/>
                    <a:gd name="T26" fmla="*/ 2147483647 w 453"/>
                    <a:gd name="T27" fmla="*/ 2147483647 h 331"/>
                    <a:gd name="T28" fmla="*/ 2147483647 w 453"/>
                    <a:gd name="T29" fmla="*/ 2147483647 h 331"/>
                    <a:gd name="T30" fmla="*/ 2147483647 w 453"/>
                    <a:gd name="T31" fmla="*/ 2147483647 h 331"/>
                    <a:gd name="T32" fmla="*/ 2147483647 w 453"/>
                    <a:gd name="T33" fmla="*/ 2147483647 h 331"/>
                    <a:gd name="T34" fmla="*/ 2147483647 w 453"/>
                    <a:gd name="T35" fmla="*/ 2147483647 h 331"/>
                    <a:gd name="T36" fmla="*/ 2147483647 w 453"/>
                    <a:gd name="T37" fmla="*/ 2147483647 h 331"/>
                    <a:gd name="T38" fmla="*/ 2147483647 w 453"/>
                    <a:gd name="T39" fmla="*/ 2147483647 h 331"/>
                    <a:gd name="T40" fmla="*/ 2147483647 w 453"/>
                    <a:gd name="T41" fmla="*/ 2147483647 h 331"/>
                    <a:gd name="T42" fmla="*/ 2147483647 w 453"/>
                    <a:gd name="T43" fmla="*/ 2147483647 h 331"/>
                    <a:gd name="T44" fmla="*/ 2147483647 w 453"/>
                    <a:gd name="T45" fmla="*/ 2147483647 h 331"/>
                    <a:gd name="T46" fmla="*/ 2147483647 w 453"/>
                    <a:gd name="T47" fmla="*/ 2147483647 h 331"/>
                    <a:gd name="T48" fmla="*/ 2147483647 w 453"/>
                    <a:gd name="T49" fmla="*/ 2147483647 h 331"/>
                    <a:gd name="T50" fmla="*/ 2147483647 w 453"/>
                    <a:gd name="T51" fmla="*/ 2147483647 h 331"/>
                    <a:gd name="T52" fmla="*/ 2147483647 w 453"/>
                    <a:gd name="T53" fmla="*/ 2147483647 h 331"/>
                    <a:gd name="T54" fmla="*/ 2147483647 w 453"/>
                    <a:gd name="T55" fmla="*/ 2147483647 h 331"/>
                    <a:gd name="T56" fmla="*/ 2147483647 w 453"/>
                    <a:gd name="T57" fmla="*/ 2147483647 h 331"/>
                    <a:gd name="T58" fmla="*/ 2147483647 w 453"/>
                    <a:gd name="T59" fmla="*/ 2147483647 h 331"/>
                    <a:gd name="T60" fmla="*/ 2147483647 w 453"/>
                    <a:gd name="T61" fmla="*/ 0 h 331"/>
                    <a:gd name="T62" fmla="*/ 0 w 453"/>
                    <a:gd name="T63" fmla="*/ 2147483647 h 33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53"/>
                    <a:gd name="T97" fmla="*/ 0 h 331"/>
                    <a:gd name="T98" fmla="*/ 453 w 453"/>
                    <a:gd name="T99" fmla="*/ 331 h 33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53" h="331">
                      <a:moveTo>
                        <a:pt x="0" y="26"/>
                      </a:moveTo>
                      <a:lnTo>
                        <a:pt x="9" y="44"/>
                      </a:lnTo>
                      <a:lnTo>
                        <a:pt x="17" y="61"/>
                      </a:lnTo>
                      <a:lnTo>
                        <a:pt x="26" y="79"/>
                      </a:lnTo>
                      <a:lnTo>
                        <a:pt x="17" y="79"/>
                      </a:lnTo>
                      <a:lnTo>
                        <a:pt x="44" y="122"/>
                      </a:lnTo>
                      <a:lnTo>
                        <a:pt x="44" y="140"/>
                      </a:lnTo>
                      <a:lnTo>
                        <a:pt x="70" y="183"/>
                      </a:lnTo>
                      <a:lnTo>
                        <a:pt x="79" y="166"/>
                      </a:lnTo>
                      <a:lnTo>
                        <a:pt x="70" y="148"/>
                      </a:lnTo>
                      <a:lnTo>
                        <a:pt x="70" y="140"/>
                      </a:lnTo>
                      <a:lnTo>
                        <a:pt x="61" y="131"/>
                      </a:lnTo>
                      <a:lnTo>
                        <a:pt x="61" y="113"/>
                      </a:lnTo>
                      <a:lnTo>
                        <a:pt x="44" y="96"/>
                      </a:lnTo>
                      <a:lnTo>
                        <a:pt x="44" y="79"/>
                      </a:lnTo>
                      <a:lnTo>
                        <a:pt x="26" y="44"/>
                      </a:lnTo>
                      <a:lnTo>
                        <a:pt x="35" y="18"/>
                      </a:lnTo>
                      <a:lnTo>
                        <a:pt x="52" y="18"/>
                      </a:lnTo>
                      <a:lnTo>
                        <a:pt x="96" y="113"/>
                      </a:lnTo>
                      <a:lnTo>
                        <a:pt x="96" y="122"/>
                      </a:lnTo>
                      <a:lnTo>
                        <a:pt x="113" y="140"/>
                      </a:lnTo>
                      <a:lnTo>
                        <a:pt x="140" y="166"/>
                      </a:lnTo>
                      <a:lnTo>
                        <a:pt x="140" y="201"/>
                      </a:lnTo>
                      <a:lnTo>
                        <a:pt x="140" y="218"/>
                      </a:lnTo>
                      <a:lnTo>
                        <a:pt x="148" y="244"/>
                      </a:lnTo>
                      <a:lnTo>
                        <a:pt x="166" y="244"/>
                      </a:lnTo>
                      <a:lnTo>
                        <a:pt x="166" y="262"/>
                      </a:lnTo>
                      <a:lnTo>
                        <a:pt x="192" y="262"/>
                      </a:lnTo>
                      <a:lnTo>
                        <a:pt x="192" y="270"/>
                      </a:lnTo>
                      <a:lnTo>
                        <a:pt x="218" y="288"/>
                      </a:lnTo>
                      <a:lnTo>
                        <a:pt x="235" y="288"/>
                      </a:lnTo>
                      <a:lnTo>
                        <a:pt x="279" y="305"/>
                      </a:lnTo>
                      <a:lnTo>
                        <a:pt x="305" y="296"/>
                      </a:lnTo>
                      <a:lnTo>
                        <a:pt x="349" y="331"/>
                      </a:lnTo>
                      <a:lnTo>
                        <a:pt x="349" y="296"/>
                      </a:lnTo>
                      <a:lnTo>
                        <a:pt x="384" y="296"/>
                      </a:lnTo>
                      <a:lnTo>
                        <a:pt x="384" y="288"/>
                      </a:lnTo>
                      <a:lnTo>
                        <a:pt x="366" y="270"/>
                      </a:lnTo>
                      <a:lnTo>
                        <a:pt x="401" y="262"/>
                      </a:lnTo>
                      <a:lnTo>
                        <a:pt x="419" y="262"/>
                      </a:lnTo>
                      <a:lnTo>
                        <a:pt x="436" y="244"/>
                      </a:lnTo>
                      <a:lnTo>
                        <a:pt x="436" y="227"/>
                      </a:lnTo>
                      <a:lnTo>
                        <a:pt x="453" y="209"/>
                      </a:lnTo>
                      <a:lnTo>
                        <a:pt x="445" y="201"/>
                      </a:lnTo>
                      <a:lnTo>
                        <a:pt x="392" y="209"/>
                      </a:lnTo>
                      <a:lnTo>
                        <a:pt x="366" y="253"/>
                      </a:lnTo>
                      <a:lnTo>
                        <a:pt x="340" y="253"/>
                      </a:lnTo>
                      <a:lnTo>
                        <a:pt x="314" y="262"/>
                      </a:lnTo>
                      <a:lnTo>
                        <a:pt x="279" y="218"/>
                      </a:lnTo>
                      <a:lnTo>
                        <a:pt x="270" y="148"/>
                      </a:lnTo>
                      <a:lnTo>
                        <a:pt x="288" y="131"/>
                      </a:lnTo>
                      <a:lnTo>
                        <a:pt x="288" y="122"/>
                      </a:lnTo>
                      <a:lnTo>
                        <a:pt x="270" y="113"/>
                      </a:lnTo>
                      <a:lnTo>
                        <a:pt x="270" y="70"/>
                      </a:lnTo>
                      <a:lnTo>
                        <a:pt x="244" y="44"/>
                      </a:lnTo>
                      <a:lnTo>
                        <a:pt x="227" y="52"/>
                      </a:lnTo>
                      <a:lnTo>
                        <a:pt x="218" y="61"/>
                      </a:lnTo>
                      <a:lnTo>
                        <a:pt x="209" y="61"/>
                      </a:lnTo>
                      <a:lnTo>
                        <a:pt x="183" y="9"/>
                      </a:lnTo>
                      <a:lnTo>
                        <a:pt x="157" y="9"/>
                      </a:lnTo>
                      <a:lnTo>
                        <a:pt x="122" y="18"/>
                      </a:lnTo>
                      <a:lnTo>
                        <a:pt x="61" y="0"/>
                      </a:lnTo>
                      <a:lnTo>
                        <a:pt x="9" y="0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5" name="Freeform 93"/>
                <p:cNvSpPr>
                  <a:spLocks/>
                </p:cNvSpPr>
                <p:nvPr/>
              </p:nvSpPr>
              <p:spPr bwMode="auto">
                <a:xfrm>
                  <a:off x="1344614" y="2984501"/>
                  <a:ext cx="719138" cy="525463"/>
                </a:xfrm>
                <a:custGeom>
                  <a:avLst/>
                  <a:gdLst>
                    <a:gd name="T0" fmla="*/ 2147483647 w 453"/>
                    <a:gd name="T1" fmla="*/ 2147483647 h 331"/>
                    <a:gd name="T2" fmla="*/ 2147483647 w 453"/>
                    <a:gd name="T3" fmla="*/ 2147483647 h 331"/>
                    <a:gd name="T4" fmla="*/ 2147483647 w 453"/>
                    <a:gd name="T5" fmla="*/ 2147483647 h 331"/>
                    <a:gd name="T6" fmla="*/ 2147483647 w 453"/>
                    <a:gd name="T7" fmla="*/ 2147483647 h 331"/>
                    <a:gd name="T8" fmla="*/ 2147483647 w 453"/>
                    <a:gd name="T9" fmla="*/ 2147483647 h 331"/>
                    <a:gd name="T10" fmla="*/ 2147483647 w 453"/>
                    <a:gd name="T11" fmla="*/ 2147483647 h 331"/>
                    <a:gd name="T12" fmla="*/ 2147483647 w 453"/>
                    <a:gd name="T13" fmla="*/ 2147483647 h 331"/>
                    <a:gd name="T14" fmla="*/ 2147483647 w 453"/>
                    <a:gd name="T15" fmla="*/ 2147483647 h 331"/>
                    <a:gd name="T16" fmla="*/ 2147483647 w 453"/>
                    <a:gd name="T17" fmla="*/ 2147483647 h 331"/>
                    <a:gd name="T18" fmla="*/ 2147483647 w 453"/>
                    <a:gd name="T19" fmla="*/ 2147483647 h 331"/>
                    <a:gd name="T20" fmla="*/ 2147483647 w 453"/>
                    <a:gd name="T21" fmla="*/ 2147483647 h 331"/>
                    <a:gd name="T22" fmla="*/ 2147483647 w 453"/>
                    <a:gd name="T23" fmla="*/ 2147483647 h 331"/>
                    <a:gd name="T24" fmla="*/ 2147483647 w 453"/>
                    <a:gd name="T25" fmla="*/ 2147483647 h 331"/>
                    <a:gd name="T26" fmla="*/ 2147483647 w 453"/>
                    <a:gd name="T27" fmla="*/ 2147483647 h 331"/>
                    <a:gd name="T28" fmla="*/ 2147483647 w 453"/>
                    <a:gd name="T29" fmla="*/ 2147483647 h 331"/>
                    <a:gd name="T30" fmla="*/ 2147483647 w 453"/>
                    <a:gd name="T31" fmla="*/ 2147483647 h 331"/>
                    <a:gd name="T32" fmla="*/ 2147483647 w 453"/>
                    <a:gd name="T33" fmla="*/ 2147483647 h 331"/>
                    <a:gd name="T34" fmla="*/ 2147483647 w 453"/>
                    <a:gd name="T35" fmla="*/ 2147483647 h 331"/>
                    <a:gd name="T36" fmla="*/ 2147483647 w 453"/>
                    <a:gd name="T37" fmla="*/ 2147483647 h 331"/>
                    <a:gd name="T38" fmla="*/ 2147483647 w 453"/>
                    <a:gd name="T39" fmla="*/ 2147483647 h 331"/>
                    <a:gd name="T40" fmla="*/ 2147483647 w 453"/>
                    <a:gd name="T41" fmla="*/ 2147483647 h 331"/>
                    <a:gd name="T42" fmla="*/ 2147483647 w 453"/>
                    <a:gd name="T43" fmla="*/ 2147483647 h 331"/>
                    <a:gd name="T44" fmla="*/ 2147483647 w 453"/>
                    <a:gd name="T45" fmla="*/ 2147483647 h 331"/>
                    <a:gd name="T46" fmla="*/ 2147483647 w 453"/>
                    <a:gd name="T47" fmla="*/ 2147483647 h 331"/>
                    <a:gd name="T48" fmla="*/ 2147483647 w 453"/>
                    <a:gd name="T49" fmla="*/ 2147483647 h 331"/>
                    <a:gd name="T50" fmla="*/ 2147483647 w 453"/>
                    <a:gd name="T51" fmla="*/ 2147483647 h 331"/>
                    <a:gd name="T52" fmla="*/ 2147483647 w 453"/>
                    <a:gd name="T53" fmla="*/ 2147483647 h 331"/>
                    <a:gd name="T54" fmla="*/ 2147483647 w 453"/>
                    <a:gd name="T55" fmla="*/ 2147483647 h 331"/>
                    <a:gd name="T56" fmla="*/ 2147483647 w 453"/>
                    <a:gd name="T57" fmla="*/ 2147483647 h 331"/>
                    <a:gd name="T58" fmla="*/ 2147483647 w 453"/>
                    <a:gd name="T59" fmla="*/ 2147483647 h 331"/>
                    <a:gd name="T60" fmla="*/ 2147483647 w 453"/>
                    <a:gd name="T61" fmla="*/ 0 h 331"/>
                    <a:gd name="T62" fmla="*/ 0 w 453"/>
                    <a:gd name="T63" fmla="*/ 2147483647 h 33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53"/>
                    <a:gd name="T97" fmla="*/ 0 h 331"/>
                    <a:gd name="T98" fmla="*/ 453 w 453"/>
                    <a:gd name="T99" fmla="*/ 331 h 33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53" h="331">
                      <a:moveTo>
                        <a:pt x="0" y="26"/>
                      </a:moveTo>
                      <a:lnTo>
                        <a:pt x="9" y="44"/>
                      </a:lnTo>
                      <a:lnTo>
                        <a:pt x="17" y="61"/>
                      </a:lnTo>
                      <a:lnTo>
                        <a:pt x="26" y="79"/>
                      </a:lnTo>
                      <a:lnTo>
                        <a:pt x="17" y="79"/>
                      </a:lnTo>
                      <a:lnTo>
                        <a:pt x="44" y="122"/>
                      </a:lnTo>
                      <a:lnTo>
                        <a:pt x="44" y="140"/>
                      </a:lnTo>
                      <a:lnTo>
                        <a:pt x="70" y="183"/>
                      </a:lnTo>
                      <a:lnTo>
                        <a:pt x="79" y="166"/>
                      </a:lnTo>
                      <a:lnTo>
                        <a:pt x="70" y="148"/>
                      </a:lnTo>
                      <a:lnTo>
                        <a:pt x="70" y="140"/>
                      </a:lnTo>
                      <a:lnTo>
                        <a:pt x="61" y="131"/>
                      </a:lnTo>
                      <a:lnTo>
                        <a:pt x="61" y="113"/>
                      </a:lnTo>
                      <a:lnTo>
                        <a:pt x="44" y="96"/>
                      </a:lnTo>
                      <a:lnTo>
                        <a:pt x="44" y="79"/>
                      </a:lnTo>
                      <a:lnTo>
                        <a:pt x="26" y="44"/>
                      </a:lnTo>
                      <a:lnTo>
                        <a:pt x="35" y="18"/>
                      </a:lnTo>
                      <a:lnTo>
                        <a:pt x="52" y="18"/>
                      </a:lnTo>
                      <a:lnTo>
                        <a:pt x="96" y="113"/>
                      </a:lnTo>
                      <a:lnTo>
                        <a:pt x="96" y="122"/>
                      </a:lnTo>
                      <a:lnTo>
                        <a:pt x="113" y="140"/>
                      </a:lnTo>
                      <a:lnTo>
                        <a:pt x="140" y="166"/>
                      </a:lnTo>
                      <a:lnTo>
                        <a:pt x="140" y="201"/>
                      </a:lnTo>
                      <a:lnTo>
                        <a:pt x="140" y="218"/>
                      </a:lnTo>
                      <a:lnTo>
                        <a:pt x="148" y="244"/>
                      </a:lnTo>
                      <a:lnTo>
                        <a:pt x="166" y="244"/>
                      </a:lnTo>
                      <a:lnTo>
                        <a:pt x="166" y="262"/>
                      </a:lnTo>
                      <a:lnTo>
                        <a:pt x="192" y="262"/>
                      </a:lnTo>
                      <a:lnTo>
                        <a:pt x="192" y="270"/>
                      </a:lnTo>
                      <a:lnTo>
                        <a:pt x="218" y="288"/>
                      </a:lnTo>
                      <a:lnTo>
                        <a:pt x="235" y="288"/>
                      </a:lnTo>
                      <a:lnTo>
                        <a:pt x="279" y="305"/>
                      </a:lnTo>
                      <a:lnTo>
                        <a:pt x="305" y="296"/>
                      </a:lnTo>
                      <a:lnTo>
                        <a:pt x="349" y="331"/>
                      </a:lnTo>
                      <a:lnTo>
                        <a:pt x="349" y="296"/>
                      </a:lnTo>
                      <a:lnTo>
                        <a:pt x="384" y="296"/>
                      </a:lnTo>
                      <a:lnTo>
                        <a:pt x="384" y="288"/>
                      </a:lnTo>
                      <a:lnTo>
                        <a:pt x="366" y="270"/>
                      </a:lnTo>
                      <a:lnTo>
                        <a:pt x="401" y="262"/>
                      </a:lnTo>
                      <a:lnTo>
                        <a:pt x="419" y="262"/>
                      </a:lnTo>
                      <a:lnTo>
                        <a:pt x="436" y="244"/>
                      </a:lnTo>
                      <a:lnTo>
                        <a:pt x="436" y="227"/>
                      </a:lnTo>
                      <a:lnTo>
                        <a:pt x="453" y="209"/>
                      </a:lnTo>
                      <a:lnTo>
                        <a:pt x="445" y="201"/>
                      </a:lnTo>
                      <a:lnTo>
                        <a:pt x="392" y="209"/>
                      </a:lnTo>
                      <a:lnTo>
                        <a:pt x="366" y="253"/>
                      </a:lnTo>
                      <a:lnTo>
                        <a:pt x="340" y="253"/>
                      </a:lnTo>
                      <a:lnTo>
                        <a:pt x="314" y="262"/>
                      </a:lnTo>
                      <a:lnTo>
                        <a:pt x="279" y="218"/>
                      </a:lnTo>
                      <a:lnTo>
                        <a:pt x="270" y="148"/>
                      </a:lnTo>
                      <a:lnTo>
                        <a:pt x="288" y="131"/>
                      </a:lnTo>
                      <a:lnTo>
                        <a:pt x="288" y="122"/>
                      </a:lnTo>
                      <a:lnTo>
                        <a:pt x="270" y="113"/>
                      </a:lnTo>
                      <a:lnTo>
                        <a:pt x="270" y="70"/>
                      </a:lnTo>
                      <a:lnTo>
                        <a:pt x="244" y="44"/>
                      </a:lnTo>
                      <a:lnTo>
                        <a:pt x="227" y="52"/>
                      </a:lnTo>
                      <a:lnTo>
                        <a:pt x="218" y="61"/>
                      </a:lnTo>
                      <a:lnTo>
                        <a:pt x="209" y="61"/>
                      </a:lnTo>
                      <a:lnTo>
                        <a:pt x="183" y="9"/>
                      </a:lnTo>
                      <a:lnTo>
                        <a:pt x="157" y="9"/>
                      </a:lnTo>
                      <a:lnTo>
                        <a:pt x="122" y="18"/>
                      </a:lnTo>
                      <a:lnTo>
                        <a:pt x="61" y="0"/>
                      </a:lnTo>
                      <a:lnTo>
                        <a:pt x="9" y="0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6" name="Freeform 94"/>
                <p:cNvSpPr>
                  <a:spLocks/>
                </p:cNvSpPr>
                <p:nvPr/>
              </p:nvSpPr>
              <p:spPr bwMode="auto">
                <a:xfrm>
                  <a:off x="1898651" y="3400426"/>
                  <a:ext cx="111125" cy="123825"/>
                </a:xfrm>
                <a:custGeom>
                  <a:avLst/>
                  <a:gdLst>
                    <a:gd name="T0" fmla="*/ 2147483647 w 70"/>
                    <a:gd name="T1" fmla="*/ 2147483647 h 78"/>
                    <a:gd name="T2" fmla="*/ 2147483647 w 70"/>
                    <a:gd name="T3" fmla="*/ 2147483647 h 78"/>
                    <a:gd name="T4" fmla="*/ 2147483647 w 70"/>
                    <a:gd name="T5" fmla="*/ 2147483647 h 78"/>
                    <a:gd name="T6" fmla="*/ 0 w 70"/>
                    <a:gd name="T7" fmla="*/ 2147483647 h 78"/>
                    <a:gd name="T8" fmla="*/ 0 w 70"/>
                    <a:gd name="T9" fmla="*/ 2147483647 h 78"/>
                    <a:gd name="T10" fmla="*/ 2147483647 w 70"/>
                    <a:gd name="T11" fmla="*/ 2147483647 h 78"/>
                    <a:gd name="T12" fmla="*/ 2147483647 w 70"/>
                    <a:gd name="T13" fmla="*/ 2147483647 h 78"/>
                    <a:gd name="T14" fmla="*/ 2147483647 w 70"/>
                    <a:gd name="T15" fmla="*/ 2147483647 h 78"/>
                    <a:gd name="T16" fmla="*/ 2147483647 w 70"/>
                    <a:gd name="T17" fmla="*/ 2147483647 h 78"/>
                    <a:gd name="T18" fmla="*/ 2147483647 w 70"/>
                    <a:gd name="T19" fmla="*/ 2147483647 h 78"/>
                    <a:gd name="T20" fmla="*/ 2147483647 w 70"/>
                    <a:gd name="T21" fmla="*/ 0 h 78"/>
                    <a:gd name="T22" fmla="*/ 2147483647 w 70"/>
                    <a:gd name="T23" fmla="*/ 2147483647 h 7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78"/>
                    <a:gd name="T38" fmla="*/ 70 w 70"/>
                    <a:gd name="T39" fmla="*/ 78 h 7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78">
                      <a:moveTo>
                        <a:pt x="17" y="8"/>
                      </a:moveTo>
                      <a:lnTo>
                        <a:pt x="35" y="26"/>
                      </a:lnTo>
                      <a:lnTo>
                        <a:pt x="35" y="34"/>
                      </a:lnTo>
                      <a:lnTo>
                        <a:pt x="0" y="34"/>
                      </a:lnTo>
                      <a:lnTo>
                        <a:pt x="0" y="69"/>
                      </a:lnTo>
                      <a:lnTo>
                        <a:pt x="35" y="78"/>
                      </a:lnTo>
                      <a:lnTo>
                        <a:pt x="52" y="69"/>
                      </a:lnTo>
                      <a:lnTo>
                        <a:pt x="70" y="52"/>
                      </a:lnTo>
                      <a:lnTo>
                        <a:pt x="70" y="43"/>
                      </a:lnTo>
                      <a:lnTo>
                        <a:pt x="52" y="43"/>
                      </a:lnTo>
                      <a:lnTo>
                        <a:pt x="52" y="0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7" name="Freeform 95"/>
                <p:cNvSpPr>
                  <a:spLocks/>
                </p:cNvSpPr>
                <p:nvPr/>
              </p:nvSpPr>
              <p:spPr bwMode="auto">
                <a:xfrm>
                  <a:off x="1898651" y="3400426"/>
                  <a:ext cx="111125" cy="123825"/>
                </a:xfrm>
                <a:custGeom>
                  <a:avLst/>
                  <a:gdLst>
                    <a:gd name="T0" fmla="*/ 2147483647 w 70"/>
                    <a:gd name="T1" fmla="*/ 2147483647 h 78"/>
                    <a:gd name="T2" fmla="*/ 2147483647 w 70"/>
                    <a:gd name="T3" fmla="*/ 2147483647 h 78"/>
                    <a:gd name="T4" fmla="*/ 2147483647 w 70"/>
                    <a:gd name="T5" fmla="*/ 2147483647 h 78"/>
                    <a:gd name="T6" fmla="*/ 0 w 70"/>
                    <a:gd name="T7" fmla="*/ 2147483647 h 78"/>
                    <a:gd name="T8" fmla="*/ 0 w 70"/>
                    <a:gd name="T9" fmla="*/ 2147483647 h 78"/>
                    <a:gd name="T10" fmla="*/ 2147483647 w 70"/>
                    <a:gd name="T11" fmla="*/ 2147483647 h 78"/>
                    <a:gd name="T12" fmla="*/ 2147483647 w 70"/>
                    <a:gd name="T13" fmla="*/ 2147483647 h 78"/>
                    <a:gd name="T14" fmla="*/ 2147483647 w 70"/>
                    <a:gd name="T15" fmla="*/ 2147483647 h 78"/>
                    <a:gd name="T16" fmla="*/ 2147483647 w 70"/>
                    <a:gd name="T17" fmla="*/ 2147483647 h 78"/>
                    <a:gd name="T18" fmla="*/ 2147483647 w 70"/>
                    <a:gd name="T19" fmla="*/ 2147483647 h 78"/>
                    <a:gd name="T20" fmla="*/ 2147483647 w 70"/>
                    <a:gd name="T21" fmla="*/ 0 h 78"/>
                    <a:gd name="T22" fmla="*/ 2147483647 w 70"/>
                    <a:gd name="T23" fmla="*/ 2147483647 h 7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78"/>
                    <a:gd name="T38" fmla="*/ 70 w 70"/>
                    <a:gd name="T39" fmla="*/ 78 h 7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78">
                      <a:moveTo>
                        <a:pt x="17" y="8"/>
                      </a:moveTo>
                      <a:lnTo>
                        <a:pt x="35" y="26"/>
                      </a:lnTo>
                      <a:lnTo>
                        <a:pt x="35" y="34"/>
                      </a:lnTo>
                      <a:lnTo>
                        <a:pt x="0" y="34"/>
                      </a:lnTo>
                      <a:lnTo>
                        <a:pt x="0" y="69"/>
                      </a:lnTo>
                      <a:lnTo>
                        <a:pt x="35" y="78"/>
                      </a:lnTo>
                      <a:lnTo>
                        <a:pt x="52" y="69"/>
                      </a:lnTo>
                      <a:lnTo>
                        <a:pt x="70" y="52"/>
                      </a:lnTo>
                      <a:lnTo>
                        <a:pt x="70" y="43"/>
                      </a:lnTo>
                      <a:lnTo>
                        <a:pt x="52" y="43"/>
                      </a:lnTo>
                      <a:lnTo>
                        <a:pt x="52" y="0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8" name="Freeform 96"/>
                <p:cNvSpPr>
                  <a:spLocks/>
                </p:cNvSpPr>
                <p:nvPr/>
              </p:nvSpPr>
              <p:spPr bwMode="auto">
                <a:xfrm>
                  <a:off x="1954214" y="3509963"/>
                  <a:ext cx="68263" cy="41275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0 w 43"/>
                    <a:gd name="T3" fmla="*/ 2147483647 h 26"/>
                    <a:gd name="T4" fmla="*/ 2147483647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0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35" y="26"/>
                      </a:lnTo>
                      <a:lnTo>
                        <a:pt x="43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9" name="Freeform 97"/>
                <p:cNvSpPr>
                  <a:spLocks/>
                </p:cNvSpPr>
                <p:nvPr/>
              </p:nvSpPr>
              <p:spPr bwMode="auto">
                <a:xfrm>
                  <a:off x="1954214" y="3509963"/>
                  <a:ext cx="68263" cy="41275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0 w 43"/>
                    <a:gd name="T3" fmla="*/ 2147483647 h 26"/>
                    <a:gd name="T4" fmla="*/ 2147483647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0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35" y="26"/>
                      </a:lnTo>
                      <a:lnTo>
                        <a:pt x="43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0" name="Freeform 98"/>
                <p:cNvSpPr>
                  <a:spLocks/>
                </p:cNvSpPr>
                <p:nvPr/>
              </p:nvSpPr>
              <p:spPr bwMode="auto">
                <a:xfrm>
                  <a:off x="1981201" y="3400426"/>
                  <a:ext cx="41275" cy="68263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0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0 h 4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43"/>
                    <a:gd name="T20" fmla="*/ 26 w 26"/>
                    <a:gd name="T21" fmla="*/ 43 h 4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43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43"/>
                      </a:lnTo>
                      <a:lnTo>
                        <a:pt x="18" y="43"/>
                      </a:lnTo>
                      <a:lnTo>
                        <a:pt x="26" y="17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1" name="Freeform 99"/>
                <p:cNvSpPr>
                  <a:spLocks/>
                </p:cNvSpPr>
                <p:nvPr/>
              </p:nvSpPr>
              <p:spPr bwMode="auto">
                <a:xfrm>
                  <a:off x="1981201" y="3400426"/>
                  <a:ext cx="41275" cy="68263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0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0 h 4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43"/>
                    <a:gd name="T20" fmla="*/ 26 w 26"/>
                    <a:gd name="T21" fmla="*/ 43 h 4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43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43"/>
                      </a:lnTo>
                      <a:lnTo>
                        <a:pt x="18" y="43"/>
                      </a:lnTo>
                      <a:lnTo>
                        <a:pt x="26" y="17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2" name="Freeform 100"/>
                <p:cNvSpPr>
                  <a:spLocks/>
                </p:cNvSpPr>
                <p:nvPr/>
              </p:nvSpPr>
              <p:spPr bwMode="auto">
                <a:xfrm>
                  <a:off x="1981201" y="3468688"/>
                  <a:ext cx="152400" cy="69850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0 w 96"/>
                    <a:gd name="T3" fmla="*/ 2147483647 h 44"/>
                    <a:gd name="T4" fmla="*/ 2147483647 w 96"/>
                    <a:gd name="T5" fmla="*/ 2147483647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2147483647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0 h 44"/>
                    <a:gd name="T16" fmla="*/ 2147483647 w 96"/>
                    <a:gd name="T17" fmla="*/ 0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18" y="9"/>
                      </a:moveTo>
                      <a:lnTo>
                        <a:pt x="0" y="26"/>
                      </a:lnTo>
                      <a:lnTo>
                        <a:pt x="26" y="26"/>
                      </a:lnTo>
                      <a:lnTo>
                        <a:pt x="26" y="35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35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3" name="Freeform 101"/>
                <p:cNvSpPr>
                  <a:spLocks/>
                </p:cNvSpPr>
                <p:nvPr/>
              </p:nvSpPr>
              <p:spPr bwMode="auto">
                <a:xfrm>
                  <a:off x="1981201" y="3468688"/>
                  <a:ext cx="152400" cy="69850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0 w 96"/>
                    <a:gd name="T3" fmla="*/ 2147483647 h 44"/>
                    <a:gd name="T4" fmla="*/ 2147483647 w 96"/>
                    <a:gd name="T5" fmla="*/ 2147483647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2147483647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0 h 44"/>
                    <a:gd name="T16" fmla="*/ 2147483647 w 96"/>
                    <a:gd name="T17" fmla="*/ 0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18" y="9"/>
                      </a:moveTo>
                      <a:lnTo>
                        <a:pt x="0" y="26"/>
                      </a:lnTo>
                      <a:lnTo>
                        <a:pt x="26" y="26"/>
                      </a:lnTo>
                      <a:lnTo>
                        <a:pt x="26" y="35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35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4" name="Freeform 102"/>
                <p:cNvSpPr>
                  <a:spLocks/>
                </p:cNvSpPr>
                <p:nvPr/>
              </p:nvSpPr>
              <p:spPr bwMode="auto">
                <a:xfrm>
                  <a:off x="2022476" y="3482976"/>
                  <a:ext cx="111125" cy="111125"/>
                </a:xfrm>
                <a:custGeom>
                  <a:avLst/>
                  <a:gdLst>
                    <a:gd name="T0" fmla="*/ 0 w 70"/>
                    <a:gd name="T1" fmla="*/ 2147483647 h 70"/>
                    <a:gd name="T2" fmla="*/ 2147483647 w 70"/>
                    <a:gd name="T3" fmla="*/ 2147483647 h 70"/>
                    <a:gd name="T4" fmla="*/ 2147483647 w 70"/>
                    <a:gd name="T5" fmla="*/ 2147483647 h 70"/>
                    <a:gd name="T6" fmla="*/ 2147483647 w 70"/>
                    <a:gd name="T7" fmla="*/ 0 h 70"/>
                    <a:gd name="T8" fmla="*/ 2147483647 w 70"/>
                    <a:gd name="T9" fmla="*/ 2147483647 h 70"/>
                    <a:gd name="T10" fmla="*/ 0 w 70"/>
                    <a:gd name="T11" fmla="*/ 2147483647 h 7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0"/>
                    <a:gd name="T19" fmla="*/ 0 h 70"/>
                    <a:gd name="T20" fmla="*/ 70 w 70"/>
                    <a:gd name="T21" fmla="*/ 70 h 7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0" h="70">
                      <a:moveTo>
                        <a:pt x="0" y="43"/>
                      </a:moveTo>
                      <a:lnTo>
                        <a:pt x="26" y="70"/>
                      </a:lnTo>
                      <a:lnTo>
                        <a:pt x="61" y="70"/>
                      </a:lnTo>
                      <a:lnTo>
                        <a:pt x="70" y="0"/>
                      </a:lnTo>
                      <a:lnTo>
                        <a:pt x="18" y="26"/>
                      </a:lnTo>
                      <a:lnTo>
                        <a:pt x="0" y="43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5" name="Freeform 103"/>
                <p:cNvSpPr>
                  <a:spLocks/>
                </p:cNvSpPr>
                <p:nvPr/>
              </p:nvSpPr>
              <p:spPr bwMode="auto">
                <a:xfrm>
                  <a:off x="2022476" y="3482976"/>
                  <a:ext cx="111125" cy="111125"/>
                </a:xfrm>
                <a:custGeom>
                  <a:avLst/>
                  <a:gdLst>
                    <a:gd name="T0" fmla="*/ 0 w 70"/>
                    <a:gd name="T1" fmla="*/ 2147483647 h 70"/>
                    <a:gd name="T2" fmla="*/ 2147483647 w 70"/>
                    <a:gd name="T3" fmla="*/ 2147483647 h 70"/>
                    <a:gd name="T4" fmla="*/ 2147483647 w 70"/>
                    <a:gd name="T5" fmla="*/ 2147483647 h 70"/>
                    <a:gd name="T6" fmla="*/ 2147483647 w 70"/>
                    <a:gd name="T7" fmla="*/ 0 h 70"/>
                    <a:gd name="T8" fmla="*/ 2147483647 w 70"/>
                    <a:gd name="T9" fmla="*/ 2147483647 h 70"/>
                    <a:gd name="T10" fmla="*/ 0 w 70"/>
                    <a:gd name="T11" fmla="*/ 2147483647 h 7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0"/>
                    <a:gd name="T19" fmla="*/ 0 h 70"/>
                    <a:gd name="T20" fmla="*/ 70 w 70"/>
                    <a:gd name="T21" fmla="*/ 70 h 7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0" h="70">
                      <a:moveTo>
                        <a:pt x="0" y="43"/>
                      </a:moveTo>
                      <a:lnTo>
                        <a:pt x="26" y="70"/>
                      </a:lnTo>
                      <a:lnTo>
                        <a:pt x="61" y="70"/>
                      </a:lnTo>
                      <a:lnTo>
                        <a:pt x="70" y="0"/>
                      </a:lnTo>
                      <a:lnTo>
                        <a:pt x="18" y="26"/>
                      </a:lnTo>
                      <a:lnTo>
                        <a:pt x="0" y="43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6" name="Freeform 104"/>
                <p:cNvSpPr>
                  <a:spLocks/>
                </p:cNvSpPr>
                <p:nvPr/>
              </p:nvSpPr>
              <p:spPr bwMode="auto">
                <a:xfrm>
                  <a:off x="2051051" y="3594101"/>
                  <a:ext cx="96838" cy="82550"/>
                </a:xfrm>
                <a:custGeom>
                  <a:avLst/>
                  <a:gdLst>
                    <a:gd name="T0" fmla="*/ 2147483647 w 61"/>
                    <a:gd name="T1" fmla="*/ 0 h 52"/>
                    <a:gd name="T2" fmla="*/ 2147483647 w 61"/>
                    <a:gd name="T3" fmla="*/ 0 h 52"/>
                    <a:gd name="T4" fmla="*/ 0 w 61"/>
                    <a:gd name="T5" fmla="*/ 2147483647 h 52"/>
                    <a:gd name="T6" fmla="*/ 2147483647 w 61"/>
                    <a:gd name="T7" fmla="*/ 2147483647 h 52"/>
                    <a:gd name="T8" fmla="*/ 2147483647 w 61"/>
                    <a:gd name="T9" fmla="*/ 2147483647 h 52"/>
                    <a:gd name="T10" fmla="*/ 2147483647 w 61"/>
                    <a:gd name="T11" fmla="*/ 2147483647 h 52"/>
                    <a:gd name="T12" fmla="*/ 2147483647 w 61"/>
                    <a:gd name="T13" fmla="*/ 2147483647 h 52"/>
                    <a:gd name="T14" fmla="*/ 2147483647 w 61"/>
                    <a:gd name="T15" fmla="*/ 2147483647 h 52"/>
                    <a:gd name="T16" fmla="*/ 2147483647 w 61"/>
                    <a:gd name="T17" fmla="*/ 2147483647 h 52"/>
                    <a:gd name="T18" fmla="*/ 2147483647 w 61"/>
                    <a:gd name="T19" fmla="*/ 0 h 5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52"/>
                    <a:gd name="T32" fmla="*/ 61 w 61"/>
                    <a:gd name="T33" fmla="*/ 52 h 5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52">
                      <a:moveTo>
                        <a:pt x="43" y="0"/>
                      </a:moveTo>
                      <a:lnTo>
                        <a:pt x="8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26" y="34"/>
                      </a:lnTo>
                      <a:lnTo>
                        <a:pt x="43" y="52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43" y="26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7" name="Freeform 105"/>
                <p:cNvSpPr>
                  <a:spLocks/>
                </p:cNvSpPr>
                <p:nvPr/>
              </p:nvSpPr>
              <p:spPr bwMode="auto">
                <a:xfrm>
                  <a:off x="2051051" y="3594101"/>
                  <a:ext cx="96838" cy="82550"/>
                </a:xfrm>
                <a:custGeom>
                  <a:avLst/>
                  <a:gdLst>
                    <a:gd name="T0" fmla="*/ 2147483647 w 61"/>
                    <a:gd name="T1" fmla="*/ 0 h 52"/>
                    <a:gd name="T2" fmla="*/ 2147483647 w 61"/>
                    <a:gd name="T3" fmla="*/ 0 h 52"/>
                    <a:gd name="T4" fmla="*/ 0 w 61"/>
                    <a:gd name="T5" fmla="*/ 2147483647 h 52"/>
                    <a:gd name="T6" fmla="*/ 2147483647 w 61"/>
                    <a:gd name="T7" fmla="*/ 2147483647 h 52"/>
                    <a:gd name="T8" fmla="*/ 2147483647 w 61"/>
                    <a:gd name="T9" fmla="*/ 2147483647 h 52"/>
                    <a:gd name="T10" fmla="*/ 2147483647 w 61"/>
                    <a:gd name="T11" fmla="*/ 2147483647 h 52"/>
                    <a:gd name="T12" fmla="*/ 2147483647 w 61"/>
                    <a:gd name="T13" fmla="*/ 2147483647 h 52"/>
                    <a:gd name="T14" fmla="*/ 2147483647 w 61"/>
                    <a:gd name="T15" fmla="*/ 2147483647 h 52"/>
                    <a:gd name="T16" fmla="*/ 2147483647 w 61"/>
                    <a:gd name="T17" fmla="*/ 2147483647 h 52"/>
                    <a:gd name="T18" fmla="*/ 2147483647 w 61"/>
                    <a:gd name="T19" fmla="*/ 0 h 5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52"/>
                    <a:gd name="T32" fmla="*/ 61 w 61"/>
                    <a:gd name="T33" fmla="*/ 52 h 5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52">
                      <a:moveTo>
                        <a:pt x="43" y="0"/>
                      </a:moveTo>
                      <a:lnTo>
                        <a:pt x="8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26" y="34"/>
                      </a:lnTo>
                      <a:lnTo>
                        <a:pt x="43" y="52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43" y="26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8" name="Freeform 106"/>
                <p:cNvSpPr>
                  <a:spLocks/>
                </p:cNvSpPr>
                <p:nvPr/>
              </p:nvSpPr>
              <p:spPr bwMode="auto">
                <a:xfrm>
                  <a:off x="2147889" y="3635376"/>
                  <a:ext cx="138113" cy="82550"/>
                </a:xfrm>
                <a:custGeom>
                  <a:avLst/>
                  <a:gdLst>
                    <a:gd name="T0" fmla="*/ 2147483647 w 87"/>
                    <a:gd name="T1" fmla="*/ 0 h 52"/>
                    <a:gd name="T2" fmla="*/ 2147483647 w 87"/>
                    <a:gd name="T3" fmla="*/ 2147483647 h 52"/>
                    <a:gd name="T4" fmla="*/ 0 w 87"/>
                    <a:gd name="T5" fmla="*/ 2147483647 h 52"/>
                    <a:gd name="T6" fmla="*/ 0 w 87"/>
                    <a:gd name="T7" fmla="*/ 2147483647 h 52"/>
                    <a:gd name="T8" fmla="*/ 2147483647 w 87"/>
                    <a:gd name="T9" fmla="*/ 2147483647 h 52"/>
                    <a:gd name="T10" fmla="*/ 2147483647 w 87"/>
                    <a:gd name="T11" fmla="*/ 2147483647 h 52"/>
                    <a:gd name="T12" fmla="*/ 2147483647 w 87"/>
                    <a:gd name="T13" fmla="*/ 2147483647 h 52"/>
                    <a:gd name="T14" fmla="*/ 2147483647 w 87"/>
                    <a:gd name="T15" fmla="*/ 2147483647 h 52"/>
                    <a:gd name="T16" fmla="*/ 2147483647 w 87"/>
                    <a:gd name="T17" fmla="*/ 2147483647 h 52"/>
                    <a:gd name="T18" fmla="*/ 2147483647 w 87"/>
                    <a:gd name="T19" fmla="*/ 2147483647 h 52"/>
                    <a:gd name="T20" fmla="*/ 2147483647 w 87"/>
                    <a:gd name="T21" fmla="*/ 2147483647 h 52"/>
                    <a:gd name="T22" fmla="*/ 2147483647 w 87"/>
                    <a:gd name="T23" fmla="*/ 2147483647 h 52"/>
                    <a:gd name="T24" fmla="*/ 2147483647 w 87"/>
                    <a:gd name="T25" fmla="*/ 0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52"/>
                    <a:gd name="T41" fmla="*/ 87 w 87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52">
                      <a:moveTo>
                        <a:pt x="43" y="0"/>
                      </a:moveTo>
                      <a:lnTo>
                        <a:pt x="17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43"/>
                      </a:lnTo>
                      <a:lnTo>
                        <a:pt x="35" y="26"/>
                      </a:lnTo>
                      <a:lnTo>
                        <a:pt x="52" y="17"/>
                      </a:lnTo>
                      <a:lnTo>
                        <a:pt x="69" y="35"/>
                      </a:lnTo>
                      <a:lnTo>
                        <a:pt x="61" y="52"/>
                      </a:lnTo>
                      <a:lnTo>
                        <a:pt x="78" y="52"/>
                      </a:lnTo>
                      <a:lnTo>
                        <a:pt x="87" y="26"/>
                      </a:lnTo>
                      <a:lnTo>
                        <a:pt x="61" y="8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9" name="Freeform 107"/>
                <p:cNvSpPr>
                  <a:spLocks/>
                </p:cNvSpPr>
                <p:nvPr/>
              </p:nvSpPr>
              <p:spPr bwMode="auto">
                <a:xfrm>
                  <a:off x="2147889" y="3635376"/>
                  <a:ext cx="138113" cy="82550"/>
                </a:xfrm>
                <a:custGeom>
                  <a:avLst/>
                  <a:gdLst>
                    <a:gd name="T0" fmla="*/ 2147483647 w 87"/>
                    <a:gd name="T1" fmla="*/ 0 h 52"/>
                    <a:gd name="T2" fmla="*/ 2147483647 w 87"/>
                    <a:gd name="T3" fmla="*/ 2147483647 h 52"/>
                    <a:gd name="T4" fmla="*/ 0 w 87"/>
                    <a:gd name="T5" fmla="*/ 2147483647 h 52"/>
                    <a:gd name="T6" fmla="*/ 0 w 87"/>
                    <a:gd name="T7" fmla="*/ 2147483647 h 52"/>
                    <a:gd name="T8" fmla="*/ 2147483647 w 87"/>
                    <a:gd name="T9" fmla="*/ 2147483647 h 52"/>
                    <a:gd name="T10" fmla="*/ 2147483647 w 87"/>
                    <a:gd name="T11" fmla="*/ 2147483647 h 52"/>
                    <a:gd name="T12" fmla="*/ 2147483647 w 87"/>
                    <a:gd name="T13" fmla="*/ 2147483647 h 52"/>
                    <a:gd name="T14" fmla="*/ 2147483647 w 87"/>
                    <a:gd name="T15" fmla="*/ 2147483647 h 52"/>
                    <a:gd name="T16" fmla="*/ 2147483647 w 87"/>
                    <a:gd name="T17" fmla="*/ 2147483647 h 52"/>
                    <a:gd name="T18" fmla="*/ 2147483647 w 87"/>
                    <a:gd name="T19" fmla="*/ 2147483647 h 52"/>
                    <a:gd name="T20" fmla="*/ 2147483647 w 87"/>
                    <a:gd name="T21" fmla="*/ 2147483647 h 52"/>
                    <a:gd name="T22" fmla="*/ 2147483647 w 87"/>
                    <a:gd name="T23" fmla="*/ 2147483647 h 52"/>
                    <a:gd name="T24" fmla="*/ 2147483647 w 87"/>
                    <a:gd name="T25" fmla="*/ 0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52"/>
                    <a:gd name="T41" fmla="*/ 87 w 87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52">
                      <a:moveTo>
                        <a:pt x="43" y="0"/>
                      </a:moveTo>
                      <a:lnTo>
                        <a:pt x="17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43"/>
                      </a:lnTo>
                      <a:lnTo>
                        <a:pt x="35" y="26"/>
                      </a:lnTo>
                      <a:lnTo>
                        <a:pt x="52" y="17"/>
                      </a:lnTo>
                      <a:lnTo>
                        <a:pt x="69" y="35"/>
                      </a:lnTo>
                      <a:lnTo>
                        <a:pt x="61" y="52"/>
                      </a:lnTo>
                      <a:lnTo>
                        <a:pt x="78" y="52"/>
                      </a:lnTo>
                      <a:lnTo>
                        <a:pt x="87" y="26"/>
                      </a:lnTo>
                      <a:lnTo>
                        <a:pt x="61" y="8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0" name="Freeform 110"/>
                <p:cNvSpPr>
                  <a:spLocks/>
                </p:cNvSpPr>
                <p:nvPr/>
              </p:nvSpPr>
              <p:spPr bwMode="auto">
                <a:xfrm>
                  <a:off x="2271714" y="3371851"/>
                  <a:ext cx="69850" cy="28575"/>
                </a:xfrm>
                <a:custGeom>
                  <a:avLst/>
                  <a:gdLst>
                    <a:gd name="T0" fmla="*/ 2147483647 w 44"/>
                    <a:gd name="T1" fmla="*/ 0 h 18"/>
                    <a:gd name="T2" fmla="*/ 0 w 44"/>
                    <a:gd name="T3" fmla="*/ 2147483647 h 18"/>
                    <a:gd name="T4" fmla="*/ 2147483647 w 44"/>
                    <a:gd name="T5" fmla="*/ 2147483647 h 18"/>
                    <a:gd name="T6" fmla="*/ 2147483647 w 44"/>
                    <a:gd name="T7" fmla="*/ 2147483647 h 18"/>
                    <a:gd name="T8" fmla="*/ 2147483647 w 44"/>
                    <a:gd name="T9" fmla="*/ 2147483647 h 18"/>
                    <a:gd name="T10" fmla="*/ 2147483647 w 44"/>
                    <a:gd name="T11" fmla="*/ 2147483647 h 18"/>
                    <a:gd name="T12" fmla="*/ 2147483647 w 44"/>
                    <a:gd name="T13" fmla="*/ 0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8"/>
                    <a:gd name="T23" fmla="*/ 44 w 44"/>
                    <a:gd name="T24" fmla="*/ 18 h 1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8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44" y="18"/>
                      </a:lnTo>
                      <a:lnTo>
                        <a:pt x="44" y="9"/>
                      </a:lnTo>
                      <a:lnTo>
                        <a:pt x="26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1" name="Freeform 111"/>
                <p:cNvSpPr>
                  <a:spLocks/>
                </p:cNvSpPr>
                <p:nvPr/>
              </p:nvSpPr>
              <p:spPr bwMode="auto">
                <a:xfrm>
                  <a:off x="2271714" y="3371851"/>
                  <a:ext cx="69850" cy="28575"/>
                </a:xfrm>
                <a:custGeom>
                  <a:avLst/>
                  <a:gdLst>
                    <a:gd name="T0" fmla="*/ 2147483647 w 44"/>
                    <a:gd name="T1" fmla="*/ 0 h 18"/>
                    <a:gd name="T2" fmla="*/ 0 w 44"/>
                    <a:gd name="T3" fmla="*/ 2147483647 h 18"/>
                    <a:gd name="T4" fmla="*/ 2147483647 w 44"/>
                    <a:gd name="T5" fmla="*/ 2147483647 h 18"/>
                    <a:gd name="T6" fmla="*/ 2147483647 w 44"/>
                    <a:gd name="T7" fmla="*/ 2147483647 h 18"/>
                    <a:gd name="T8" fmla="*/ 2147483647 w 44"/>
                    <a:gd name="T9" fmla="*/ 2147483647 h 18"/>
                    <a:gd name="T10" fmla="*/ 2147483647 w 44"/>
                    <a:gd name="T11" fmla="*/ 2147483647 h 18"/>
                    <a:gd name="T12" fmla="*/ 2147483647 w 44"/>
                    <a:gd name="T13" fmla="*/ 0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8"/>
                    <a:gd name="T23" fmla="*/ 44 w 44"/>
                    <a:gd name="T24" fmla="*/ 18 h 1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8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44" y="18"/>
                      </a:lnTo>
                      <a:lnTo>
                        <a:pt x="44" y="9"/>
                      </a:lnTo>
                      <a:lnTo>
                        <a:pt x="26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2" name="Freeform 112"/>
                <p:cNvSpPr>
                  <a:spLocks/>
                </p:cNvSpPr>
                <p:nvPr/>
              </p:nvSpPr>
              <p:spPr bwMode="auto">
                <a:xfrm>
                  <a:off x="2119314" y="3248026"/>
                  <a:ext cx="263525" cy="96838"/>
                </a:xfrm>
                <a:custGeom>
                  <a:avLst/>
                  <a:gdLst>
                    <a:gd name="T0" fmla="*/ 2147483647 w 166"/>
                    <a:gd name="T1" fmla="*/ 2147483647 h 61"/>
                    <a:gd name="T2" fmla="*/ 2147483647 w 166"/>
                    <a:gd name="T3" fmla="*/ 2147483647 h 61"/>
                    <a:gd name="T4" fmla="*/ 2147483647 w 166"/>
                    <a:gd name="T5" fmla="*/ 2147483647 h 61"/>
                    <a:gd name="T6" fmla="*/ 2147483647 w 166"/>
                    <a:gd name="T7" fmla="*/ 2147483647 h 61"/>
                    <a:gd name="T8" fmla="*/ 2147483647 w 166"/>
                    <a:gd name="T9" fmla="*/ 2147483647 h 61"/>
                    <a:gd name="T10" fmla="*/ 2147483647 w 166"/>
                    <a:gd name="T11" fmla="*/ 0 h 61"/>
                    <a:gd name="T12" fmla="*/ 2147483647 w 166"/>
                    <a:gd name="T13" fmla="*/ 2147483647 h 61"/>
                    <a:gd name="T14" fmla="*/ 0 w 166"/>
                    <a:gd name="T15" fmla="*/ 2147483647 h 61"/>
                    <a:gd name="T16" fmla="*/ 2147483647 w 166"/>
                    <a:gd name="T17" fmla="*/ 2147483647 h 61"/>
                    <a:gd name="T18" fmla="*/ 2147483647 w 166"/>
                    <a:gd name="T19" fmla="*/ 2147483647 h 61"/>
                    <a:gd name="T20" fmla="*/ 2147483647 w 166"/>
                    <a:gd name="T21" fmla="*/ 2147483647 h 61"/>
                    <a:gd name="T22" fmla="*/ 2147483647 w 166"/>
                    <a:gd name="T23" fmla="*/ 2147483647 h 61"/>
                    <a:gd name="T24" fmla="*/ 2147483647 w 166"/>
                    <a:gd name="T25" fmla="*/ 2147483647 h 61"/>
                    <a:gd name="T26" fmla="*/ 2147483647 w 166"/>
                    <a:gd name="T27" fmla="*/ 2147483647 h 61"/>
                    <a:gd name="T28" fmla="*/ 2147483647 w 166"/>
                    <a:gd name="T29" fmla="*/ 2147483647 h 61"/>
                    <a:gd name="T30" fmla="*/ 2147483647 w 166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66"/>
                    <a:gd name="T49" fmla="*/ 0 h 61"/>
                    <a:gd name="T50" fmla="*/ 166 w 166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66" h="61">
                      <a:moveTo>
                        <a:pt x="157" y="61"/>
                      </a:moveTo>
                      <a:lnTo>
                        <a:pt x="166" y="52"/>
                      </a:lnTo>
                      <a:lnTo>
                        <a:pt x="105" y="17"/>
                      </a:lnTo>
                      <a:lnTo>
                        <a:pt x="87" y="17"/>
                      </a:lnTo>
                      <a:lnTo>
                        <a:pt x="79" y="8"/>
                      </a:lnTo>
                      <a:lnTo>
                        <a:pt x="35" y="0"/>
                      </a:lnTo>
                      <a:lnTo>
                        <a:pt x="18" y="8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35" y="17"/>
                      </a:lnTo>
                      <a:lnTo>
                        <a:pt x="53" y="17"/>
                      </a:lnTo>
                      <a:lnTo>
                        <a:pt x="53" y="26"/>
                      </a:lnTo>
                      <a:lnTo>
                        <a:pt x="79" y="26"/>
                      </a:lnTo>
                      <a:lnTo>
                        <a:pt x="122" y="52"/>
                      </a:lnTo>
                      <a:lnTo>
                        <a:pt x="122" y="61"/>
                      </a:lnTo>
                      <a:lnTo>
                        <a:pt x="157" y="61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3" name="Freeform 113"/>
                <p:cNvSpPr>
                  <a:spLocks/>
                </p:cNvSpPr>
                <p:nvPr/>
              </p:nvSpPr>
              <p:spPr bwMode="auto">
                <a:xfrm>
                  <a:off x="2119314" y="3248026"/>
                  <a:ext cx="263525" cy="96838"/>
                </a:xfrm>
                <a:custGeom>
                  <a:avLst/>
                  <a:gdLst>
                    <a:gd name="T0" fmla="*/ 2147483647 w 166"/>
                    <a:gd name="T1" fmla="*/ 2147483647 h 61"/>
                    <a:gd name="T2" fmla="*/ 2147483647 w 166"/>
                    <a:gd name="T3" fmla="*/ 2147483647 h 61"/>
                    <a:gd name="T4" fmla="*/ 2147483647 w 166"/>
                    <a:gd name="T5" fmla="*/ 2147483647 h 61"/>
                    <a:gd name="T6" fmla="*/ 2147483647 w 166"/>
                    <a:gd name="T7" fmla="*/ 2147483647 h 61"/>
                    <a:gd name="T8" fmla="*/ 2147483647 w 166"/>
                    <a:gd name="T9" fmla="*/ 2147483647 h 61"/>
                    <a:gd name="T10" fmla="*/ 2147483647 w 166"/>
                    <a:gd name="T11" fmla="*/ 0 h 61"/>
                    <a:gd name="T12" fmla="*/ 2147483647 w 166"/>
                    <a:gd name="T13" fmla="*/ 2147483647 h 61"/>
                    <a:gd name="T14" fmla="*/ 0 w 166"/>
                    <a:gd name="T15" fmla="*/ 2147483647 h 61"/>
                    <a:gd name="T16" fmla="*/ 2147483647 w 166"/>
                    <a:gd name="T17" fmla="*/ 2147483647 h 61"/>
                    <a:gd name="T18" fmla="*/ 2147483647 w 166"/>
                    <a:gd name="T19" fmla="*/ 2147483647 h 61"/>
                    <a:gd name="T20" fmla="*/ 2147483647 w 166"/>
                    <a:gd name="T21" fmla="*/ 2147483647 h 61"/>
                    <a:gd name="T22" fmla="*/ 2147483647 w 166"/>
                    <a:gd name="T23" fmla="*/ 2147483647 h 61"/>
                    <a:gd name="T24" fmla="*/ 2147483647 w 166"/>
                    <a:gd name="T25" fmla="*/ 2147483647 h 61"/>
                    <a:gd name="T26" fmla="*/ 2147483647 w 166"/>
                    <a:gd name="T27" fmla="*/ 2147483647 h 61"/>
                    <a:gd name="T28" fmla="*/ 2147483647 w 166"/>
                    <a:gd name="T29" fmla="*/ 2147483647 h 61"/>
                    <a:gd name="T30" fmla="*/ 2147483647 w 166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66"/>
                    <a:gd name="T49" fmla="*/ 0 h 61"/>
                    <a:gd name="T50" fmla="*/ 166 w 166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66" h="61">
                      <a:moveTo>
                        <a:pt x="157" y="61"/>
                      </a:moveTo>
                      <a:lnTo>
                        <a:pt x="166" y="52"/>
                      </a:lnTo>
                      <a:lnTo>
                        <a:pt x="105" y="17"/>
                      </a:lnTo>
                      <a:lnTo>
                        <a:pt x="87" y="17"/>
                      </a:lnTo>
                      <a:lnTo>
                        <a:pt x="79" y="8"/>
                      </a:lnTo>
                      <a:lnTo>
                        <a:pt x="35" y="0"/>
                      </a:lnTo>
                      <a:lnTo>
                        <a:pt x="18" y="8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35" y="17"/>
                      </a:lnTo>
                      <a:lnTo>
                        <a:pt x="53" y="17"/>
                      </a:lnTo>
                      <a:lnTo>
                        <a:pt x="53" y="26"/>
                      </a:lnTo>
                      <a:lnTo>
                        <a:pt x="79" y="26"/>
                      </a:lnTo>
                      <a:lnTo>
                        <a:pt x="122" y="52"/>
                      </a:lnTo>
                      <a:lnTo>
                        <a:pt x="122" y="61"/>
                      </a:lnTo>
                      <a:lnTo>
                        <a:pt x="157" y="61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4" name="Freeform 114"/>
                <p:cNvSpPr>
                  <a:spLocks/>
                </p:cNvSpPr>
                <p:nvPr/>
              </p:nvSpPr>
              <p:spPr bwMode="auto">
                <a:xfrm>
                  <a:off x="2160589" y="3289301"/>
                  <a:ext cx="14288" cy="26988"/>
                </a:xfrm>
                <a:custGeom>
                  <a:avLst/>
                  <a:gdLst>
                    <a:gd name="T0" fmla="*/ 0 w 9"/>
                    <a:gd name="T1" fmla="*/ 0 h 17"/>
                    <a:gd name="T2" fmla="*/ 0 w 9"/>
                    <a:gd name="T3" fmla="*/ 2147483647 h 17"/>
                    <a:gd name="T4" fmla="*/ 2147483647 w 9"/>
                    <a:gd name="T5" fmla="*/ 2147483647 h 17"/>
                    <a:gd name="T6" fmla="*/ 2147483647 w 9"/>
                    <a:gd name="T7" fmla="*/ 0 h 17"/>
                    <a:gd name="T8" fmla="*/ 0 w 9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7"/>
                    <a:gd name="T17" fmla="*/ 9 w 9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5" name="Freeform 115"/>
                <p:cNvSpPr>
                  <a:spLocks/>
                </p:cNvSpPr>
                <p:nvPr/>
              </p:nvSpPr>
              <p:spPr bwMode="auto">
                <a:xfrm>
                  <a:off x="2160589" y="3289301"/>
                  <a:ext cx="14288" cy="26988"/>
                </a:xfrm>
                <a:custGeom>
                  <a:avLst/>
                  <a:gdLst>
                    <a:gd name="T0" fmla="*/ 0 w 9"/>
                    <a:gd name="T1" fmla="*/ 0 h 17"/>
                    <a:gd name="T2" fmla="*/ 0 w 9"/>
                    <a:gd name="T3" fmla="*/ 2147483647 h 17"/>
                    <a:gd name="T4" fmla="*/ 2147483647 w 9"/>
                    <a:gd name="T5" fmla="*/ 2147483647 h 17"/>
                    <a:gd name="T6" fmla="*/ 2147483647 w 9"/>
                    <a:gd name="T7" fmla="*/ 0 h 17"/>
                    <a:gd name="T8" fmla="*/ 0 w 9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7"/>
                    <a:gd name="T17" fmla="*/ 9 w 9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6" name="Freeform 116"/>
                <p:cNvSpPr>
                  <a:spLocks/>
                </p:cNvSpPr>
                <p:nvPr/>
              </p:nvSpPr>
              <p:spPr bwMode="auto">
                <a:xfrm>
                  <a:off x="2382839" y="3344863"/>
                  <a:ext cx="82550" cy="55563"/>
                </a:xfrm>
                <a:custGeom>
                  <a:avLst/>
                  <a:gdLst>
                    <a:gd name="T0" fmla="*/ 2147483647 w 52"/>
                    <a:gd name="T1" fmla="*/ 0 h 35"/>
                    <a:gd name="T2" fmla="*/ 2147483647 w 52"/>
                    <a:gd name="T3" fmla="*/ 2147483647 h 35"/>
                    <a:gd name="T4" fmla="*/ 2147483647 w 52"/>
                    <a:gd name="T5" fmla="*/ 2147483647 h 35"/>
                    <a:gd name="T6" fmla="*/ 0 w 52"/>
                    <a:gd name="T7" fmla="*/ 2147483647 h 35"/>
                    <a:gd name="T8" fmla="*/ 0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2147483647 w 52"/>
                    <a:gd name="T15" fmla="*/ 0 h 35"/>
                    <a:gd name="T16" fmla="*/ 2147483647 w 52"/>
                    <a:gd name="T17" fmla="*/ 0 h 3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35"/>
                    <a:gd name="T29" fmla="*/ 52 w 52"/>
                    <a:gd name="T30" fmla="*/ 35 h 3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35">
                      <a:moveTo>
                        <a:pt x="9" y="0"/>
                      </a:moveTo>
                      <a:lnTo>
                        <a:pt x="26" y="8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35"/>
                      </a:lnTo>
                      <a:lnTo>
                        <a:pt x="35" y="35"/>
                      </a:lnTo>
                      <a:lnTo>
                        <a:pt x="52" y="17"/>
                      </a:lnTo>
                      <a:lnTo>
                        <a:pt x="44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7" name="Freeform 117"/>
                <p:cNvSpPr>
                  <a:spLocks/>
                </p:cNvSpPr>
                <p:nvPr/>
              </p:nvSpPr>
              <p:spPr bwMode="auto">
                <a:xfrm>
                  <a:off x="2382839" y="3344863"/>
                  <a:ext cx="82550" cy="55563"/>
                </a:xfrm>
                <a:custGeom>
                  <a:avLst/>
                  <a:gdLst>
                    <a:gd name="T0" fmla="*/ 2147483647 w 52"/>
                    <a:gd name="T1" fmla="*/ 0 h 35"/>
                    <a:gd name="T2" fmla="*/ 2147483647 w 52"/>
                    <a:gd name="T3" fmla="*/ 2147483647 h 35"/>
                    <a:gd name="T4" fmla="*/ 2147483647 w 52"/>
                    <a:gd name="T5" fmla="*/ 2147483647 h 35"/>
                    <a:gd name="T6" fmla="*/ 0 w 52"/>
                    <a:gd name="T7" fmla="*/ 2147483647 h 35"/>
                    <a:gd name="T8" fmla="*/ 0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2147483647 w 52"/>
                    <a:gd name="T15" fmla="*/ 0 h 35"/>
                    <a:gd name="T16" fmla="*/ 2147483647 w 52"/>
                    <a:gd name="T17" fmla="*/ 0 h 3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35"/>
                    <a:gd name="T29" fmla="*/ 52 w 52"/>
                    <a:gd name="T30" fmla="*/ 35 h 3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35">
                      <a:moveTo>
                        <a:pt x="9" y="0"/>
                      </a:moveTo>
                      <a:lnTo>
                        <a:pt x="26" y="8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35"/>
                      </a:lnTo>
                      <a:lnTo>
                        <a:pt x="35" y="35"/>
                      </a:lnTo>
                      <a:lnTo>
                        <a:pt x="52" y="17"/>
                      </a:lnTo>
                      <a:lnTo>
                        <a:pt x="44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8" name="Freeform 154"/>
                <p:cNvSpPr>
                  <a:spLocks/>
                </p:cNvSpPr>
                <p:nvPr/>
              </p:nvSpPr>
              <p:spPr bwMode="auto">
                <a:xfrm>
                  <a:off x="3116264" y="1643063"/>
                  <a:ext cx="1038225" cy="552450"/>
                </a:xfrm>
                <a:custGeom>
                  <a:avLst/>
                  <a:gdLst>
                    <a:gd name="T0" fmla="*/ 2147483647 w 654"/>
                    <a:gd name="T1" fmla="*/ 2147483647 h 348"/>
                    <a:gd name="T2" fmla="*/ 2147483647 w 654"/>
                    <a:gd name="T3" fmla="*/ 2147483647 h 348"/>
                    <a:gd name="T4" fmla="*/ 2147483647 w 654"/>
                    <a:gd name="T5" fmla="*/ 2147483647 h 348"/>
                    <a:gd name="T6" fmla="*/ 2147483647 w 654"/>
                    <a:gd name="T7" fmla="*/ 2147483647 h 348"/>
                    <a:gd name="T8" fmla="*/ 2147483647 w 654"/>
                    <a:gd name="T9" fmla="*/ 2147483647 h 348"/>
                    <a:gd name="T10" fmla="*/ 2147483647 w 654"/>
                    <a:gd name="T11" fmla="*/ 0 h 348"/>
                    <a:gd name="T12" fmla="*/ 2147483647 w 654"/>
                    <a:gd name="T13" fmla="*/ 2147483647 h 348"/>
                    <a:gd name="T14" fmla="*/ 2147483647 w 654"/>
                    <a:gd name="T15" fmla="*/ 2147483647 h 348"/>
                    <a:gd name="T16" fmla="*/ 2147483647 w 654"/>
                    <a:gd name="T17" fmla="*/ 2147483647 h 348"/>
                    <a:gd name="T18" fmla="*/ 2147483647 w 654"/>
                    <a:gd name="T19" fmla="*/ 2147483647 h 348"/>
                    <a:gd name="T20" fmla="*/ 2147483647 w 654"/>
                    <a:gd name="T21" fmla="*/ 2147483647 h 348"/>
                    <a:gd name="T22" fmla="*/ 2147483647 w 654"/>
                    <a:gd name="T23" fmla="*/ 2147483647 h 348"/>
                    <a:gd name="T24" fmla="*/ 2147483647 w 654"/>
                    <a:gd name="T25" fmla="*/ 2147483647 h 348"/>
                    <a:gd name="T26" fmla="*/ 2147483647 w 654"/>
                    <a:gd name="T27" fmla="*/ 2147483647 h 348"/>
                    <a:gd name="T28" fmla="*/ 2147483647 w 654"/>
                    <a:gd name="T29" fmla="*/ 2147483647 h 348"/>
                    <a:gd name="T30" fmla="*/ 0 w 654"/>
                    <a:gd name="T31" fmla="*/ 2147483647 h 348"/>
                    <a:gd name="T32" fmla="*/ 0 w 654"/>
                    <a:gd name="T33" fmla="*/ 2147483647 h 348"/>
                    <a:gd name="T34" fmla="*/ 2147483647 w 654"/>
                    <a:gd name="T35" fmla="*/ 2147483647 h 348"/>
                    <a:gd name="T36" fmla="*/ 2147483647 w 654"/>
                    <a:gd name="T37" fmla="*/ 2147483647 h 348"/>
                    <a:gd name="T38" fmla="*/ 2147483647 w 654"/>
                    <a:gd name="T39" fmla="*/ 2147483647 h 348"/>
                    <a:gd name="T40" fmla="*/ 2147483647 w 654"/>
                    <a:gd name="T41" fmla="*/ 2147483647 h 348"/>
                    <a:gd name="T42" fmla="*/ 2147483647 w 654"/>
                    <a:gd name="T43" fmla="*/ 2147483647 h 348"/>
                    <a:gd name="T44" fmla="*/ 2147483647 w 654"/>
                    <a:gd name="T45" fmla="*/ 2147483647 h 348"/>
                    <a:gd name="T46" fmla="*/ 2147483647 w 654"/>
                    <a:gd name="T47" fmla="*/ 2147483647 h 348"/>
                    <a:gd name="T48" fmla="*/ 2147483647 w 654"/>
                    <a:gd name="T49" fmla="*/ 2147483647 h 348"/>
                    <a:gd name="T50" fmla="*/ 2147483647 w 654"/>
                    <a:gd name="T51" fmla="*/ 2147483647 h 348"/>
                    <a:gd name="T52" fmla="*/ 2147483647 w 654"/>
                    <a:gd name="T53" fmla="*/ 2147483647 h 348"/>
                    <a:gd name="T54" fmla="*/ 2147483647 w 654"/>
                    <a:gd name="T55" fmla="*/ 2147483647 h 348"/>
                    <a:gd name="T56" fmla="*/ 2147483647 w 654"/>
                    <a:gd name="T57" fmla="*/ 2147483647 h 348"/>
                    <a:gd name="T58" fmla="*/ 2147483647 w 654"/>
                    <a:gd name="T59" fmla="*/ 2147483647 h 348"/>
                    <a:gd name="T60" fmla="*/ 2147483647 w 654"/>
                    <a:gd name="T61" fmla="*/ 2147483647 h 348"/>
                    <a:gd name="T62" fmla="*/ 2147483647 w 654"/>
                    <a:gd name="T63" fmla="*/ 2147483647 h 348"/>
                    <a:gd name="T64" fmla="*/ 2147483647 w 654"/>
                    <a:gd name="T65" fmla="*/ 2147483647 h 348"/>
                    <a:gd name="T66" fmla="*/ 2147483647 w 654"/>
                    <a:gd name="T67" fmla="*/ 2147483647 h 348"/>
                    <a:gd name="T68" fmla="*/ 2147483647 w 654"/>
                    <a:gd name="T69" fmla="*/ 2147483647 h 348"/>
                    <a:gd name="T70" fmla="*/ 2147483647 w 654"/>
                    <a:gd name="T71" fmla="*/ 2147483647 h 348"/>
                    <a:gd name="T72" fmla="*/ 2147483647 w 654"/>
                    <a:gd name="T73" fmla="*/ 2147483647 h 348"/>
                    <a:gd name="T74" fmla="*/ 2147483647 w 654"/>
                    <a:gd name="T75" fmla="*/ 2147483647 h 348"/>
                    <a:gd name="T76" fmla="*/ 2147483647 w 654"/>
                    <a:gd name="T77" fmla="*/ 2147483647 h 348"/>
                    <a:gd name="T78" fmla="*/ 2147483647 w 654"/>
                    <a:gd name="T79" fmla="*/ 2147483647 h 348"/>
                    <a:gd name="T80" fmla="*/ 2147483647 w 654"/>
                    <a:gd name="T81" fmla="*/ 2147483647 h 348"/>
                    <a:gd name="T82" fmla="*/ 2147483647 w 654"/>
                    <a:gd name="T83" fmla="*/ 2147483647 h 348"/>
                    <a:gd name="T84" fmla="*/ 2147483647 w 654"/>
                    <a:gd name="T85" fmla="*/ 2147483647 h 348"/>
                    <a:gd name="T86" fmla="*/ 2147483647 w 654"/>
                    <a:gd name="T87" fmla="*/ 2147483647 h 348"/>
                    <a:gd name="T88" fmla="*/ 2147483647 w 654"/>
                    <a:gd name="T89" fmla="*/ 2147483647 h 348"/>
                    <a:gd name="T90" fmla="*/ 2147483647 w 654"/>
                    <a:gd name="T91" fmla="*/ 2147483647 h 348"/>
                    <a:gd name="T92" fmla="*/ 2147483647 w 654"/>
                    <a:gd name="T93" fmla="*/ 2147483647 h 348"/>
                    <a:gd name="T94" fmla="*/ 2147483647 w 654"/>
                    <a:gd name="T95" fmla="*/ 2147483647 h 348"/>
                    <a:gd name="T96" fmla="*/ 2147483647 w 654"/>
                    <a:gd name="T97" fmla="*/ 2147483647 h 348"/>
                    <a:gd name="T98" fmla="*/ 2147483647 w 654"/>
                    <a:gd name="T99" fmla="*/ 2147483647 h 348"/>
                    <a:gd name="T100" fmla="*/ 2147483647 w 654"/>
                    <a:gd name="T101" fmla="*/ 2147483647 h 348"/>
                    <a:gd name="T102" fmla="*/ 2147483647 w 654"/>
                    <a:gd name="T103" fmla="*/ 2147483647 h 348"/>
                    <a:gd name="T104" fmla="*/ 2147483647 w 654"/>
                    <a:gd name="T105" fmla="*/ 2147483647 h 348"/>
                    <a:gd name="T106" fmla="*/ 2147483647 w 654"/>
                    <a:gd name="T107" fmla="*/ 2147483647 h 348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654"/>
                    <a:gd name="T163" fmla="*/ 0 h 348"/>
                    <a:gd name="T164" fmla="*/ 654 w 654"/>
                    <a:gd name="T165" fmla="*/ 348 h 348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654" h="348">
                      <a:moveTo>
                        <a:pt x="654" y="26"/>
                      </a:moveTo>
                      <a:lnTo>
                        <a:pt x="628" y="17"/>
                      </a:lnTo>
                      <a:lnTo>
                        <a:pt x="541" y="35"/>
                      </a:lnTo>
                      <a:lnTo>
                        <a:pt x="549" y="8"/>
                      </a:lnTo>
                      <a:lnTo>
                        <a:pt x="523" y="17"/>
                      </a:lnTo>
                      <a:lnTo>
                        <a:pt x="515" y="35"/>
                      </a:lnTo>
                      <a:lnTo>
                        <a:pt x="515" y="17"/>
                      </a:lnTo>
                      <a:lnTo>
                        <a:pt x="453" y="26"/>
                      </a:lnTo>
                      <a:lnTo>
                        <a:pt x="497" y="8"/>
                      </a:lnTo>
                      <a:lnTo>
                        <a:pt x="427" y="8"/>
                      </a:lnTo>
                      <a:lnTo>
                        <a:pt x="427" y="0"/>
                      </a:lnTo>
                      <a:lnTo>
                        <a:pt x="392" y="0"/>
                      </a:lnTo>
                      <a:lnTo>
                        <a:pt x="384" y="8"/>
                      </a:lnTo>
                      <a:lnTo>
                        <a:pt x="358" y="8"/>
                      </a:lnTo>
                      <a:lnTo>
                        <a:pt x="358" y="0"/>
                      </a:lnTo>
                      <a:lnTo>
                        <a:pt x="314" y="8"/>
                      </a:lnTo>
                      <a:lnTo>
                        <a:pt x="340" y="17"/>
                      </a:lnTo>
                      <a:lnTo>
                        <a:pt x="314" y="26"/>
                      </a:lnTo>
                      <a:lnTo>
                        <a:pt x="305" y="17"/>
                      </a:lnTo>
                      <a:lnTo>
                        <a:pt x="270" y="17"/>
                      </a:lnTo>
                      <a:lnTo>
                        <a:pt x="262" y="26"/>
                      </a:lnTo>
                      <a:lnTo>
                        <a:pt x="244" y="26"/>
                      </a:lnTo>
                      <a:lnTo>
                        <a:pt x="227" y="26"/>
                      </a:lnTo>
                      <a:lnTo>
                        <a:pt x="227" y="17"/>
                      </a:lnTo>
                      <a:lnTo>
                        <a:pt x="174" y="8"/>
                      </a:lnTo>
                      <a:lnTo>
                        <a:pt x="183" y="26"/>
                      </a:lnTo>
                      <a:lnTo>
                        <a:pt x="140" y="26"/>
                      </a:lnTo>
                      <a:lnTo>
                        <a:pt x="96" y="35"/>
                      </a:lnTo>
                      <a:lnTo>
                        <a:pt x="105" y="52"/>
                      </a:lnTo>
                      <a:lnTo>
                        <a:pt x="79" y="52"/>
                      </a:lnTo>
                      <a:lnTo>
                        <a:pt x="0" y="61"/>
                      </a:lnTo>
                      <a:lnTo>
                        <a:pt x="0" y="69"/>
                      </a:lnTo>
                      <a:lnTo>
                        <a:pt x="61" y="78"/>
                      </a:lnTo>
                      <a:lnTo>
                        <a:pt x="0" y="87"/>
                      </a:lnTo>
                      <a:lnTo>
                        <a:pt x="18" y="104"/>
                      </a:lnTo>
                      <a:lnTo>
                        <a:pt x="52" y="96"/>
                      </a:lnTo>
                      <a:lnTo>
                        <a:pt x="87" y="96"/>
                      </a:lnTo>
                      <a:lnTo>
                        <a:pt x="140" y="113"/>
                      </a:lnTo>
                      <a:lnTo>
                        <a:pt x="140" y="139"/>
                      </a:lnTo>
                      <a:lnTo>
                        <a:pt x="122" y="148"/>
                      </a:lnTo>
                      <a:lnTo>
                        <a:pt x="122" y="174"/>
                      </a:lnTo>
                      <a:lnTo>
                        <a:pt x="140" y="157"/>
                      </a:lnTo>
                      <a:lnTo>
                        <a:pt x="140" y="148"/>
                      </a:lnTo>
                      <a:lnTo>
                        <a:pt x="148" y="165"/>
                      </a:lnTo>
                      <a:lnTo>
                        <a:pt x="166" y="174"/>
                      </a:lnTo>
                      <a:lnTo>
                        <a:pt x="157" y="183"/>
                      </a:lnTo>
                      <a:lnTo>
                        <a:pt x="140" y="174"/>
                      </a:lnTo>
                      <a:lnTo>
                        <a:pt x="140" y="183"/>
                      </a:lnTo>
                      <a:lnTo>
                        <a:pt x="157" y="191"/>
                      </a:lnTo>
                      <a:lnTo>
                        <a:pt x="157" y="200"/>
                      </a:lnTo>
                      <a:lnTo>
                        <a:pt x="131" y="200"/>
                      </a:lnTo>
                      <a:lnTo>
                        <a:pt x="122" y="226"/>
                      </a:lnTo>
                      <a:lnTo>
                        <a:pt x="105" y="235"/>
                      </a:lnTo>
                      <a:lnTo>
                        <a:pt x="105" y="252"/>
                      </a:lnTo>
                      <a:lnTo>
                        <a:pt x="96" y="252"/>
                      </a:lnTo>
                      <a:lnTo>
                        <a:pt x="113" y="270"/>
                      </a:lnTo>
                      <a:lnTo>
                        <a:pt x="96" y="270"/>
                      </a:lnTo>
                      <a:lnTo>
                        <a:pt x="113" y="279"/>
                      </a:lnTo>
                      <a:lnTo>
                        <a:pt x="105" y="287"/>
                      </a:lnTo>
                      <a:lnTo>
                        <a:pt x="122" y="287"/>
                      </a:lnTo>
                      <a:lnTo>
                        <a:pt x="122" y="305"/>
                      </a:lnTo>
                      <a:lnTo>
                        <a:pt x="140" y="322"/>
                      </a:lnTo>
                      <a:lnTo>
                        <a:pt x="148" y="331"/>
                      </a:lnTo>
                      <a:lnTo>
                        <a:pt x="166" y="331"/>
                      </a:lnTo>
                      <a:lnTo>
                        <a:pt x="183" y="348"/>
                      </a:lnTo>
                      <a:lnTo>
                        <a:pt x="192" y="348"/>
                      </a:lnTo>
                      <a:lnTo>
                        <a:pt x="218" y="322"/>
                      </a:lnTo>
                      <a:lnTo>
                        <a:pt x="218" y="305"/>
                      </a:lnTo>
                      <a:lnTo>
                        <a:pt x="244" y="287"/>
                      </a:lnTo>
                      <a:lnTo>
                        <a:pt x="262" y="270"/>
                      </a:lnTo>
                      <a:lnTo>
                        <a:pt x="253" y="252"/>
                      </a:lnTo>
                      <a:lnTo>
                        <a:pt x="297" y="252"/>
                      </a:lnTo>
                      <a:lnTo>
                        <a:pt x="349" y="244"/>
                      </a:lnTo>
                      <a:lnTo>
                        <a:pt x="358" y="218"/>
                      </a:lnTo>
                      <a:lnTo>
                        <a:pt x="401" y="218"/>
                      </a:lnTo>
                      <a:lnTo>
                        <a:pt x="515" y="183"/>
                      </a:lnTo>
                      <a:lnTo>
                        <a:pt x="488" y="183"/>
                      </a:lnTo>
                      <a:lnTo>
                        <a:pt x="445" y="183"/>
                      </a:lnTo>
                      <a:lnTo>
                        <a:pt x="436" y="174"/>
                      </a:lnTo>
                      <a:lnTo>
                        <a:pt x="471" y="174"/>
                      </a:lnTo>
                      <a:lnTo>
                        <a:pt x="445" y="157"/>
                      </a:lnTo>
                      <a:lnTo>
                        <a:pt x="488" y="157"/>
                      </a:lnTo>
                      <a:lnTo>
                        <a:pt x="488" y="174"/>
                      </a:lnTo>
                      <a:lnTo>
                        <a:pt x="506" y="174"/>
                      </a:lnTo>
                      <a:lnTo>
                        <a:pt x="515" y="183"/>
                      </a:lnTo>
                      <a:lnTo>
                        <a:pt x="523" y="174"/>
                      </a:lnTo>
                      <a:lnTo>
                        <a:pt x="515" y="157"/>
                      </a:lnTo>
                      <a:lnTo>
                        <a:pt x="497" y="148"/>
                      </a:lnTo>
                      <a:lnTo>
                        <a:pt x="480" y="139"/>
                      </a:lnTo>
                      <a:lnTo>
                        <a:pt x="506" y="139"/>
                      </a:lnTo>
                      <a:lnTo>
                        <a:pt x="523" y="148"/>
                      </a:lnTo>
                      <a:lnTo>
                        <a:pt x="515" y="130"/>
                      </a:lnTo>
                      <a:lnTo>
                        <a:pt x="532" y="130"/>
                      </a:lnTo>
                      <a:lnTo>
                        <a:pt x="541" y="122"/>
                      </a:lnTo>
                      <a:lnTo>
                        <a:pt x="532" y="122"/>
                      </a:lnTo>
                      <a:lnTo>
                        <a:pt x="549" y="122"/>
                      </a:lnTo>
                      <a:lnTo>
                        <a:pt x="541" y="104"/>
                      </a:lnTo>
                      <a:lnTo>
                        <a:pt x="558" y="104"/>
                      </a:lnTo>
                      <a:lnTo>
                        <a:pt x="541" y="87"/>
                      </a:lnTo>
                      <a:lnTo>
                        <a:pt x="558" y="87"/>
                      </a:lnTo>
                      <a:lnTo>
                        <a:pt x="567" y="104"/>
                      </a:lnTo>
                      <a:lnTo>
                        <a:pt x="567" y="113"/>
                      </a:lnTo>
                      <a:lnTo>
                        <a:pt x="584" y="113"/>
                      </a:lnTo>
                      <a:lnTo>
                        <a:pt x="576" y="96"/>
                      </a:lnTo>
                      <a:lnTo>
                        <a:pt x="584" y="69"/>
                      </a:lnTo>
                      <a:lnTo>
                        <a:pt x="541" y="69"/>
                      </a:lnTo>
                      <a:lnTo>
                        <a:pt x="567" y="52"/>
                      </a:lnTo>
                      <a:lnTo>
                        <a:pt x="576" y="43"/>
                      </a:lnTo>
                      <a:lnTo>
                        <a:pt x="654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9" name="Freeform 155"/>
                <p:cNvSpPr>
                  <a:spLocks/>
                </p:cNvSpPr>
                <p:nvPr/>
              </p:nvSpPr>
              <p:spPr bwMode="auto">
                <a:xfrm>
                  <a:off x="3116264" y="1643063"/>
                  <a:ext cx="1038225" cy="552450"/>
                </a:xfrm>
                <a:custGeom>
                  <a:avLst/>
                  <a:gdLst>
                    <a:gd name="T0" fmla="*/ 2147483647 w 654"/>
                    <a:gd name="T1" fmla="*/ 2147483647 h 348"/>
                    <a:gd name="T2" fmla="*/ 2147483647 w 654"/>
                    <a:gd name="T3" fmla="*/ 2147483647 h 348"/>
                    <a:gd name="T4" fmla="*/ 2147483647 w 654"/>
                    <a:gd name="T5" fmla="*/ 2147483647 h 348"/>
                    <a:gd name="T6" fmla="*/ 2147483647 w 654"/>
                    <a:gd name="T7" fmla="*/ 2147483647 h 348"/>
                    <a:gd name="T8" fmla="*/ 2147483647 w 654"/>
                    <a:gd name="T9" fmla="*/ 2147483647 h 348"/>
                    <a:gd name="T10" fmla="*/ 2147483647 w 654"/>
                    <a:gd name="T11" fmla="*/ 0 h 348"/>
                    <a:gd name="T12" fmla="*/ 2147483647 w 654"/>
                    <a:gd name="T13" fmla="*/ 2147483647 h 348"/>
                    <a:gd name="T14" fmla="*/ 2147483647 w 654"/>
                    <a:gd name="T15" fmla="*/ 2147483647 h 348"/>
                    <a:gd name="T16" fmla="*/ 2147483647 w 654"/>
                    <a:gd name="T17" fmla="*/ 2147483647 h 348"/>
                    <a:gd name="T18" fmla="*/ 2147483647 w 654"/>
                    <a:gd name="T19" fmla="*/ 2147483647 h 348"/>
                    <a:gd name="T20" fmla="*/ 2147483647 w 654"/>
                    <a:gd name="T21" fmla="*/ 2147483647 h 348"/>
                    <a:gd name="T22" fmla="*/ 2147483647 w 654"/>
                    <a:gd name="T23" fmla="*/ 2147483647 h 348"/>
                    <a:gd name="T24" fmla="*/ 2147483647 w 654"/>
                    <a:gd name="T25" fmla="*/ 2147483647 h 348"/>
                    <a:gd name="T26" fmla="*/ 2147483647 w 654"/>
                    <a:gd name="T27" fmla="*/ 2147483647 h 348"/>
                    <a:gd name="T28" fmla="*/ 2147483647 w 654"/>
                    <a:gd name="T29" fmla="*/ 2147483647 h 348"/>
                    <a:gd name="T30" fmla="*/ 0 w 654"/>
                    <a:gd name="T31" fmla="*/ 2147483647 h 348"/>
                    <a:gd name="T32" fmla="*/ 0 w 654"/>
                    <a:gd name="T33" fmla="*/ 2147483647 h 348"/>
                    <a:gd name="T34" fmla="*/ 2147483647 w 654"/>
                    <a:gd name="T35" fmla="*/ 2147483647 h 348"/>
                    <a:gd name="T36" fmla="*/ 2147483647 w 654"/>
                    <a:gd name="T37" fmla="*/ 2147483647 h 348"/>
                    <a:gd name="T38" fmla="*/ 2147483647 w 654"/>
                    <a:gd name="T39" fmla="*/ 2147483647 h 348"/>
                    <a:gd name="T40" fmla="*/ 2147483647 w 654"/>
                    <a:gd name="T41" fmla="*/ 2147483647 h 348"/>
                    <a:gd name="T42" fmla="*/ 2147483647 w 654"/>
                    <a:gd name="T43" fmla="*/ 2147483647 h 348"/>
                    <a:gd name="T44" fmla="*/ 2147483647 w 654"/>
                    <a:gd name="T45" fmla="*/ 2147483647 h 348"/>
                    <a:gd name="T46" fmla="*/ 2147483647 w 654"/>
                    <a:gd name="T47" fmla="*/ 2147483647 h 348"/>
                    <a:gd name="T48" fmla="*/ 2147483647 w 654"/>
                    <a:gd name="T49" fmla="*/ 2147483647 h 348"/>
                    <a:gd name="T50" fmla="*/ 2147483647 w 654"/>
                    <a:gd name="T51" fmla="*/ 2147483647 h 348"/>
                    <a:gd name="T52" fmla="*/ 2147483647 w 654"/>
                    <a:gd name="T53" fmla="*/ 2147483647 h 348"/>
                    <a:gd name="T54" fmla="*/ 2147483647 w 654"/>
                    <a:gd name="T55" fmla="*/ 2147483647 h 348"/>
                    <a:gd name="T56" fmla="*/ 2147483647 w 654"/>
                    <a:gd name="T57" fmla="*/ 2147483647 h 348"/>
                    <a:gd name="T58" fmla="*/ 2147483647 w 654"/>
                    <a:gd name="T59" fmla="*/ 2147483647 h 348"/>
                    <a:gd name="T60" fmla="*/ 2147483647 w 654"/>
                    <a:gd name="T61" fmla="*/ 2147483647 h 348"/>
                    <a:gd name="T62" fmla="*/ 2147483647 w 654"/>
                    <a:gd name="T63" fmla="*/ 2147483647 h 348"/>
                    <a:gd name="T64" fmla="*/ 2147483647 w 654"/>
                    <a:gd name="T65" fmla="*/ 2147483647 h 348"/>
                    <a:gd name="T66" fmla="*/ 2147483647 w 654"/>
                    <a:gd name="T67" fmla="*/ 2147483647 h 348"/>
                    <a:gd name="T68" fmla="*/ 2147483647 w 654"/>
                    <a:gd name="T69" fmla="*/ 2147483647 h 348"/>
                    <a:gd name="T70" fmla="*/ 2147483647 w 654"/>
                    <a:gd name="T71" fmla="*/ 2147483647 h 348"/>
                    <a:gd name="T72" fmla="*/ 2147483647 w 654"/>
                    <a:gd name="T73" fmla="*/ 2147483647 h 348"/>
                    <a:gd name="T74" fmla="*/ 2147483647 w 654"/>
                    <a:gd name="T75" fmla="*/ 2147483647 h 348"/>
                    <a:gd name="T76" fmla="*/ 2147483647 w 654"/>
                    <a:gd name="T77" fmla="*/ 2147483647 h 348"/>
                    <a:gd name="T78" fmla="*/ 2147483647 w 654"/>
                    <a:gd name="T79" fmla="*/ 2147483647 h 348"/>
                    <a:gd name="T80" fmla="*/ 2147483647 w 654"/>
                    <a:gd name="T81" fmla="*/ 2147483647 h 348"/>
                    <a:gd name="T82" fmla="*/ 2147483647 w 654"/>
                    <a:gd name="T83" fmla="*/ 2147483647 h 348"/>
                    <a:gd name="T84" fmla="*/ 2147483647 w 654"/>
                    <a:gd name="T85" fmla="*/ 2147483647 h 348"/>
                    <a:gd name="T86" fmla="*/ 2147483647 w 654"/>
                    <a:gd name="T87" fmla="*/ 2147483647 h 348"/>
                    <a:gd name="T88" fmla="*/ 2147483647 w 654"/>
                    <a:gd name="T89" fmla="*/ 2147483647 h 348"/>
                    <a:gd name="T90" fmla="*/ 2147483647 w 654"/>
                    <a:gd name="T91" fmla="*/ 2147483647 h 348"/>
                    <a:gd name="T92" fmla="*/ 2147483647 w 654"/>
                    <a:gd name="T93" fmla="*/ 2147483647 h 348"/>
                    <a:gd name="T94" fmla="*/ 2147483647 w 654"/>
                    <a:gd name="T95" fmla="*/ 2147483647 h 348"/>
                    <a:gd name="T96" fmla="*/ 2147483647 w 654"/>
                    <a:gd name="T97" fmla="*/ 2147483647 h 348"/>
                    <a:gd name="T98" fmla="*/ 2147483647 w 654"/>
                    <a:gd name="T99" fmla="*/ 2147483647 h 348"/>
                    <a:gd name="T100" fmla="*/ 2147483647 w 654"/>
                    <a:gd name="T101" fmla="*/ 2147483647 h 348"/>
                    <a:gd name="T102" fmla="*/ 2147483647 w 654"/>
                    <a:gd name="T103" fmla="*/ 2147483647 h 348"/>
                    <a:gd name="T104" fmla="*/ 2147483647 w 654"/>
                    <a:gd name="T105" fmla="*/ 2147483647 h 348"/>
                    <a:gd name="T106" fmla="*/ 2147483647 w 654"/>
                    <a:gd name="T107" fmla="*/ 2147483647 h 348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654"/>
                    <a:gd name="T163" fmla="*/ 0 h 348"/>
                    <a:gd name="T164" fmla="*/ 654 w 654"/>
                    <a:gd name="T165" fmla="*/ 348 h 348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654" h="348">
                      <a:moveTo>
                        <a:pt x="654" y="26"/>
                      </a:moveTo>
                      <a:lnTo>
                        <a:pt x="628" y="17"/>
                      </a:lnTo>
                      <a:lnTo>
                        <a:pt x="541" y="35"/>
                      </a:lnTo>
                      <a:lnTo>
                        <a:pt x="549" y="8"/>
                      </a:lnTo>
                      <a:lnTo>
                        <a:pt x="523" y="17"/>
                      </a:lnTo>
                      <a:lnTo>
                        <a:pt x="515" y="35"/>
                      </a:lnTo>
                      <a:lnTo>
                        <a:pt x="515" y="17"/>
                      </a:lnTo>
                      <a:lnTo>
                        <a:pt x="453" y="26"/>
                      </a:lnTo>
                      <a:lnTo>
                        <a:pt x="497" y="8"/>
                      </a:lnTo>
                      <a:lnTo>
                        <a:pt x="427" y="8"/>
                      </a:lnTo>
                      <a:lnTo>
                        <a:pt x="427" y="0"/>
                      </a:lnTo>
                      <a:lnTo>
                        <a:pt x="392" y="0"/>
                      </a:lnTo>
                      <a:lnTo>
                        <a:pt x="384" y="8"/>
                      </a:lnTo>
                      <a:lnTo>
                        <a:pt x="358" y="8"/>
                      </a:lnTo>
                      <a:lnTo>
                        <a:pt x="358" y="0"/>
                      </a:lnTo>
                      <a:lnTo>
                        <a:pt x="314" y="8"/>
                      </a:lnTo>
                      <a:lnTo>
                        <a:pt x="340" y="17"/>
                      </a:lnTo>
                      <a:lnTo>
                        <a:pt x="314" y="26"/>
                      </a:lnTo>
                      <a:lnTo>
                        <a:pt x="305" y="17"/>
                      </a:lnTo>
                      <a:lnTo>
                        <a:pt x="270" y="17"/>
                      </a:lnTo>
                      <a:lnTo>
                        <a:pt x="262" y="26"/>
                      </a:lnTo>
                      <a:lnTo>
                        <a:pt x="244" y="26"/>
                      </a:lnTo>
                      <a:lnTo>
                        <a:pt x="227" y="26"/>
                      </a:lnTo>
                      <a:lnTo>
                        <a:pt x="227" y="17"/>
                      </a:lnTo>
                      <a:lnTo>
                        <a:pt x="174" y="8"/>
                      </a:lnTo>
                      <a:lnTo>
                        <a:pt x="183" y="26"/>
                      </a:lnTo>
                      <a:lnTo>
                        <a:pt x="140" y="26"/>
                      </a:lnTo>
                      <a:lnTo>
                        <a:pt x="96" y="35"/>
                      </a:lnTo>
                      <a:lnTo>
                        <a:pt x="105" y="52"/>
                      </a:lnTo>
                      <a:lnTo>
                        <a:pt x="79" y="52"/>
                      </a:lnTo>
                      <a:lnTo>
                        <a:pt x="0" y="61"/>
                      </a:lnTo>
                      <a:lnTo>
                        <a:pt x="0" y="69"/>
                      </a:lnTo>
                      <a:lnTo>
                        <a:pt x="61" y="78"/>
                      </a:lnTo>
                      <a:lnTo>
                        <a:pt x="0" y="87"/>
                      </a:lnTo>
                      <a:lnTo>
                        <a:pt x="18" y="104"/>
                      </a:lnTo>
                      <a:lnTo>
                        <a:pt x="52" y="96"/>
                      </a:lnTo>
                      <a:lnTo>
                        <a:pt x="87" y="96"/>
                      </a:lnTo>
                      <a:lnTo>
                        <a:pt x="140" y="113"/>
                      </a:lnTo>
                      <a:lnTo>
                        <a:pt x="140" y="139"/>
                      </a:lnTo>
                      <a:lnTo>
                        <a:pt x="122" y="148"/>
                      </a:lnTo>
                      <a:lnTo>
                        <a:pt x="122" y="174"/>
                      </a:lnTo>
                      <a:lnTo>
                        <a:pt x="140" y="157"/>
                      </a:lnTo>
                      <a:lnTo>
                        <a:pt x="140" y="148"/>
                      </a:lnTo>
                      <a:lnTo>
                        <a:pt x="148" y="165"/>
                      </a:lnTo>
                      <a:lnTo>
                        <a:pt x="166" y="174"/>
                      </a:lnTo>
                      <a:lnTo>
                        <a:pt x="157" y="183"/>
                      </a:lnTo>
                      <a:lnTo>
                        <a:pt x="140" y="174"/>
                      </a:lnTo>
                      <a:lnTo>
                        <a:pt x="140" y="183"/>
                      </a:lnTo>
                      <a:lnTo>
                        <a:pt x="157" y="191"/>
                      </a:lnTo>
                      <a:lnTo>
                        <a:pt x="157" y="200"/>
                      </a:lnTo>
                      <a:lnTo>
                        <a:pt x="131" y="200"/>
                      </a:lnTo>
                      <a:lnTo>
                        <a:pt x="122" y="226"/>
                      </a:lnTo>
                      <a:lnTo>
                        <a:pt x="105" y="235"/>
                      </a:lnTo>
                      <a:lnTo>
                        <a:pt x="105" y="252"/>
                      </a:lnTo>
                      <a:lnTo>
                        <a:pt x="96" y="252"/>
                      </a:lnTo>
                      <a:lnTo>
                        <a:pt x="113" y="270"/>
                      </a:lnTo>
                      <a:lnTo>
                        <a:pt x="96" y="270"/>
                      </a:lnTo>
                      <a:lnTo>
                        <a:pt x="113" y="279"/>
                      </a:lnTo>
                      <a:lnTo>
                        <a:pt x="105" y="287"/>
                      </a:lnTo>
                      <a:lnTo>
                        <a:pt x="122" y="287"/>
                      </a:lnTo>
                      <a:lnTo>
                        <a:pt x="122" y="305"/>
                      </a:lnTo>
                      <a:lnTo>
                        <a:pt x="140" y="322"/>
                      </a:lnTo>
                      <a:lnTo>
                        <a:pt x="148" y="331"/>
                      </a:lnTo>
                      <a:lnTo>
                        <a:pt x="166" y="331"/>
                      </a:lnTo>
                      <a:lnTo>
                        <a:pt x="183" y="348"/>
                      </a:lnTo>
                      <a:lnTo>
                        <a:pt x="192" y="348"/>
                      </a:lnTo>
                      <a:lnTo>
                        <a:pt x="218" y="322"/>
                      </a:lnTo>
                      <a:lnTo>
                        <a:pt x="218" y="305"/>
                      </a:lnTo>
                      <a:lnTo>
                        <a:pt x="244" y="287"/>
                      </a:lnTo>
                      <a:lnTo>
                        <a:pt x="262" y="270"/>
                      </a:lnTo>
                      <a:lnTo>
                        <a:pt x="253" y="252"/>
                      </a:lnTo>
                      <a:lnTo>
                        <a:pt x="297" y="252"/>
                      </a:lnTo>
                      <a:lnTo>
                        <a:pt x="349" y="244"/>
                      </a:lnTo>
                      <a:lnTo>
                        <a:pt x="358" y="218"/>
                      </a:lnTo>
                      <a:lnTo>
                        <a:pt x="401" y="218"/>
                      </a:lnTo>
                      <a:lnTo>
                        <a:pt x="515" y="183"/>
                      </a:lnTo>
                      <a:lnTo>
                        <a:pt x="488" y="183"/>
                      </a:lnTo>
                      <a:lnTo>
                        <a:pt x="445" y="183"/>
                      </a:lnTo>
                      <a:lnTo>
                        <a:pt x="436" y="174"/>
                      </a:lnTo>
                      <a:lnTo>
                        <a:pt x="471" y="174"/>
                      </a:lnTo>
                      <a:lnTo>
                        <a:pt x="445" y="157"/>
                      </a:lnTo>
                      <a:lnTo>
                        <a:pt x="488" y="157"/>
                      </a:lnTo>
                      <a:lnTo>
                        <a:pt x="488" y="174"/>
                      </a:lnTo>
                      <a:lnTo>
                        <a:pt x="506" y="174"/>
                      </a:lnTo>
                      <a:lnTo>
                        <a:pt x="515" y="183"/>
                      </a:lnTo>
                      <a:lnTo>
                        <a:pt x="523" y="174"/>
                      </a:lnTo>
                      <a:lnTo>
                        <a:pt x="515" y="157"/>
                      </a:lnTo>
                      <a:lnTo>
                        <a:pt x="497" y="148"/>
                      </a:lnTo>
                      <a:lnTo>
                        <a:pt x="480" y="139"/>
                      </a:lnTo>
                      <a:lnTo>
                        <a:pt x="506" y="139"/>
                      </a:lnTo>
                      <a:lnTo>
                        <a:pt x="523" y="148"/>
                      </a:lnTo>
                      <a:lnTo>
                        <a:pt x="515" y="130"/>
                      </a:lnTo>
                      <a:lnTo>
                        <a:pt x="532" y="130"/>
                      </a:lnTo>
                      <a:lnTo>
                        <a:pt x="541" y="122"/>
                      </a:lnTo>
                      <a:lnTo>
                        <a:pt x="532" y="122"/>
                      </a:lnTo>
                      <a:lnTo>
                        <a:pt x="549" y="122"/>
                      </a:lnTo>
                      <a:lnTo>
                        <a:pt x="541" y="104"/>
                      </a:lnTo>
                      <a:lnTo>
                        <a:pt x="558" y="104"/>
                      </a:lnTo>
                      <a:lnTo>
                        <a:pt x="541" y="87"/>
                      </a:lnTo>
                      <a:lnTo>
                        <a:pt x="558" y="87"/>
                      </a:lnTo>
                      <a:lnTo>
                        <a:pt x="567" y="104"/>
                      </a:lnTo>
                      <a:lnTo>
                        <a:pt x="567" y="113"/>
                      </a:lnTo>
                      <a:lnTo>
                        <a:pt x="584" y="113"/>
                      </a:lnTo>
                      <a:lnTo>
                        <a:pt x="576" y="96"/>
                      </a:lnTo>
                      <a:lnTo>
                        <a:pt x="584" y="69"/>
                      </a:lnTo>
                      <a:lnTo>
                        <a:pt x="541" y="69"/>
                      </a:lnTo>
                      <a:lnTo>
                        <a:pt x="567" y="52"/>
                      </a:lnTo>
                      <a:lnTo>
                        <a:pt x="576" y="43"/>
                      </a:lnTo>
                      <a:lnTo>
                        <a:pt x="654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0" name="Freeform 156"/>
                <p:cNvSpPr>
                  <a:spLocks/>
                </p:cNvSpPr>
                <p:nvPr/>
              </p:nvSpPr>
              <p:spPr bwMode="auto">
                <a:xfrm>
                  <a:off x="3282951" y="193357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7"/>
                    <a:gd name="T17" fmla="*/ 35 w 35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7">
                      <a:moveTo>
                        <a:pt x="0" y="0"/>
                      </a:moveTo>
                      <a:lnTo>
                        <a:pt x="8" y="17"/>
                      </a:lnTo>
                      <a:lnTo>
                        <a:pt x="35" y="8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1" name="Freeform 157"/>
                <p:cNvSpPr>
                  <a:spLocks/>
                </p:cNvSpPr>
                <p:nvPr/>
              </p:nvSpPr>
              <p:spPr bwMode="auto">
                <a:xfrm>
                  <a:off x="3282951" y="193357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7"/>
                    <a:gd name="T17" fmla="*/ 35 w 35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7">
                      <a:moveTo>
                        <a:pt x="0" y="0"/>
                      </a:moveTo>
                      <a:lnTo>
                        <a:pt x="8" y="17"/>
                      </a:lnTo>
                      <a:lnTo>
                        <a:pt x="35" y="8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2" name="Freeform 158"/>
                <p:cNvSpPr>
                  <a:spLocks/>
                </p:cNvSpPr>
                <p:nvPr/>
              </p:nvSpPr>
              <p:spPr bwMode="auto">
                <a:xfrm>
                  <a:off x="3863976" y="2016126"/>
                  <a:ext cx="207963" cy="96838"/>
                </a:xfrm>
                <a:custGeom>
                  <a:avLst/>
                  <a:gdLst>
                    <a:gd name="T0" fmla="*/ 2147483647 w 131"/>
                    <a:gd name="T1" fmla="*/ 2147483647 h 61"/>
                    <a:gd name="T2" fmla="*/ 2147483647 w 131"/>
                    <a:gd name="T3" fmla="*/ 2147483647 h 61"/>
                    <a:gd name="T4" fmla="*/ 2147483647 w 131"/>
                    <a:gd name="T5" fmla="*/ 0 h 61"/>
                    <a:gd name="T6" fmla="*/ 2147483647 w 131"/>
                    <a:gd name="T7" fmla="*/ 2147483647 h 61"/>
                    <a:gd name="T8" fmla="*/ 2147483647 w 131"/>
                    <a:gd name="T9" fmla="*/ 2147483647 h 61"/>
                    <a:gd name="T10" fmla="*/ 2147483647 w 131"/>
                    <a:gd name="T11" fmla="*/ 2147483647 h 61"/>
                    <a:gd name="T12" fmla="*/ 2147483647 w 131"/>
                    <a:gd name="T13" fmla="*/ 2147483647 h 61"/>
                    <a:gd name="T14" fmla="*/ 0 w 131"/>
                    <a:gd name="T15" fmla="*/ 2147483647 h 61"/>
                    <a:gd name="T16" fmla="*/ 2147483647 w 131"/>
                    <a:gd name="T17" fmla="*/ 2147483647 h 61"/>
                    <a:gd name="T18" fmla="*/ 0 w 131"/>
                    <a:gd name="T19" fmla="*/ 2147483647 h 61"/>
                    <a:gd name="T20" fmla="*/ 2147483647 w 131"/>
                    <a:gd name="T21" fmla="*/ 2147483647 h 61"/>
                    <a:gd name="T22" fmla="*/ 2147483647 w 131"/>
                    <a:gd name="T23" fmla="*/ 2147483647 h 61"/>
                    <a:gd name="T24" fmla="*/ 2147483647 w 131"/>
                    <a:gd name="T25" fmla="*/ 2147483647 h 61"/>
                    <a:gd name="T26" fmla="*/ 2147483647 w 131"/>
                    <a:gd name="T27" fmla="*/ 2147483647 h 61"/>
                    <a:gd name="T28" fmla="*/ 2147483647 w 131"/>
                    <a:gd name="T29" fmla="*/ 2147483647 h 61"/>
                    <a:gd name="T30" fmla="*/ 2147483647 w 131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31"/>
                    <a:gd name="T49" fmla="*/ 0 h 61"/>
                    <a:gd name="T50" fmla="*/ 131 w 131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31" h="61">
                      <a:moveTo>
                        <a:pt x="131" y="26"/>
                      </a:moveTo>
                      <a:lnTo>
                        <a:pt x="122" y="17"/>
                      </a:lnTo>
                      <a:lnTo>
                        <a:pt x="105" y="0"/>
                      </a:lnTo>
                      <a:lnTo>
                        <a:pt x="78" y="9"/>
                      </a:lnTo>
                      <a:lnTo>
                        <a:pt x="61" y="9"/>
                      </a:lnTo>
                      <a:lnTo>
                        <a:pt x="44" y="17"/>
                      </a:lnTo>
                      <a:lnTo>
                        <a:pt x="17" y="9"/>
                      </a:ln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26" y="52"/>
                      </a:lnTo>
                      <a:lnTo>
                        <a:pt x="52" y="61"/>
                      </a:lnTo>
                      <a:lnTo>
                        <a:pt x="96" y="44"/>
                      </a:lnTo>
                      <a:lnTo>
                        <a:pt x="122" y="44"/>
                      </a:lnTo>
                      <a:lnTo>
                        <a:pt x="131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3" name="Freeform 159"/>
                <p:cNvSpPr>
                  <a:spLocks/>
                </p:cNvSpPr>
                <p:nvPr/>
              </p:nvSpPr>
              <p:spPr bwMode="auto">
                <a:xfrm>
                  <a:off x="3863976" y="2016126"/>
                  <a:ext cx="207963" cy="96838"/>
                </a:xfrm>
                <a:custGeom>
                  <a:avLst/>
                  <a:gdLst>
                    <a:gd name="T0" fmla="*/ 2147483647 w 131"/>
                    <a:gd name="T1" fmla="*/ 2147483647 h 61"/>
                    <a:gd name="T2" fmla="*/ 2147483647 w 131"/>
                    <a:gd name="T3" fmla="*/ 2147483647 h 61"/>
                    <a:gd name="T4" fmla="*/ 2147483647 w 131"/>
                    <a:gd name="T5" fmla="*/ 0 h 61"/>
                    <a:gd name="T6" fmla="*/ 2147483647 w 131"/>
                    <a:gd name="T7" fmla="*/ 2147483647 h 61"/>
                    <a:gd name="T8" fmla="*/ 2147483647 w 131"/>
                    <a:gd name="T9" fmla="*/ 2147483647 h 61"/>
                    <a:gd name="T10" fmla="*/ 2147483647 w 131"/>
                    <a:gd name="T11" fmla="*/ 2147483647 h 61"/>
                    <a:gd name="T12" fmla="*/ 2147483647 w 131"/>
                    <a:gd name="T13" fmla="*/ 2147483647 h 61"/>
                    <a:gd name="T14" fmla="*/ 0 w 131"/>
                    <a:gd name="T15" fmla="*/ 2147483647 h 61"/>
                    <a:gd name="T16" fmla="*/ 2147483647 w 131"/>
                    <a:gd name="T17" fmla="*/ 2147483647 h 61"/>
                    <a:gd name="T18" fmla="*/ 0 w 131"/>
                    <a:gd name="T19" fmla="*/ 2147483647 h 61"/>
                    <a:gd name="T20" fmla="*/ 2147483647 w 131"/>
                    <a:gd name="T21" fmla="*/ 2147483647 h 61"/>
                    <a:gd name="T22" fmla="*/ 2147483647 w 131"/>
                    <a:gd name="T23" fmla="*/ 2147483647 h 61"/>
                    <a:gd name="T24" fmla="*/ 2147483647 w 131"/>
                    <a:gd name="T25" fmla="*/ 2147483647 h 61"/>
                    <a:gd name="T26" fmla="*/ 2147483647 w 131"/>
                    <a:gd name="T27" fmla="*/ 2147483647 h 61"/>
                    <a:gd name="T28" fmla="*/ 2147483647 w 131"/>
                    <a:gd name="T29" fmla="*/ 2147483647 h 61"/>
                    <a:gd name="T30" fmla="*/ 2147483647 w 131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31"/>
                    <a:gd name="T49" fmla="*/ 0 h 61"/>
                    <a:gd name="T50" fmla="*/ 131 w 131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31" h="61">
                      <a:moveTo>
                        <a:pt x="131" y="26"/>
                      </a:moveTo>
                      <a:lnTo>
                        <a:pt x="122" y="17"/>
                      </a:lnTo>
                      <a:lnTo>
                        <a:pt x="105" y="0"/>
                      </a:lnTo>
                      <a:lnTo>
                        <a:pt x="78" y="9"/>
                      </a:lnTo>
                      <a:lnTo>
                        <a:pt x="61" y="9"/>
                      </a:lnTo>
                      <a:lnTo>
                        <a:pt x="44" y="17"/>
                      </a:lnTo>
                      <a:lnTo>
                        <a:pt x="17" y="9"/>
                      </a:ln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26" y="52"/>
                      </a:lnTo>
                      <a:lnTo>
                        <a:pt x="52" y="61"/>
                      </a:lnTo>
                      <a:lnTo>
                        <a:pt x="96" y="44"/>
                      </a:lnTo>
                      <a:lnTo>
                        <a:pt x="122" y="44"/>
                      </a:lnTo>
                      <a:lnTo>
                        <a:pt x="131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</p:grpSp>
          <p:sp>
            <p:nvSpPr>
              <p:cNvPr id="24" name="Freeform 308"/>
              <p:cNvSpPr>
                <a:spLocks/>
              </p:cNvSpPr>
              <p:nvPr/>
            </p:nvSpPr>
            <p:spPr bwMode="auto">
              <a:xfrm>
                <a:off x="4212048" y="1642775"/>
                <a:ext cx="130697" cy="177764"/>
              </a:xfrm>
              <a:custGeom>
                <a:avLst/>
                <a:gdLst>
                  <a:gd name="T0" fmla="*/ 2147483647 w 122"/>
                  <a:gd name="T1" fmla="*/ 0 h 166"/>
                  <a:gd name="T2" fmla="*/ 2147483647 w 122"/>
                  <a:gd name="T3" fmla="*/ 2147483647 h 166"/>
                  <a:gd name="T4" fmla="*/ 0 w 122"/>
                  <a:gd name="T5" fmla="*/ 2147483647 h 166"/>
                  <a:gd name="T6" fmla="*/ 2147483647 w 122"/>
                  <a:gd name="T7" fmla="*/ 2147483647 h 166"/>
                  <a:gd name="T8" fmla="*/ 2147483647 w 122"/>
                  <a:gd name="T9" fmla="*/ 2147483647 h 166"/>
                  <a:gd name="T10" fmla="*/ 2147483647 w 122"/>
                  <a:gd name="T11" fmla="*/ 2147483647 h 166"/>
                  <a:gd name="T12" fmla="*/ 2147483647 w 122"/>
                  <a:gd name="T13" fmla="*/ 2147483647 h 166"/>
                  <a:gd name="T14" fmla="*/ 2147483647 w 122"/>
                  <a:gd name="T15" fmla="*/ 2147483647 h 166"/>
                  <a:gd name="T16" fmla="*/ 2147483647 w 122"/>
                  <a:gd name="T17" fmla="*/ 2147483647 h 166"/>
                  <a:gd name="T18" fmla="*/ 2147483647 w 122"/>
                  <a:gd name="T19" fmla="*/ 2147483647 h 166"/>
                  <a:gd name="T20" fmla="*/ 2147483647 w 122"/>
                  <a:gd name="T21" fmla="*/ 2147483647 h 166"/>
                  <a:gd name="T22" fmla="*/ 2147483647 w 122"/>
                  <a:gd name="T23" fmla="*/ 2147483647 h 166"/>
                  <a:gd name="T24" fmla="*/ 2147483647 w 122"/>
                  <a:gd name="T25" fmla="*/ 2147483647 h 166"/>
                  <a:gd name="T26" fmla="*/ 2147483647 w 122"/>
                  <a:gd name="T27" fmla="*/ 2147483647 h 166"/>
                  <a:gd name="T28" fmla="*/ 2147483647 w 122"/>
                  <a:gd name="T29" fmla="*/ 2147483647 h 166"/>
                  <a:gd name="T30" fmla="*/ 2147483647 w 122"/>
                  <a:gd name="T31" fmla="*/ 2147483647 h 166"/>
                  <a:gd name="T32" fmla="*/ 2147483647 w 122"/>
                  <a:gd name="T33" fmla="*/ 2147483647 h 166"/>
                  <a:gd name="T34" fmla="*/ 2147483647 w 122"/>
                  <a:gd name="T35" fmla="*/ 2147483647 h 166"/>
                  <a:gd name="T36" fmla="*/ 2147483647 w 122"/>
                  <a:gd name="T37" fmla="*/ 2147483647 h 166"/>
                  <a:gd name="T38" fmla="*/ 2147483647 w 122"/>
                  <a:gd name="T39" fmla="*/ 2147483647 h 166"/>
                  <a:gd name="T40" fmla="*/ 2147483647 w 122"/>
                  <a:gd name="T41" fmla="*/ 2147483647 h 166"/>
                  <a:gd name="T42" fmla="*/ 2147483647 w 122"/>
                  <a:gd name="T43" fmla="*/ 2147483647 h 166"/>
                  <a:gd name="T44" fmla="*/ 2147483647 w 122"/>
                  <a:gd name="T45" fmla="*/ 2147483647 h 166"/>
                  <a:gd name="T46" fmla="*/ 2147483647 w 122"/>
                  <a:gd name="T47" fmla="*/ 2147483647 h 166"/>
                  <a:gd name="T48" fmla="*/ 2147483647 w 122"/>
                  <a:gd name="T49" fmla="*/ 2147483647 h 166"/>
                  <a:gd name="T50" fmla="*/ 2147483647 w 122"/>
                  <a:gd name="T51" fmla="*/ 2147483647 h 166"/>
                  <a:gd name="T52" fmla="*/ 2147483647 w 122"/>
                  <a:gd name="T53" fmla="*/ 2147483647 h 166"/>
                  <a:gd name="T54" fmla="*/ 2147483647 w 122"/>
                  <a:gd name="T55" fmla="*/ 2147483647 h 166"/>
                  <a:gd name="T56" fmla="*/ 2147483647 w 122"/>
                  <a:gd name="T57" fmla="*/ 2147483647 h 166"/>
                  <a:gd name="T58" fmla="*/ 2147483647 w 122"/>
                  <a:gd name="T59" fmla="*/ 2147483647 h 166"/>
                  <a:gd name="T60" fmla="*/ 2147483647 w 122"/>
                  <a:gd name="T61" fmla="*/ 2147483647 h 166"/>
                  <a:gd name="T62" fmla="*/ 2147483647 w 122"/>
                  <a:gd name="T63" fmla="*/ 2147483647 h 166"/>
                  <a:gd name="T64" fmla="*/ 2147483647 w 122"/>
                  <a:gd name="T65" fmla="*/ 2147483647 h 166"/>
                  <a:gd name="T66" fmla="*/ 2147483647 w 122"/>
                  <a:gd name="T67" fmla="*/ 0 h 16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22"/>
                  <a:gd name="T103" fmla="*/ 0 h 166"/>
                  <a:gd name="T104" fmla="*/ 122 w 122"/>
                  <a:gd name="T105" fmla="*/ 166 h 16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22" h="166">
                    <a:moveTo>
                      <a:pt x="9" y="0"/>
                    </a:moveTo>
                    <a:lnTo>
                      <a:pt x="9" y="9"/>
                    </a:lnTo>
                    <a:lnTo>
                      <a:pt x="0" y="18"/>
                    </a:lnTo>
                    <a:lnTo>
                      <a:pt x="9" y="26"/>
                    </a:lnTo>
                    <a:lnTo>
                      <a:pt x="9" y="53"/>
                    </a:lnTo>
                    <a:lnTo>
                      <a:pt x="9" y="61"/>
                    </a:lnTo>
                    <a:lnTo>
                      <a:pt x="26" y="61"/>
                    </a:lnTo>
                    <a:lnTo>
                      <a:pt x="26" y="79"/>
                    </a:lnTo>
                    <a:lnTo>
                      <a:pt x="53" y="87"/>
                    </a:lnTo>
                    <a:lnTo>
                      <a:pt x="53" y="96"/>
                    </a:lnTo>
                    <a:lnTo>
                      <a:pt x="26" y="114"/>
                    </a:lnTo>
                    <a:lnTo>
                      <a:pt x="26" y="131"/>
                    </a:lnTo>
                    <a:lnTo>
                      <a:pt x="53" y="140"/>
                    </a:lnTo>
                    <a:lnTo>
                      <a:pt x="18" y="148"/>
                    </a:lnTo>
                    <a:lnTo>
                      <a:pt x="9" y="166"/>
                    </a:lnTo>
                    <a:lnTo>
                      <a:pt x="53" y="148"/>
                    </a:lnTo>
                    <a:lnTo>
                      <a:pt x="96" y="148"/>
                    </a:lnTo>
                    <a:lnTo>
                      <a:pt x="105" y="140"/>
                    </a:lnTo>
                    <a:lnTo>
                      <a:pt x="105" y="131"/>
                    </a:lnTo>
                    <a:lnTo>
                      <a:pt x="122" y="122"/>
                    </a:lnTo>
                    <a:lnTo>
                      <a:pt x="122" y="114"/>
                    </a:lnTo>
                    <a:lnTo>
                      <a:pt x="105" y="114"/>
                    </a:lnTo>
                    <a:lnTo>
                      <a:pt x="96" y="114"/>
                    </a:lnTo>
                    <a:lnTo>
                      <a:pt x="96" y="105"/>
                    </a:lnTo>
                    <a:lnTo>
                      <a:pt x="79" y="79"/>
                    </a:lnTo>
                    <a:lnTo>
                      <a:pt x="79" y="70"/>
                    </a:lnTo>
                    <a:lnTo>
                      <a:pt x="61" y="53"/>
                    </a:lnTo>
                    <a:lnTo>
                      <a:pt x="44" y="44"/>
                    </a:lnTo>
                    <a:lnTo>
                      <a:pt x="61" y="44"/>
                    </a:lnTo>
                    <a:lnTo>
                      <a:pt x="61" y="26"/>
                    </a:lnTo>
                    <a:lnTo>
                      <a:pt x="35" y="26"/>
                    </a:lnTo>
                    <a:lnTo>
                      <a:pt x="26" y="18"/>
                    </a:lnTo>
                    <a:lnTo>
                      <a:pt x="35" y="18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25" name="Freeform 312"/>
              <p:cNvSpPr>
                <a:spLocks/>
              </p:cNvSpPr>
              <p:nvPr/>
            </p:nvSpPr>
            <p:spPr bwMode="auto">
              <a:xfrm>
                <a:off x="4146700" y="1708097"/>
                <a:ext cx="74990" cy="84599"/>
              </a:xfrm>
              <a:custGeom>
                <a:avLst/>
                <a:gdLst>
                  <a:gd name="T0" fmla="*/ 2147483647 w 70"/>
                  <a:gd name="T1" fmla="*/ 2147483647 h 79"/>
                  <a:gd name="T2" fmla="*/ 2147483647 w 70"/>
                  <a:gd name="T3" fmla="*/ 2147483647 h 79"/>
                  <a:gd name="T4" fmla="*/ 0 w 70"/>
                  <a:gd name="T5" fmla="*/ 2147483647 h 79"/>
                  <a:gd name="T6" fmla="*/ 2147483647 w 70"/>
                  <a:gd name="T7" fmla="*/ 2147483647 h 79"/>
                  <a:gd name="T8" fmla="*/ 2147483647 w 70"/>
                  <a:gd name="T9" fmla="*/ 2147483647 h 79"/>
                  <a:gd name="T10" fmla="*/ 2147483647 w 70"/>
                  <a:gd name="T11" fmla="*/ 2147483647 h 79"/>
                  <a:gd name="T12" fmla="*/ 2147483647 w 70"/>
                  <a:gd name="T13" fmla="*/ 2147483647 h 79"/>
                  <a:gd name="T14" fmla="*/ 2147483647 w 70"/>
                  <a:gd name="T15" fmla="*/ 2147483647 h 79"/>
                  <a:gd name="T16" fmla="*/ 2147483647 w 70"/>
                  <a:gd name="T17" fmla="*/ 2147483647 h 79"/>
                  <a:gd name="T18" fmla="*/ 2147483647 w 70"/>
                  <a:gd name="T19" fmla="*/ 0 h 79"/>
                  <a:gd name="T20" fmla="*/ 2147483647 w 70"/>
                  <a:gd name="T21" fmla="*/ 2147483647 h 79"/>
                  <a:gd name="T22" fmla="*/ 2147483647 w 70"/>
                  <a:gd name="T23" fmla="*/ 2147483647 h 79"/>
                  <a:gd name="T24" fmla="*/ 2147483647 w 70"/>
                  <a:gd name="T25" fmla="*/ 2147483647 h 79"/>
                  <a:gd name="T26" fmla="*/ 2147483647 w 70"/>
                  <a:gd name="T27" fmla="*/ 2147483647 h 7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70"/>
                  <a:gd name="T43" fmla="*/ 0 h 79"/>
                  <a:gd name="T44" fmla="*/ 70 w 70"/>
                  <a:gd name="T45" fmla="*/ 79 h 7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70" h="79">
                    <a:moveTo>
                      <a:pt x="9" y="35"/>
                    </a:moveTo>
                    <a:lnTo>
                      <a:pt x="18" y="44"/>
                    </a:lnTo>
                    <a:lnTo>
                      <a:pt x="0" y="61"/>
                    </a:lnTo>
                    <a:lnTo>
                      <a:pt x="18" y="79"/>
                    </a:lnTo>
                    <a:lnTo>
                      <a:pt x="44" y="79"/>
                    </a:lnTo>
                    <a:lnTo>
                      <a:pt x="70" y="53"/>
                    </a:lnTo>
                    <a:lnTo>
                      <a:pt x="70" y="35"/>
                    </a:lnTo>
                    <a:lnTo>
                      <a:pt x="52" y="26"/>
                    </a:lnTo>
                    <a:lnTo>
                      <a:pt x="61" y="9"/>
                    </a:lnTo>
                    <a:lnTo>
                      <a:pt x="61" y="0"/>
                    </a:lnTo>
                    <a:lnTo>
                      <a:pt x="44" y="9"/>
                    </a:lnTo>
                    <a:lnTo>
                      <a:pt x="35" y="26"/>
                    </a:lnTo>
                    <a:lnTo>
                      <a:pt x="18" y="26"/>
                    </a:lnTo>
                    <a:lnTo>
                      <a:pt x="9" y="35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26" name="Freeform 489"/>
              <p:cNvSpPr>
                <a:spLocks/>
              </p:cNvSpPr>
              <p:nvPr/>
            </p:nvSpPr>
            <p:spPr bwMode="auto">
              <a:xfrm>
                <a:off x="4455231" y="2062554"/>
                <a:ext cx="65349" cy="149921"/>
              </a:xfrm>
              <a:custGeom>
                <a:avLst/>
                <a:gdLst>
                  <a:gd name="T0" fmla="*/ 2147483647 w 61"/>
                  <a:gd name="T1" fmla="*/ 2147483647 h 140"/>
                  <a:gd name="T2" fmla="*/ 2147483647 w 61"/>
                  <a:gd name="T3" fmla="*/ 2147483647 h 140"/>
                  <a:gd name="T4" fmla="*/ 2147483647 w 61"/>
                  <a:gd name="T5" fmla="*/ 0 h 140"/>
                  <a:gd name="T6" fmla="*/ 0 w 61"/>
                  <a:gd name="T7" fmla="*/ 2147483647 h 140"/>
                  <a:gd name="T8" fmla="*/ 2147483647 w 61"/>
                  <a:gd name="T9" fmla="*/ 2147483647 h 140"/>
                  <a:gd name="T10" fmla="*/ 2147483647 w 61"/>
                  <a:gd name="T11" fmla="*/ 2147483647 h 140"/>
                  <a:gd name="T12" fmla="*/ 2147483647 w 61"/>
                  <a:gd name="T13" fmla="*/ 2147483647 h 140"/>
                  <a:gd name="T14" fmla="*/ 2147483647 w 61"/>
                  <a:gd name="T15" fmla="*/ 2147483647 h 140"/>
                  <a:gd name="T16" fmla="*/ 2147483647 w 61"/>
                  <a:gd name="T17" fmla="*/ 2147483647 h 140"/>
                  <a:gd name="T18" fmla="*/ 2147483647 w 61"/>
                  <a:gd name="T19" fmla="*/ 2147483647 h 140"/>
                  <a:gd name="T20" fmla="*/ 2147483647 w 61"/>
                  <a:gd name="T21" fmla="*/ 2147483647 h 140"/>
                  <a:gd name="T22" fmla="*/ 2147483647 w 61"/>
                  <a:gd name="T23" fmla="*/ 2147483647 h 140"/>
                  <a:gd name="T24" fmla="*/ 2147483647 w 61"/>
                  <a:gd name="T25" fmla="*/ 2147483647 h 14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1"/>
                  <a:gd name="T40" fmla="*/ 0 h 140"/>
                  <a:gd name="T41" fmla="*/ 61 w 61"/>
                  <a:gd name="T42" fmla="*/ 140 h 14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1" h="140">
                    <a:moveTo>
                      <a:pt x="35" y="27"/>
                    </a:moveTo>
                    <a:lnTo>
                      <a:pt x="35" y="18"/>
                    </a:lnTo>
                    <a:lnTo>
                      <a:pt x="17" y="0"/>
                    </a:lnTo>
                    <a:lnTo>
                      <a:pt x="0" y="70"/>
                    </a:lnTo>
                    <a:lnTo>
                      <a:pt x="26" y="140"/>
                    </a:lnTo>
                    <a:lnTo>
                      <a:pt x="43" y="123"/>
                    </a:lnTo>
                    <a:lnTo>
                      <a:pt x="43" y="105"/>
                    </a:lnTo>
                    <a:lnTo>
                      <a:pt x="52" y="96"/>
                    </a:lnTo>
                    <a:lnTo>
                      <a:pt x="61" y="79"/>
                    </a:lnTo>
                    <a:lnTo>
                      <a:pt x="26" y="61"/>
                    </a:lnTo>
                    <a:lnTo>
                      <a:pt x="35" y="44"/>
                    </a:lnTo>
                    <a:lnTo>
                      <a:pt x="26" y="27"/>
                    </a:lnTo>
                    <a:lnTo>
                      <a:pt x="35" y="27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27" name="Freeform 491"/>
              <p:cNvSpPr>
                <a:spLocks/>
              </p:cNvSpPr>
              <p:nvPr/>
            </p:nvSpPr>
            <p:spPr bwMode="auto">
              <a:xfrm>
                <a:off x="4165983" y="2062554"/>
                <a:ext cx="364237" cy="364094"/>
              </a:xfrm>
              <a:custGeom>
                <a:avLst/>
                <a:gdLst>
                  <a:gd name="T0" fmla="*/ 2147483647 w 340"/>
                  <a:gd name="T1" fmla="*/ 2147483647 h 340"/>
                  <a:gd name="T2" fmla="*/ 2147483647 w 340"/>
                  <a:gd name="T3" fmla="*/ 2147483647 h 340"/>
                  <a:gd name="T4" fmla="*/ 2147483647 w 340"/>
                  <a:gd name="T5" fmla="*/ 2147483647 h 340"/>
                  <a:gd name="T6" fmla="*/ 2147483647 w 340"/>
                  <a:gd name="T7" fmla="*/ 2147483647 h 340"/>
                  <a:gd name="T8" fmla="*/ 2147483647 w 340"/>
                  <a:gd name="T9" fmla="*/ 2147483647 h 340"/>
                  <a:gd name="T10" fmla="*/ 2147483647 w 340"/>
                  <a:gd name="T11" fmla="*/ 0 h 340"/>
                  <a:gd name="T12" fmla="*/ 2147483647 w 340"/>
                  <a:gd name="T13" fmla="*/ 2147483647 h 340"/>
                  <a:gd name="T14" fmla="*/ 2147483647 w 340"/>
                  <a:gd name="T15" fmla="*/ 2147483647 h 340"/>
                  <a:gd name="T16" fmla="*/ 2147483647 w 340"/>
                  <a:gd name="T17" fmla="*/ 2147483647 h 340"/>
                  <a:gd name="T18" fmla="*/ 2147483647 w 340"/>
                  <a:gd name="T19" fmla="*/ 2147483647 h 340"/>
                  <a:gd name="T20" fmla="*/ 2147483647 w 340"/>
                  <a:gd name="T21" fmla="*/ 2147483647 h 340"/>
                  <a:gd name="T22" fmla="*/ 2147483647 w 340"/>
                  <a:gd name="T23" fmla="*/ 2147483647 h 340"/>
                  <a:gd name="T24" fmla="*/ 2147483647 w 340"/>
                  <a:gd name="T25" fmla="*/ 2147483647 h 340"/>
                  <a:gd name="T26" fmla="*/ 2147483647 w 340"/>
                  <a:gd name="T27" fmla="*/ 2147483647 h 340"/>
                  <a:gd name="T28" fmla="*/ 2147483647 w 340"/>
                  <a:gd name="T29" fmla="*/ 2147483647 h 340"/>
                  <a:gd name="T30" fmla="*/ 2147483647 w 340"/>
                  <a:gd name="T31" fmla="*/ 2147483647 h 340"/>
                  <a:gd name="T32" fmla="*/ 0 w 340"/>
                  <a:gd name="T33" fmla="*/ 2147483647 h 340"/>
                  <a:gd name="T34" fmla="*/ 0 w 340"/>
                  <a:gd name="T35" fmla="*/ 2147483647 h 340"/>
                  <a:gd name="T36" fmla="*/ 2147483647 w 340"/>
                  <a:gd name="T37" fmla="*/ 2147483647 h 340"/>
                  <a:gd name="T38" fmla="*/ 2147483647 w 340"/>
                  <a:gd name="T39" fmla="*/ 2147483647 h 340"/>
                  <a:gd name="T40" fmla="*/ 2147483647 w 340"/>
                  <a:gd name="T41" fmla="*/ 2147483647 h 340"/>
                  <a:gd name="T42" fmla="*/ 2147483647 w 340"/>
                  <a:gd name="T43" fmla="*/ 2147483647 h 340"/>
                  <a:gd name="T44" fmla="*/ 2147483647 w 340"/>
                  <a:gd name="T45" fmla="*/ 2147483647 h 340"/>
                  <a:gd name="T46" fmla="*/ 2147483647 w 340"/>
                  <a:gd name="T47" fmla="*/ 2147483647 h 340"/>
                  <a:gd name="T48" fmla="*/ 2147483647 w 340"/>
                  <a:gd name="T49" fmla="*/ 2147483647 h 34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40"/>
                  <a:gd name="T76" fmla="*/ 0 h 340"/>
                  <a:gd name="T77" fmla="*/ 340 w 340"/>
                  <a:gd name="T78" fmla="*/ 340 h 34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40" h="340">
                    <a:moveTo>
                      <a:pt x="340" y="253"/>
                    </a:moveTo>
                    <a:lnTo>
                      <a:pt x="340" y="245"/>
                    </a:lnTo>
                    <a:lnTo>
                      <a:pt x="305" y="236"/>
                    </a:lnTo>
                    <a:lnTo>
                      <a:pt x="296" y="140"/>
                    </a:lnTo>
                    <a:lnTo>
                      <a:pt x="270" y="70"/>
                    </a:lnTo>
                    <a:lnTo>
                      <a:pt x="287" y="0"/>
                    </a:lnTo>
                    <a:lnTo>
                      <a:pt x="174" y="18"/>
                    </a:lnTo>
                    <a:lnTo>
                      <a:pt x="104" y="35"/>
                    </a:lnTo>
                    <a:lnTo>
                      <a:pt x="104" y="53"/>
                    </a:lnTo>
                    <a:lnTo>
                      <a:pt x="122" y="53"/>
                    </a:lnTo>
                    <a:lnTo>
                      <a:pt x="122" y="88"/>
                    </a:lnTo>
                    <a:lnTo>
                      <a:pt x="130" y="88"/>
                    </a:lnTo>
                    <a:lnTo>
                      <a:pt x="130" y="105"/>
                    </a:lnTo>
                    <a:lnTo>
                      <a:pt x="104" y="96"/>
                    </a:lnTo>
                    <a:lnTo>
                      <a:pt x="52" y="149"/>
                    </a:lnTo>
                    <a:lnTo>
                      <a:pt x="26" y="149"/>
                    </a:lnTo>
                    <a:lnTo>
                      <a:pt x="0" y="166"/>
                    </a:lnTo>
                    <a:lnTo>
                      <a:pt x="0" y="184"/>
                    </a:lnTo>
                    <a:lnTo>
                      <a:pt x="69" y="236"/>
                    </a:lnTo>
                    <a:lnTo>
                      <a:pt x="165" y="297"/>
                    </a:lnTo>
                    <a:lnTo>
                      <a:pt x="165" y="314"/>
                    </a:lnTo>
                    <a:lnTo>
                      <a:pt x="218" y="340"/>
                    </a:lnTo>
                    <a:lnTo>
                      <a:pt x="226" y="332"/>
                    </a:lnTo>
                    <a:lnTo>
                      <a:pt x="235" y="340"/>
                    </a:lnTo>
                    <a:lnTo>
                      <a:pt x="340" y="253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grpSp>
            <p:nvGrpSpPr>
              <p:cNvPr id="28" name="Gruppieren 27"/>
              <p:cNvGrpSpPr/>
              <p:nvPr/>
            </p:nvGrpSpPr>
            <p:grpSpPr>
              <a:xfrm>
                <a:off x="4146700" y="1288318"/>
                <a:ext cx="3194578" cy="2398741"/>
                <a:chOff x="4146700" y="1288318"/>
                <a:chExt cx="3194578" cy="2398741"/>
              </a:xfrm>
              <a:grpFill/>
            </p:grpSpPr>
            <p:sp>
              <p:nvSpPr>
                <p:cNvPr id="148" name="Freeform 307"/>
                <p:cNvSpPr>
                  <a:spLocks/>
                </p:cNvSpPr>
                <p:nvPr/>
              </p:nvSpPr>
              <p:spPr bwMode="auto">
                <a:xfrm>
                  <a:off x="4212048" y="1642775"/>
                  <a:ext cx="130698" cy="177764"/>
                </a:xfrm>
                <a:custGeom>
                  <a:avLst/>
                  <a:gdLst>
                    <a:gd name="T0" fmla="*/ 2147483647 w 122"/>
                    <a:gd name="T1" fmla="*/ 0 h 166"/>
                    <a:gd name="T2" fmla="*/ 2147483647 w 122"/>
                    <a:gd name="T3" fmla="*/ 2147483647 h 166"/>
                    <a:gd name="T4" fmla="*/ 0 w 122"/>
                    <a:gd name="T5" fmla="*/ 2147483647 h 166"/>
                    <a:gd name="T6" fmla="*/ 2147483647 w 122"/>
                    <a:gd name="T7" fmla="*/ 2147483647 h 166"/>
                    <a:gd name="T8" fmla="*/ 2147483647 w 122"/>
                    <a:gd name="T9" fmla="*/ 2147483647 h 166"/>
                    <a:gd name="T10" fmla="*/ 2147483647 w 122"/>
                    <a:gd name="T11" fmla="*/ 2147483647 h 166"/>
                    <a:gd name="T12" fmla="*/ 2147483647 w 122"/>
                    <a:gd name="T13" fmla="*/ 2147483647 h 166"/>
                    <a:gd name="T14" fmla="*/ 2147483647 w 122"/>
                    <a:gd name="T15" fmla="*/ 2147483647 h 166"/>
                    <a:gd name="T16" fmla="*/ 2147483647 w 122"/>
                    <a:gd name="T17" fmla="*/ 2147483647 h 166"/>
                    <a:gd name="T18" fmla="*/ 2147483647 w 122"/>
                    <a:gd name="T19" fmla="*/ 2147483647 h 166"/>
                    <a:gd name="T20" fmla="*/ 2147483647 w 122"/>
                    <a:gd name="T21" fmla="*/ 2147483647 h 166"/>
                    <a:gd name="T22" fmla="*/ 2147483647 w 122"/>
                    <a:gd name="T23" fmla="*/ 2147483647 h 166"/>
                    <a:gd name="T24" fmla="*/ 2147483647 w 122"/>
                    <a:gd name="T25" fmla="*/ 2147483647 h 166"/>
                    <a:gd name="T26" fmla="*/ 2147483647 w 122"/>
                    <a:gd name="T27" fmla="*/ 2147483647 h 166"/>
                    <a:gd name="T28" fmla="*/ 2147483647 w 122"/>
                    <a:gd name="T29" fmla="*/ 2147483647 h 166"/>
                    <a:gd name="T30" fmla="*/ 2147483647 w 122"/>
                    <a:gd name="T31" fmla="*/ 2147483647 h 166"/>
                    <a:gd name="T32" fmla="*/ 2147483647 w 122"/>
                    <a:gd name="T33" fmla="*/ 2147483647 h 166"/>
                    <a:gd name="T34" fmla="*/ 2147483647 w 122"/>
                    <a:gd name="T35" fmla="*/ 2147483647 h 166"/>
                    <a:gd name="T36" fmla="*/ 2147483647 w 122"/>
                    <a:gd name="T37" fmla="*/ 2147483647 h 166"/>
                    <a:gd name="T38" fmla="*/ 2147483647 w 122"/>
                    <a:gd name="T39" fmla="*/ 2147483647 h 166"/>
                    <a:gd name="T40" fmla="*/ 2147483647 w 122"/>
                    <a:gd name="T41" fmla="*/ 2147483647 h 166"/>
                    <a:gd name="T42" fmla="*/ 2147483647 w 122"/>
                    <a:gd name="T43" fmla="*/ 2147483647 h 166"/>
                    <a:gd name="T44" fmla="*/ 2147483647 w 122"/>
                    <a:gd name="T45" fmla="*/ 2147483647 h 166"/>
                    <a:gd name="T46" fmla="*/ 2147483647 w 122"/>
                    <a:gd name="T47" fmla="*/ 2147483647 h 166"/>
                    <a:gd name="T48" fmla="*/ 2147483647 w 122"/>
                    <a:gd name="T49" fmla="*/ 2147483647 h 166"/>
                    <a:gd name="T50" fmla="*/ 2147483647 w 122"/>
                    <a:gd name="T51" fmla="*/ 2147483647 h 166"/>
                    <a:gd name="T52" fmla="*/ 2147483647 w 122"/>
                    <a:gd name="T53" fmla="*/ 2147483647 h 166"/>
                    <a:gd name="T54" fmla="*/ 2147483647 w 122"/>
                    <a:gd name="T55" fmla="*/ 2147483647 h 166"/>
                    <a:gd name="T56" fmla="*/ 2147483647 w 122"/>
                    <a:gd name="T57" fmla="*/ 2147483647 h 166"/>
                    <a:gd name="T58" fmla="*/ 2147483647 w 122"/>
                    <a:gd name="T59" fmla="*/ 2147483647 h 166"/>
                    <a:gd name="T60" fmla="*/ 2147483647 w 122"/>
                    <a:gd name="T61" fmla="*/ 2147483647 h 166"/>
                    <a:gd name="T62" fmla="*/ 2147483647 w 122"/>
                    <a:gd name="T63" fmla="*/ 2147483647 h 166"/>
                    <a:gd name="T64" fmla="*/ 2147483647 w 122"/>
                    <a:gd name="T65" fmla="*/ 2147483647 h 166"/>
                    <a:gd name="T66" fmla="*/ 2147483647 w 122"/>
                    <a:gd name="T67" fmla="*/ 0 h 1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122"/>
                    <a:gd name="T103" fmla="*/ 0 h 166"/>
                    <a:gd name="T104" fmla="*/ 122 w 122"/>
                    <a:gd name="T105" fmla="*/ 166 h 16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122" h="166">
                      <a:moveTo>
                        <a:pt x="9" y="0"/>
                      </a:moveTo>
                      <a:lnTo>
                        <a:pt x="9" y="9"/>
                      </a:lnTo>
                      <a:lnTo>
                        <a:pt x="0" y="18"/>
                      </a:lnTo>
                      <a:lnTo>
                        <a:pt x="9" y="26"/>
                      </a:lnTo>
                      <a:lnTo>
                        <a:pt x="9" y="53"/>
                      </a:lnTo>
                      <a:lnTo>
                        <a:pt x="9" y="61"/>
                      </a:lnTo>
                      <a:lnTo>
                        <a:pt x="26" y="61"/>
                      </a:lnTo>
                      <a:lnTo>
                        <a:pt x="26" y="79"/>
                      </a:lnTo>
                      <a:lnTo>
                        <a:pt x="53" y="87"/>
                      </a:lnTo>
                      <a:lnTo>
                        <a:pt x="53" y="96"/>
                      </a:lnTo>
                      <a:lnTo>
                        <a:pt x="26" y="114"/>
                      </a:lnTo>
                      <a:lnTo>
                        <a:pt x="26" y="131"/>
                      </a:lnTo>
                      <a:lnTo>
                        <a:pt x="53" y="140"/>
                      </a:lnTo>
                      <a:lnTo>
                        <a:pt x="18" y="148"/>
                      </a:lnTo>
                      <a:lnTo>
                        <a:pt x="9" y="166"/>
                      </a:lnTo>
                      <a:lnTo>
                        <a:pt x="53" y="148"/>
                      </a:lnTo>
                      <a:lnTo>
                        <a:pt x="96" y="148"/>
                      </a:lnTo>
                      <a:lnTo>
                        <a:pt x="105" y="140"/>
                      </a:lnTo>
                      <a:lnTo>
                        <a:pt x="105" y="131"/>
                      </a:lnTo>
                      <a:lnTo>
                        <a:pt x="122" y="122"/>
                      </a:lnTo>
                      <a:lnTo>
                        <a:pt x="122" y="114"/>
                      </a:lnTo>
                      <a:lnTo>
                        <a:pt x="105" y="114"/>
                      </a:lnTo>
                      <a:lnTo>
                        <a:pt x="96" y="114"/>
                      </a:lnTo>
                      <a:lnTo>
                        <a:pt x="96" y="105"/>
                      </a:lnTo>
                      <a:lnTo>
                        <a:pt x="79" y="79"/>
                      </a:lnTo>
                      <a:lnTo>
                        <a:pt x="79" y="70"/>
                      </a:lnTo>
                      <a:lnTo>
                        <a:pt x="61" y="53"/>
                      </a:lnTo>
                      <a:lnTo>
                        <a:pt x="44" y="44"/>
                      </a:lnTo>
                      <a:lnTo>
                        <a:pt x="61" y="44"/>
                      </a:lnTo>
                      <a:lnTo>
                        <a:pt x="61" y="26"/>
                      </a:lnTo>
                      <a:lnTo>
                        <a:pt x="35" y="26"/>
                      </a:lnTo>
                      <a:lnTo>
                        <a:pt x="26" y="18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49" name="Freeform 311"/>
                <p:cNvSpPr>
                  <a:spLocks/>
                </p:cNvSpPr>
                <p:nvPr/>
              </p:nvSpPr>
              <p:spPr bwMode="auto">
                <a:xfrm>
                  <a:off x="4146700" y="1708098"/>
                  <a:ext cx="74990" cy="84599"/>
                </a:xfrm>
                <a:custGeom>
                  <a:avLst/>
                  <a:gdLst>
                    <a:gd name="T0" fmla="*/ 2147483647 w 70"/>
                    <a:gd name="T1" fmla="*/ 2147483647 h 79"/>
                    <a:gd name="T2" fmla="*/ 2147483647 w 70"/>
                    <a:gd name="T3" fmla="*/ 2147483647 h 79"/>
                    <a:gd name="T4" fmla="*/ 0 w 70"/>
                    <a:gd name="T5" fmla="*/ 2147483647 h 79"/>
                    <a:gd name="T6" fmla="*/ 2147483647 w 70"/>
                    <a:gd name="T7" fmla="*/ 2147483647 h 79"/>
                    <a:gd name="T8" fmla="*/ 2147483647 w 70"/>
                    <a:gd name="T9" fmla="*/ 2147483647 h 79"/>
                    <a:gd name="T10" fmla="*/ 2147483647 w 70"/>
                    <a:gd name="T11" fmla="*/ 2147483647 h 79"/>
                    <a:gd name="T12" fmla="*/ 2147483647 w 70"/>
                    <a:gd name="T13" fmla="*/ 2147483647 h 79"/>
                    <a:gd name="T14" fmla="*/ 2147483647 w 70"/>
                    <a:gd name="T15" fmla="*/ 2147483647 h 79"/>
                    <a:gd name="T16" fmla="*/ 2147483647 w 70"/>
                    <a:gd name="T17" fmla="*/ 2147483647 h 79"/>
                    <a:gd name="T18" fmla="*/ 2147483647 w 70"/>
                    <a:gd name="T19" fmla="*/ 0 h 79"/>
                    <a:gd name="T20" fmla="*/ 2147483647 w 70"/>
                    <a:gd name="T21" fmla="*/ 2147483647 h 79"/>
                    <a:gd name="T22" fmla="*/ 2147483647 w 70"/>
                    <a:gd name="T23" fmla="*/ 2147483647 h 79"/>
                    <a:gd name="T24" fmla="*/ 2147483647 w 70"/>
                    <a:gd name="T25" fmla="*/ 2147483647 h 79"/>
                    <a:gd name="T26" fmla="*/ 2147483647 w 70"/>
                    <a:gd name="T27" fmla="*/ 2147483647 h 7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0"/>
                    <a:gd name="T43" fmla="*/ 0 h 79"/>
                    <a:gd name="T44" fmla="*/ 70 w 70"/>
                    <a:gd name="T45" fmla="*/ 79 h 79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0" h="79">
                      <a:moveTo>
                        <a:pt x="9" y="35"/>
                      </a:moveTo>
                      <a:lnTo>
                        <a:pt x="18" y="44"/>
                      </a:lnTo>
                      <a:lnTo>
                        <a:pt x="0" y="61"/>
                      </a:lnTo>
                      <a:lnTo>
                        <a:pt x="18" y="79"/>
                      </a:lnTo>
                      <a:lnTo>
                        <a:pt x="44" y="79"/>
                      </a:lnTo>
                      <a:lnTo>
                        <a:pt x="70" y="53"/>
                      </a:lnTo>
                      <a:lnTo>
                        <a:pt x="70" y="35"/>
                      </a:lnTo>
                      <a:lnTo>
                        <a:pt x="52" y="26"/>
                      </a:lnTo>
                      <a:lnTo>
                        <a:pt x="61" y="9"/>
                      </a:lnTo>
                      <a:lnTo>
                        <a:pt x="61" y="0"/>
                      </a:lnTo>
                      <a:lnTo>
                        <a:pt x="44" y="9"/>
                      </a:lnTo>
                      <a:lnTo>
                        <a:pt x="35" y="26"/>
                      </a:lnTo>
                      <a:lnTo>
                        <a:pt x="18" y="26"/>
                      </a:lnTo>
                      <a:lnTo>
                        <a:pt x="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0" name="Freeform 8"/>
                <p:cNvSpPr>
                  <a:spLocks/>
                </p:cNvSpPr>
                <p:nvPr/>
              </p:nvSpPr>
              <p:spPr bwMode="auto">
                <a:xfrm>
                  <a:off x="4987660" y="2072192"/>
                  <a:ext cx="177834" cy="158488"/>
                </a:xfrm>
                <a:custGeom>
                  <a:avLst/>
                  <a:gdLst>
                    <a:gd name="T0" fmla="*/ 2147483647 w 166"/>
                    <a:gd name="T1" fmla="*/ 2147483647 h 148"/>
                    <a:gd name="T2" fmla="*/ 2147483647 w 166"/>
                    <a:gd name="T3" fmla="*/ 0 h 148"/>
                    <a:gd name="T4" fmla="*/ 2147483647 w 166"/>
                    <a:gd name="T5" fmla="*/ 0 h 148"/>
                    <a:gd name="T6" fmla="*/ 2147483647 w 166"/>
                    <a:gd name="T7" fmla="*/ 2147483647 h 148"/>
                    <a:gd name="T8" fmla="*/ 2147483647 w 166"/>
                    <a:gd name="T9" fmla="*/ 2147483647 h 148"/>
                    <a:gd name="T10" fmla="*/ 0 w 166"/>
                    <a:gd name="T11" fmla="*/ 2147483647 h 148"/>
                    <a:gd name="T12" fmla="*/ 2147483647 w 166"/>
                    <a:gd name="T13" fmla="*/ 2147483647 h 148"/>
                    <a:gd name="T14" fmla="*/ 2147483647 w 166"/>
                    <a:gd name="T15" fmla="*/ 2147483647 h 148"/>
                    <a:gd name="T16" fmla="*/ 2147483647 w 166"/>
                    <a:gd name="T17" fmla="*/ 2147483647 h 148"/>
                    <a:gd name="T18" fmla="*/ 2147483647 w 166"/>
                    <a:gd name="T19" fmla="*/ 2147483647 h 148"/>
                    <a:gd name="T20" fmla="*/ 2147483647 w 166"/>
                    <a:gd name="T21" fmla="*/ 2147483647 h 148"/>
                    <a:gd name="T22" fmla="*/ 2147483647 w 166"/>
                    <a:gd name="T23" fmla="*/ 2147483647 h 148"/>
                    <a:gd name="T24" fmla="*/ 2147483647 w 166"/>
                    <a:gd name="T25" fmla="*/ 2147483647 h 148"/>
                    <a:gd name="T26" fmla="*/ 2147483647 w 166"/>
                    <a:gd name="T27" fmla="*/ 2147483647 h 148"/>
                    <a:gd name="T28" fmla="*/ 2147483647 w 166"/>
                    <a:gd name="T29" fmla="*/ 2147483647 h 148"/>
                    <a:gd name="T30" fmla="*/ 2147483647 w 166"/>
                    <a:gd name="T31" fmla="*/ 2147483647 h 148"/>
                    <a:gd name="T32" fmla="*/ 2147483647 w 166"/>
                    <a:gd name="T33" fmla="*/ 2147483647 h 148"/>
                    <a:gd name="T34" fmla="*/ 2147483647 w 166"/>
                    <a:gd name="T35" fmla="*/ 2147483647 h 148"/>
                    <a:gd name="T36" fmla="*/ 2147483647 w 166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66"/>
                    <a:gd name="T58" fmla="*/ 0 h 148"/>
                    <a:gd name="T59" fmla="*/ 166 w 166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66" h="148">
                      <a:moveTo>
                        <a:pt x="113" y="35"/>
                      </a:moveTo>
                      <a:lnTo>
                        <a:pt x="87" y="0"/>
                      </a:lnTo>
                      <a:lnTo>
                        <a:pt x="52" y="0"/>
                      </a:lnTo>
                      <a:lnTo>
                        <a:pt x="35" y="18"/>
                      </a:lnTo>
                      <a:lnTo>
                        <a:pt x="35" y="52"/>
                      </a:lnTo>
                      <a:lnTo>
                        <a:pt x="0" y="70"/>
                      </a:lnTo>
                      <a:lnTo>
                        <a:pt x="9" y="87"/>
                      </a:lnTo>
                      <a:lnTo>
                        <a:pt x="78" y="122"/>
                      </a:lnTo>
                      <a:lnTo>
                        <a:pt x="87" y="140"/>
                      </a:lnTo>
                      <a:lnTo>
                        <a:pt x="105" y="148"/>
                      </a:lnTo>
                      <a:lnTo>
                        <a:pt x="139" y="148"/>
                      </a:lnTo>
                      <a:lnTo>
                        <a:pt x="139" y="131"/>
                      </a:lnTo>
                      <a:lnTo>
                        <a:pt x="157" y="122"/>
                      </a:lnTo>
                      <a:lnTo>
                        <a:pt x="166" y="122"/>
                      </a:lnTo>
                      <a:lnTo>
                        <a:pt x="148" y="105"/>
                      </a:lnTo>
                      <a:lnTo>
                        <a:pt x="148" y="87"/>
                      </a:lnTo>
                      <a:lnTo>
                        <a:pt x="113" y="70"/>
                      </a:lnTo>
                      <a:lnTo>
                        <a:pt x="105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1" name="Freeform 9"/>
                <p:cNvSpPr>
                  <a:spLocks/>
                </p:cNvSpPr>
                <p:nvPr/>
              </p:nvSpPr>
              <p:spPr bwMode="auto">
                <a:xfrm>
                  <a:off x="4987660" y="2072192"/>
                  <a:ext cx="177834" cy="158488"/>
                </a:xfrm>
                <a:custGeom>
                  <a:avLst/>
                  <a:gdLst>
                    <a:gd name="T0" fmla="*/ 2147483647 w 166"/>
                    <a:gd name="T1" fmla="*/ 2147483647 h 148"/>
                    <a:gd name="T2" fmla="*/ 2147483647 w 166"/>
                    <a:gd name="T3" fmla="*/ 0 h 148"/>
                    <a:gd name="T4" fmla="*/ 2147483647 w 166"/>
                    <a:gd name="T5" fmla="*/ 0 h 148"/>
                    <a:gd name="T6" fmla="*/ 2147483647 w 166"/>
                    <a:gd name="T7" fmla="*/ 2147483647 h 148"/>
                    <a:gd name="T8" fmla="*/ 2147483647 w 166"/>
                    <a:gd name="T9" fmla="*/ 2147483647 h 148"/>
                    <a:gd name="T10" fmla="*/ 0 w 166"/>
                    <a:gd name="T11" fmla="*/ 2147483647 h 148"/>
                    <a:gd name="T12" fmla="*/ 2147483647 w 166"/>
                    <a:gd name="T13" fmla="*/ 2147483647 h 148"/>
                    <a:gd name="T14" fmla="*/ 2147483647 w 166"/>
                    <a:gd name="T15" fmla="*/ 2147483647 h 148"/>
                    <a:gd name="T16" fmla="*/ 2147483647 w 166"/>
                    <a:gd name="T17" fmla="*/ 2147483647 h 148"/>
                    <a:gd name="T18" fmla="*/ 2147483647 w 166"/>
                    <a:gd name="T19" fmla="*/ 2147483647 h 148"/>
                    <a:gd name="T20" fmla="*/ 2147483647 w 166"/>
                    <a:gd name="T21" fmla="*/ 2147483647 h 148"/>
                    <a:gd name="T22" fmla="*/ 2147483647 w 166"/>
                    <a:gd name="T23" fmla="*/ 2147483647 h 148"/>
                    <a:gd name="T24" fmla="*/ 2147483647 w 166"/>
                    <a:gd name="T25" fmla="*/ 2147483647 h 148"/>
                    <a:gd name="T26" fmla="*/ 2147483647 w 166"/>
                    <a:gd name="T27" fmla="*/ 2147483647 h 148"/>
                    <a:gd name="T28" fmla="*/ 2147483647 w 166"/>
                    <a:gd name="T29" fmla="*/ 2147483647 h 148"/>
                    <a:gd name="T30" fmla="*/ 2147483647 w 166"/>
                    <a:gd name="T31" fmla="*/ 2147483647 h 148"/>
                    <a:gd name="T32" fmla="*/ 2147483647 w 166"/>
                    <a:gd name="T33" fmla="*/ 2147483647 h 148"/>
                    <a:gd name="T34" fmla="*/ 2147483647 w 166"/>
                    <a:gd name="T35" fmla="*/ 2147483647 h 148"/>
                    <a:gd name="T36" fmla="*/ 2147483647 w 166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66"/>
                    <a:gd name="T58" fmla="*/ 0 h 148"/>
                    <a:gd name="T59" fmla="*/ 166 w 166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66" h="148">
                      <a:moveTo>
                        <a:pt x="113" y="35"/>
                      </a:moveTo>
                      <a:lnTo>
                        <a:pt x="87" y="0"/>
                      </a:lnTo>
                      <a:lnTo>
                        <a:pt x="52" y="0"/>
                      </a:lnTo>
                      <a:lnTo>
                        <a:pt x="35" y="18"/>
                      </a:lnTo>
                      <a:lnTo>
                        <a:pt x="35" y="52"/>
                      </a:lnTo>
                      <a:lnTo>
                        <a:pt x="0" y="70"/>
                      </a:lnTo>
                      <a:lnTo>
                        <a:pt x="9" y="87"/>
                      </a:lnTo>
                      <a:lnTo>
                        <a:pt x="78" y="122"/>
                      </a:lnTo>
                      <a:lnTo>
                        <a:pt x="87" y="140"/>
                      </a:lnTo>
                      <a:lnTo>
                        <a:pt x="105" y="148"/>
                      </a:lnTo>
                      <a:lnTo>
                        <a:pt x="139" y="148"/>
                      </a:lnTo>
                      <a:lnTo>
                        <a:pt x="139" y="131"/>
                      </a:lnTo>
                      <a:lnTo>
                        <a:pt x="157" y="122"/>
                      </a:lnTo>
                      <a:lnTo>
                        <a:pt x="166" y="122"/>
                      </a:lnTo>
                      <a:lnTo>
                        <a:pt x="148" y="105"/>
                      </a:lnTo>
                      <a:lnTo>
                        <a:pt x="148" y="87"/>
                      </a:lnTo>
                      <a:lnTo>
                        <a:pt x="113" y="70"/>
                      </a:lnTo>
                      <a:lnTo>
                        <a:pt x="105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2" name="Freeform 10"/>
                <p:cNvSpPr>
                  <a:spLocks/>
                </p:cNvSpPr>
                <p:nvPr/>
              </p:nvSpPr>
              <p:spPr bwMode="auto">
                <a:xfrm>
                  <a:off x="4912670" y="2072192"/>
                  <a:ext cx="130697" cy="93166"/>
                </a:xfrm>
                <a:custGeom>
                  <a:avLst/>
                  <a:gdLst>
                    <a:gd name="T0" fmla="*/ 2147483647 w 122"/>
                    <a:gd name="T1" fmla="*/ 2147483647 h 87"/>
                    <a:gd name="T2" fmla="*/ 2147483647 w 122"/>
                    <a:gd name="T3" fmla="*/ 2147483647 h 87"/>
                    <a:gd name="T4" fmla="*/ 2147483647 w 122"/>
                    <a:gd name="T5" fmla="*/ 2147483647 h 87"/>
                    <a:gd name="T6" fmla="*/ 2147483647 w 122"/>
                    <a:gd name="T7" fmla="*/ 2147483647 h 87"/>
                    <a:gd name="T8" fmla="*/ 2147483647 w 122"/>
                    <a:gd name="T9" fmla="*/ 2147483647 h 87"/>
                    <a:gd name="T10" fmla="*/ 2147483647 w 122"/>
                    <a:gd name="T11" fmla="*/ 2147483647 h 87"/>
                    <a:gd name="T12" fmla="*/ 2147483647 w 122"/>
                    <a:gd name="T13" fmla="*/ 2147483647 h 87"/>
                    <a:gd name="T14" fmla="*/ 2147483647 w 122"/>
                    <a:gd name="T15" fmla="*/ 2147483647 h 87"/>
                    <a:gd name="T16" fmla="*/ 2147483647 w 122"/>
                    <a:gd name="T17" fmla="*/ 0 h 87"/>
                    <a:gd name="T18" fmla="*/ 2147483647 w 122"/>
                    <a:gd name="T19" fmla="*/ 2147483647 h 87"/>
                    <a:gd name="T20" fmla="*/ 2147483647 w 122"/>
                    <a:gd name="T21" fmla="*/ 2147483647 h 87"/>
                    <a:gd name="T22" fmla="*/ 0 w 122"/>
                    <a:gd name="T23" fmla="*/ 2147483647 h 87"/>
                    <a:gd name="T24" fmla="*/ 2147483647 w 122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22"/>
                    <a:gd name="T40" fmla="*/ 0 h 87"/>
                    <a:gd name="T41" fmla="*/ 122 w 122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22" h="87">
                      <a:moveTo>
                        <a:pt x="9" y="44"/>
                      </a:moveTo>
                      <a:lnTo>
                        <a:pt x="35" y="44"/>
                      </a:lnTo>
                      <a:lnTo>
                        <a:pt x="35" y="52"/>
                      </a:lnTo>
                      <a:lnTo>
                        <a:pt x="18" y="70"/>
                      </a:lnTo>
                      <a:lnTo>
                        <a:pt x="18" y="79"/>
                      </a:lnTo>
                      <a:lnTo>
                        <a:pt x="35" y="87"/>
                      </a:lnTo>
                      <a:lnTo>
                        <a:pt x="105" y="52"/>
                      </a:lnTo>
                      <a:lnTo>
                        <a:pt x="105" y="18"/>
                      </a:lnTo>
                      <a:lnTo>
                        <a:pt x="122" y="0"/>
                      </a:lnTo>
                      <a:lnTo>
                        <a:pt x="35" y="9"/>
                      </a:lnTo>
                      <a:lnTo>
                        <a:pt x="9" y="26"/>
                      </a:lnTo>
                      <a:lnTo>
                        <a:pt x="0" y="26"/>
                      </a:lnTo>
                      <a:lnTo>
                        <a:pt x="9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3" name="Freeform 11"/>
                <p:cNvSpPr>
                  <a:spLocks/>
                </p:cNvSpPr>
                <p:nvPr/>
              </p:nvSpPr>
              <p:spPr bwMode="auto">
                <a:xfrm>
                  <a:off x="4912670" y="2072192"/>
                  <a:ext cx="130697" cy="93166"/>
                </a:xfrm>
                <a:custGeom>
                  <a:avLst/>
                  <a:gdLst>
                    <a:gd name="T0" fmla="*/ 2147483647 w 122"/>
                    <a:gd name="T1" fmla="*/ 2147483647 h 87"/>
                    <a:gd name="T2" fmla="*/ 2147483647 w 122"/>
                    <a:gd name="T3" fmla="*/ 2147483647 h 87"/>
                    <a:gd name="T4" fmla="*/ 2147483647 w 122"/>
                    <a:gd name="T5" fmla="*/ 2147483647 h 87"/>
                    <a:gd name="T6" fmla="*/ 2147483647 w 122"/>
                    <a:gd name="T7" fmla="*/ 2147483647 h 87"/>
                    <a:gd name="T8" fmla="*/ 2147483647 w 122"/>
                    <a:gd name="T9" fmla="*/ 2147483647 h 87"/>
                    <a:gd name="T10" fmla="*/ 2147483647 w 122"/>
                    <a:gd name="T11" fmla="*/ 2147483647 h 87"/>
                    <a:gd name="T12" fmla="*/ 2147483647 w 122"/>
                    <a:gd name="T13" fmla="*/ 2147483647 h 87"/>
                    <a:gd name="T14" fmla="*/ 2147483647 w 122"/>
                    <a:gd name="T15" fmla="*/ 2147483647 h 87"/>
                    <a:gd name="T16" fmla="*/ 2147483647 w 122"/>
                    <a:gd name="T17" fmla="*/ 0 h 87"/>
                    <a:gd name="T18" fmla="*/ 2147483647 w 122"/>
                    <a:gd name="T19" fmla="*/ 2147483647 h 87"/>
                    <a:gd name="T20" fmla="*/ 2147483647 w 122"/>
                    <a:gd name="T21" fmla="*/ 2147483647 h 87"/>
                    <a:gd name="T22" fmla="*/ 0 w 122"/>
                    <a:gd name="T23" fmla="*/ 2147483647 h 87"/>
                    <a:gd name="T24" fmla="*/ 2147483647 w 122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22"/>
                    <a:gd name="T40" fmla="*/ 0 h 87"/>
                    <a:gd name="T41" fmla="*/ 122 w 122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22" h="87">
                      <a:moveTo>
                        <a:pt x="9" y="44"/>
                      </a:moveTo>
                      <a:lnTo>
                        <a:pt x="35" y="44"/>
                      </a:lnTo>
                      <a:lnTo>
                        <a:pt x="35" y="52"/>
                      </a:lnTo>
                      <a:lnTo>
                        <a:pt x="18" y="70"/>
                      </a:lnTo>
                      <a:lnTo>
                        <a:pt x="18" y="79"/>
                      </a:lnTo>
                      <a:lnTo>
                        <a:pt x="35" y="87"/>
                      </a:lnTo>
                      <a:lnTo>
                        <a:pt x="105" y="52"/>
                      </a:lnTo>
                      <a:lnTo>
                        <a:pt x="105" y="18"/>
                      </a:lnTo>
                      <a:lnTo>
                        <a:pt x="122" y="0"/>
                      </a:lnTo>
                      <a:lnTo>
                        <a:pt x="35" y="9"/>
                      </a:lnTo>
                      <a:lnTo>
                        <a:pt x="9" y="26"/>
                      </a:lnTo>
                      <a:lnTo>
                        <a:pt x="0" y="26"/>
                      </a:lnTo>
                      <a:lnTo>
                        <a:pt x="9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4" name="Freeform 12"/>
                <p:cNvSpPr>
                  <a:spLocks/>
                </p:cNvSpPr>
                <p:nvPr/>
              </p:nvSpPr>
              <p:spPr bwMode="auto">
                <a:xfrm>
                  <a:off x="5062650" y="2016507"/>
                  <a:ext cx="364238" cy="289134"/>
                </a:xfrm>
                <a:custGeom>
                  <a:avLst/>
                  <a:gdLst>
                    <a:gd name="T0" fmla="*/ 2147483647 w 340"/>
                    <a:gd name="T1" fmla="*/ 2147483647 h 270"/>
                    <a:gd name="T2" fmla="*/ 2147483647 w 340"/>
                    <a:gd name="T3" fmla="*/ 2147483647 h 270"/>
                    <a:gd name="T4" fmla="*/ 2147483647 w 340"/>
                    <a:gd name="T5" fmla="*/ 0 h 270"/>
                    <a:gd name="T6" fmla="*/ 2147483647 w 340"/>
                    <a:gd name="T7" fmla="*/ 2147483647 h 270"/>
                    <a:gd name="T8" fmla="*/ 2147483647 w 340"/>
                    <a:gd name="T9" fmla="*/ 2147483647 h 270"/>
                    <a:gd name="T10" fmla="*/ 0 w 340"/>
                    <a:gd name="T11" fmla="*/ 2147483647 h 270"/>
                    <a:gd name="T12" fmla="*/ 2147483647 w 340"/>
                    <a:gd name="T13" fmla="*/ 2147483647 h 270"/>
                    <a:gd name="T14" fmla="*/ 2147483647 w 340"/>
                    <a:gd name="T15" fmla="*/ 2147483647 h 270"/>
                    <a:gd name="T16" fmla="*/ 2147483647 w 340"/>
                    <a:gd name="T17" fmla="*/ 2147483647 h 270"/>
                    <a:gd name="T18" fmla="*/ 2147483647 w 340"/>
                    <a:gd name="T19" fmla="*/ 2147483647 h 270"/>
                    <a:gd name="T20" fmla="*/ 2147483647 w 340"/>
                    <a:gd name="T21" fmla="*/ 2147483647 h 270"/>
                    <a:gd name="T22" fmla="*/ 2147483647 w 340"/>
                    <a:gd name="T23" fmla="*/ 2147483647 h 270"/>
                    <a:gd name="T24" fmla="*/ 2147483647 w 340"/>
                    <a:gd name="T25" fmla="*/ 2147483647 h 270"/>
                    <a:gd name="T26" fmla="*/ 2147483647 w 340"/>
                    <a:gd name="T27" fmla="*/ 2147483647 h 270"/>
                    <a:gd name="T28" fmla="*/ 2147483647 w 340"/>
                    <a:gd name="T29" fmla="*/ 2147483647 h 270"/>
                    <a:gd name="T30" fmla="*/ 2147483647 w 340"/>
                    <a:gd name="T31" fmla="*/ 2147483647 h 270"/>
                    <a:gd name="T32" fmla="*/ 2147483647 w 340"/>
                    <a:gd name="T33" fmla="*/ 2147483647 h 270"/>
                    <a:gd name="T34" fmla="*/ 2147483647 w 340"/>
                    <a:gd name="T35" fmla="*/ 2147483647 h 270"/>
                    <a:gd name="T36" fmla="*/ 2147483647 w 340"/>
                    <a:gd name="T37" fmla="*/ 2147483647 h 270"/>
                    <a:gd name="T38" fmla="*/ 2147483647 w 340"/>
                    <a:gd name="T39" fmla="*/ 2147483647 h 270"/>
                    <a:gd name="T40" fmla="*/ 2147483647 w 340"/>
                    <a:gd name="T41" fmla="*/ 2147483647 h 270"/>
                    <a:gd name="T42" fmla="*/ 2147483647 w 340"/>
                    <a:gd name="T43" fmla="*/ 2147483647 h 270"/>
                    <a:gd name="T44" fmla="*/ 2147483647 w 340"/>
                    <a:gd name="T45" fmla="*/ 2147483647 h 270"/>
                    <a:gd name="T46" fmla="*/ 2147483647 w 340"/>
                    <a:gd name="T47" fmla="*/ 2147483647 h 270"/>
                    <a:gd name="T48" fmla="*/ 2147483647 w 340"/>
                    <a:gd name="T49" fmla="*/ 2147483647 h 270"/>
                    <a:gd name="T50" fmla="*/ 2147483647 w 340"/>
                    <a:gd name="T51" fmla="*/ 2147483647 h 270"/>
                    <a:gd name="T52" fmla="*/ 2147483647 w 340"/>
                    <a:gd name="T53" fmla="*/ 2147483647 h 270"/>
                    <a:gd name="T54" fmla="*/ 2147483647 w 340"/>
                    <a:gd name="T55" fmla="*/ 2147483647 h 270"/>
                    <a:gd name="T56" fmla="*/ 2147483647 w 340"/>
                    <a:gd name="T57" fmla="*/ 2147483647 h 270"/>
                    <a:gd name="T58" fmla="*/ 2147483647 w 340"/>
                    <a:gd name="T59" fmla="*/ 2147483647 h 270"/>
                    <a:gd name="T60" fmla="*/ 2147483647 w 340"/>
                    <a:gd name="T61" fmla="*/ 2147483647 h 270"/>
                    <a:gd name="T62" fmla="*/ 2147483647 w 340"/>
                    <a:gd name="T63" fmla="*/ 2147483647 h 270"/>
                    <a:gd name="T64" fmla="*/ 2147483647 w 340"/>
                    <a:gd name="T65" fmla="*/ 2147483647 h 270"/>
                    <a:gd name="T66" fmla="*/ 2147483647 w 340"/>
                    <a:gd name="T67" fmla="*/ 2147483647 h 270"/>
                    <a:gd name="T68" fmla="*/ 2147483647 w 340"/>
                    <a:gd name="T69" fmla="*/ 2147483647 h 270"/>
                    <a:gd name="T70" fmla="*/ 2147483647 w 340"/>
                    <a:gd name="T71" fmla="*/ 2147483647 h 270"/>
                    <a:gd name="T72" fmla="*/ 2147483647 w 340"/>
                    <a:gd name="T73" fmla="*/ 2147483647 h 27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40"/>
                    <a:gd name="T112" fmla="*/ 0 h 270"/>
                    <a:gd name="T113" fmla="*/ 340 w 340"/>
                    <a:gd name="T114" fmla="*/ 270 h 27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40" h="270">
                      <a:moveTo>
                        <a:pt x="69" y="35"/>
                      </a:moveTo>
                      <a:lnTo>
                        <a:pt x="61" y="9"/>
                      </a:lnTo>
                      <a:lnTo>
                        <a:pt x="43" y="0"/>
                      </a:lnTo>
                      <a:lnTo>
                        <a:pt x="35" y="17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52"/>
                      </a:lnTo>
                      <a:lnTo>
                        <a:pt x="43" y="87"/>
                      </a:lnTo>
                      <a:lnTo>
                        <a:pt x="35" y="96"/>
                      </a:lnTo>
                      <a:lnTo>
                        <a:pt x="43" y="122"/>
                      </a:lnTo>
                      <a:lnTo>
                        <a:pt x="78" y="139"/>
                      </a:lnTo>
                      <a:lnTo>
                        <a:pt x="78" y="157"/>
                      </a:lnTo>
                      <a:lnTo>
                        <a:pt x="96" y="174"/>
                      </a:lnTo>
                      <a:lnTo>
                        <a:pt x="104" y="174"/>
                      </a:lnTo>
                      <a:lnTo>
                        <a:pt x="130" y="218"/>
                      </a:lnTo>
                      <a:lnTo>
                        <a:pt x="157" y="218"/>
                      </a:lnTo>
                      <a:lnTo>
                        <a:pt x="165" y="235"/>
                      </a:lnTo>
                      <a:lnTo>
                        <a:pt x="200" y="244"/>
                      </a:lnTo>
                      <a:lnTo>
                        <a:pt x="226" y="227"/>
                      </a:lnTo>
                      <a:lnTo>
                        <a:pt x="235" y="235"/>
                      </a:lnTo>
                      <a:lnTo>
                        <a:pt x="235" y="253"/>
                      </a:lnTo>
                      <a:lnTo>
                        <a:pt x="322" y="270"/>
                      </a:lnTo>
                      <a:lnTo>
                        <a:pt x="322" y="253"/>
                      </a:lnTo>
                      <a:lnTo>
                        <a:pt x="340" y="244"/>
                      </a:lnTo>
                      <a:lnTo>
                        <a:pt x="331" y="218"/>
                      </a:lnTo>
                      <a:lnTo>
                        <a:pt x="296" y="192"/>
                      </a:lnTo>
                      <a:lnTo>
                        <a:pt x="305" y="157"/>
                      </a:lnTo>
                      <a:lnTo>
                        <a:pt x="296" y="148"/>
                      </a:lnTo>
                      <a:lnTo>
                        <a:pt x="270" y="104"/>
                      </a:lnTo>
                      <a:lnTo>
                        <a:pt x="287" y="87"/>
                      </a:lnTo>
                      <a:lnTo>
                        <a:pt x="279" y="61"/>
                      </a:lnTo>
                      <a:lnTo>
                        <a:pt x="226" y="35"/>
                      </a:lnTo>
                      <a:lnTo>
                        <a:pt x="183" y="26"/>
                      </a:lnTo>
                      <a:lnTo>
                        <a:pt x="113" y="61"/>
                      </a:lnTo>
                      <a:lnTo>
                        <a:pt x="104" y="61"/>
                      </a:lnTo>
                      <a:lnTo>
                        <a:pt x="104" y="52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5" name="Freeform 13"/>
                <p:cNvSpPr>
                  <a:spLocks/>
                </p:cNvSpPr>
                <p:nvPr/>
              </p:nvSpPr>
              <p:spPr bwMode="auto">
                <a:xfrm>
                  <a:off x="5062650" y="2016507"/>
                  <a:ext cx="364238" cy="289134"/>
                </a:xfrm>
                <a:custGeom>
                  <a:avLst/>
                  <a:gdLst>
                    <a:gd name="T0" fmla="*/ 2147483647 w 340"/>
                    <a:gd name="T1" fmla="*/ 2147483647 h 270"/>
                    <a:gd name="T2" fmla="*/ 2147483647 w 340"/>
                    <a:gd name="T3" fmla="*/ 2147483647 h 270"/>
                    <a:gd name="T4" fmla="*/ 2147483647 w 340"/>
                    <a:gd name="T5" fmla="*/ 0 h 270"/>
                    <a:gd name="T6" fmla="*/ 2147483647 w 340"/>
                    <a:gd name="T7" fmla="*/ 2147483647 h 270"/>
                    <a:gd name="T8" fmla="*/ 2147483647 w 340"/>
                    <a:gd name="T9" fmla="*/ 2147483647 h 270"/>
                    <a:gd name="T10" fmla="*/ 0 w 340"/>
                    <a:gd name="T11" fmla="*/ 2147483647 h 270"/>
                    <a:gd name="T12" fmla="*/ 2147483647 w 340"/>
                    <a:gd name="T13" fmla="*/ 2147483647 h 270"/>
                    <a:gd name="T14" fmla="*/ 2147483647 w 340"/>
                    <a:gd name="T15" fmla="*/ 2147483647 h 270"/>
                    <a:gd name="T16" fmla="*/ 2147483647 w 340"/>
                    <a:gd name="T17" fmla="*/ 2147483647 h 270"/>
                    <a:gd name="T18" fmla="*/ 2147483647 w 340"/>
                    <a:gd name="T19" fmla="*/ 2147483647 h 270"/>
                    <a:gd name="T20" fmla="*/ 2147483647 w 340"/>
                    <a:gd name="T21" fmla="*/ 2147483647 h 270"/>
                    <a:gd name="T22" fmla="*/ 2147483647 w 340"/>
                    <a:gd name="T23" fmla="*/ 2147483647 h 270"/>
                    <a:gd name="T24" fmla="*/ 2147483647 w 340"/>
                    <a:gd name="T25" fmla="*/ 2147483647 h 270"/>
                    <a:gd name="T26" fmla="*/ 2147483647 w 340"/>
                    <a:gd name="T27" fmla="*/ 2147483647 h 270"/>
                    <a:gd name="T28" fmla="*/ 2147483647 w 340"/>
                    <a:gd name="T29" fmla="*/ 2147483647 h 270"/>
                    <a:gd name="T30" fmla="*/ 2147483647 w 340"/>
                    <a:gd name="T31" fmla="*/ 2147483647 h 270"/>
                    <a:gd name="T32" fmla="*/ 2147483647 w 340"/>
                    <a:gd name="T33" fmla="*/ 2147483647 h 270"/>
                    <a:gd name="T34" fmla="*/ 2147483647 w 340"/>
                    <a:gd name="T35" fmla="*/ 2147483647 h 270"/>
                    <a:gd name="T36" fmla="*/ 2147483647 w 340"/>
                    <a:gd name="T37" fmla="*/ 2147483647 h 270"/>
                    <a:gd name="T38" fmla="*/ 2147483647 w 340"/>
                    <a:gd name="T39" fmla="*/ 2147483647 h 270"/>
                    <a:gd name="T40" fmla="*/ 2147483647 w 340"/>
                    <a:gd name="T41" fmla="*/ 2147483647 h 270"/>
                    <a:gd name="T42" fmla="*/ 2147483647 w 340"/>
                    <a:gd name="T43" fmla="*/ 2147483647 h 270"/>
                    <a:gd name="T44" fmla="*/ 2147483647 w 340"/>
                    <a:gd name="T45" fmla="*/ 2147483647 h 270"/>
                    <a:gd name="T46" fmla="*/ 2147483647 w 340"/>
                    <a:gd name="T47" fmla="*/ 2147483647 h 270"/>
                    <a:gd name="T48" fmla="*/ 2147483647 w 340"/>
                    <a:gd name="T49" fmla="*/ 2147483647 h 270"/>
                    <a:gd name="T50" fmla="*/ 2147483647 w 340"/>
                    <a:gd name="T51" fmla="*/ 2147483647 h 270"/>
                    <a:gd name="T52" fmla="*/ 2147483647 w 340"/>
                    <a:gd name="T53" fmla="*/ 2147483647 h 270"/>
                    <a:gd name="T54" fmla="*/ 2147483647 w 340"/>
                    <a:gd name="T55" fmla="*/ 2147483647 h 270"/>
                    <a:gd name="T56" fmla="*/ 2147483647 w 340"/>
                    <a:gd name="T57" fmla="*/ 2147483647 h 270"/>
                    <a:gd name="T58" fmla="*/ 2147483647 w 340"/>
                    <a:gd name="T59" fmla="*/ 2147483647 h 270"/>
                    <a:gd name="T60" fmla="*/ 2147483647 w 340"/>
                    <a:gd name="T61" fmla="*/ 2147483647 h 270"/>
                    <a:gd name="T62" fmla="*/ 2147483647 w 340"/>
                    <a:gd name="T63" fmla="*/ 2147483647 h 270"/>
                    <a:gd name="T64" fmla="*/ 2147483647 w 340"/>
                    <a:gd name="T65" fmla="*/ 2147483647 h 270"/>
                    <a:gd name="T66" fmla="*/ 2147483647 w 340"/>
                    <a:gd name="T67" fmla="*/ 2147483647 h 270"/>
                    <a:gd name="T68" fmla="*/ 2147483647 w 340"/>
                    <a:gd name="T69" fmla="*/ 2147483647 h 270"/>
                    <a:gd name="T70" fmla="*/ 2147483647 w 340"/>
                    <a:gd name="T71" fmla="*/ 2147483647 h 270"/>
                    <a:gd name="T72" fmla="*/ 2147483647 w 340"/>
                    <a:gd name="T73" fmla="*/ 2147483647 h 27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40"/>
                    <a:gd name="T112" fmla="*/ 0 h 270"/>
                    <a:gd name="T113" fmla="*/ 340 w 340"/>
                    <a:gd name="T114" fmla="*/ 270 h 27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40" h="270">
                      <a:moveTo>
                        <a:pt x="69" y="35"/>
                      </a:moveTo>
                      <a:lnTo>
                        <a:pt x="61" y="9"/>
                      </a:lnTo>
                      <a:lnTo>
                        <a:pt x="43" y="0"/>
                      </a:lnTo>
                      <a:lnTo>
                        <a:pt x="35" y="17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52"/>
                      </a:lnTo>
                      <a:lnTo>
                        <a:pt x="43" y="87"/>
                      </a:lnTo>
                      <a:lnTo>
                        <a:pt x="35" y="96"/>
                      </a:lnTo>
                      <a:lnTo>
                        <a:pt x="43" y="122"/>
                      </a:lnTo>
                      <a:lnTo>
                        <a:pt x="78" y="139"/>
                      </a:lnTo>
                      <a:lnTo>
                        <a:pt x="78" y="157"/>
                      </a:lnTo>
                      <a:lnTo>
                        <a:pt x="96" y="174"/>
                      </a:lnTo>
                      <a:lnTo>
                        <a:pt x="104" y="174"/>
                      </a:lnTo>
                      <a:lnTo>
                        <a:pt x="130" y="218"/>
                      </a:lnTo>
                      <a:lnTo>
                        <a:pt x="157" y="218"/>
                      </a:lnTo>
                      <a:lnTo>
                        <a:pt x="165" y="235"/>
                      </a:lnTo>
                      <a:lnTo>
                        <a:pt x="200" y="244"/>
                      </a:lnTo>
                      <a:lnTo>
                        <a:pt x="226" y="227"/>
                      </a:lnTo>
                      <a:lnTo>
                        <a:pt x="235" y="235"/>
                      </a:lnTo>
                      <a:lnTo>
                        <a:pt x="235" y="253"/>
                      </a:lnTo>
                      <a:lnTo>
                        <a:pt x="322" y="270"/>
                      </a:lnTo>
                      <a:lnTo>
                        <a:pt x="322" y="253"/>
                      </a:lnTo>
                      <a:lnTo>
                        <a:pt x="340" y="244"/>
                      </a:lnTo>
                      <a:lnTo>
                        <a:pt x="331" y="218"/>
                      </a:lnTo>
                      <a:lnTo>
                        <a:pt x="296" y="192"/>
                      </a:lnTo>
                      <a:lnTo>
                        <a:pt x="305" y="157"/>
                      </a:lnTo>
                      <a:lnTo>
                        <a:pt x="296" y="148"/>
                      </a:lnTo>
                      <a:lnTo>
                        <a:pt x="270" y="104"/>
                      </a:lnTo>
                      <a:lnTo>
                        <a:pt x="287" y="87"/>
                      </a:lnTo>
                      <a:lnTo>
                        <a:pt x="279" y="61"/>
                      </a:lnTo>
                      <a:lnTo>
                        <a:pt x="226" y="35"/>
                      </a:lnTo>
                      <a:lnTo>
                        <a:pt x="183" y="26"/>
                      </a:lnTo>
                      <a:lnTo>
                        <a:pt x="113" y="61"/>
                      </a:lnTo>
                      <a:lnTo>
                        <a:pt x="104" y="61"/>
                      </a:lnTo>
                      <a:lnTo>
                        <a:pt x="104" y="52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6" name="Freeform 14"/>
                <p:cNvSpPr>
                  <a:spLocks/>
                </p:cNvSpPr>
                <p:nvPr/>
              </p:nvSpPr>
              <p:spPr bwMode="auto">
                <a:xfrm>
                  <a:off x="5351898" y="2044350"/>
                  <a:ext cx="243182" cy="177764"/>
                </a:xfrm>
                <a:custGeom>
                  <a:avLst/>
                  <a:gdLst>
                    <a:gd name="T0" fmla="*/ 2147483647 w 227"/>
                    <a:gd name="T1" fmla="*/ 0 h 166"/>
                    <a:gd name="T2" fmla="*/ 2147483647 w 227"/>
                    <a:gd name="T3" fmla="*/ 2147483647 h 166"/>
                    <a:gd name="T4" fmla="*/ 2147483647 w 227"/>
                    <a:gd name="T5" fmla="*/ 2147483647 h 166"/>
                    <a:gd name="T6" fmla="*/ 2147483647 w 227"/>
                    <a:gd name="T7" fmla="*/ 2147483647 h 166"/>
                    <a:gd name="T8" fmla="*/ 2147483647 w 227"/>
                    <a:gd name="T9" fmla="*/ 2147483647 h 166"/>
                    <a:gd name="T10" fmla="*/ 2147483647 w 227"/>
                    <a:gd name="T11" fmla="*/ 2147483647 h 166"/>
                    <a:gd name="T12" fmla="*/ 2147483647 w 227"/>
                    <a:gd name="T13" fmla="*/ 2147483647 h 166"/>
                    <a:gd name="T14" fmla="*/ 2147483647 w 227"/>
                    <a:gd name="T15" fmla="*/ 2147483647 h 166"/>
                    <a:gd name="T16" fmla="*/ 0 w 227"/>
                    <a:gd name="T17" fmla="*/ 2147483647 h 166"/>
                    <a:gd name="T18" fmla="*/ 2147483647 w 227"/>
                    <a:gd name="T19" fmla="*/ 2147483647 h 166"/>
                    <a:gd name="T20" fmla="*/ 2147483647 w 227"/>
                    <a:gd name="T21" fmla="*/ 2147483647 h 166"/>
                    <a:gd name="T22" fmla="*/ 2147483647 w 227"/>
                    <a:gd name="T23" fmla="*/ 2147483647 h 166"/>
                    <a:gd name="T24" fmla="*/ 2147483647 w 227"/>
                    <a:gd name="T25" fmla="*/ 2147483647 h 166"/>
                    <a:gd name="T26" fmla="*/ 2147483647 w 227"/>
                    <a:gd name="T27" fmla="*/ 2147483647 h 166"/>
                    <a:gd name="T28" fmla="*/ 2147483647 w 227"/>
                    <a:gd name="T29" fmla="*/ 2147483647 h 166"/>
                    <a:gd name="T30" fmla="*/ 2147483647 w 227"/>
                    <a:gd name="T31" fmla="*/ 2147483647 h 166"/>
                    <a:gd name="T32" fmla="*/ 2147483647 w 227"/>
                    <a:gd name="T33" fmla="*/ 2147483647 h 166"/>
                    <a:gd name="T34" fmla="*/ 2147483647 w 227"/>
                    <a:gd name="T35" fmla="*/ 2147483647 h 166"/>
                    <a:gd name="T36" fmla="*/ 2147483647 w 227"/>
                    <a:gd name="T37" fmla="*/ 2147483647 h 166"/>
                    <a:gd name="T38" fmla="*/ 2147483647 w 227"/>
                    <a:gd name="T39" fmla="*/ 2147483647 h 166"/>
                    <a:gd name="T40" fmla="*/ 2147483647 w 227"/>
                    <a:gd name="T41" fmla="*/ 2147483647 h 166"/>
                    <a:gd name="T42" fmla="*/ 2147483647 w 227"/>
                    <a:gd name="T43" fmla="*/ 2147483647 h 166"/>
                    <a:gd name="T44" fmla="*/ 2147483647 w 227"/>
                    <a:gd name="T45" fmla="*/ 2147483647 h 166"/>
                    <a:gd name="T46" fmla="*/ 2147483647 w 227"/>
                    <a:gd name="T47" fmla="*/ 2147483647 h 166"/>
                    <a:gd name="T48" fmla="*/ 2147483647 w 227"/>
                    <a:gd name="T49" fmla="*/ 2147483647 h 166"/>
                    <a:gd name="T50" fmla="*/ 2147483647 w 227"/>
                    <a:gd name="T51" fmla="*/ 2147483647 h 166"/>
                    <a:gd name="T52" fmla="*/ 2147483647 w 227"/>
                    <a:gd name="T53" fmla="*/ 2147483647 h 166"/>
                    <a:gd name="T54" fmla="*/ 2147483647 w 227"/>
                    <a:gd name="T55" fmla="*/ 2147483647 h 166"/>
                    <a:gd name="T56" fmla="*/ 2147483647 w 227"/>
                    <a:gd name="T57" fmla="*/ 0 h 16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166"/>
                    <a:gd name="T89" fmla="*/ 227 w 227"/>
                    <a:gd name="T90" fmla="*/ 166 h 16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166">
                      <a:moveTo>
                        <a:pt x="148" y="0"/>
                      </a:moveTo>
                      <a:lnTo>
                        <a:pt x="139" y="17"/>
                      </a:lnTo>
                      <a:lnTo>
                        <a:pt x="105" y="26"/>
                      </a:lnTo>
                      <a:lnTo>
                        <a:pt x="96" y="17"/>
                      </a:lnTo>
                      <a:lnTo>
                        <a:pt x="70" y="17"/>
                      </a:lnTo>
                      <a:lnTo>
                        <a:pt x="52" y="44"/>
                      </a:lnTo>
                      <a:lnTo>
                        <a:pt x="35" y="52"/>
                      </a:lnTo>
                      <a:lnTo>
                        <a:pt x="17" y="61"/>
                      </a:lnTo>
                      <a:lnTo>
                        <a:pt x="0" y="78"/>
                      </a:lnTo>
                      <a:lnTo>
                        <a:pt x="26" y="122"/>
                      </a:lnTo>
                      <a:lnTo>
                        <a:pt x="35" y="131"/>
                      </a:lnTo>
                      <a:lnTo>
                        <a:pt x="26" y="166"/>
                      </a:lnTo>
                      <a:lnTo>
                        <a:pt x="61" y="166"/>
                      </a:lnTo>
                      <a:lnTo>
                        <a:pt x="105" y="157"/>
                      </a:lnTo>
                      <a:lnTo>
                        <a:pt x="122" y="131"/>
                      </a:lnTo>
                      <a:lnTo>
                        <a:pt x="139" y="122"/>
                      </a:lnTo>
                      <a:lnTo>
                        <a:pt x="148" y="131"/>
                      </a:lnTo>
                      <a:lnTo>
                        <a:pt x="157" y="78"/>
                      </a:lnTo>
                      <a:lnTo>
                        <a:pt x="174" y="70"/>
                      </a:lnTo>
                      <a:lnTo>
                        <a:pt x="183" y="52"/>
                      </a:lnTo>
                      <a:lnTo>
                        <a:pt x="174" y="44"/>
                      </a:lnTo>
                      <a:lnTo>
                        <a:pt x="174" y="35"/>
                      </a:lnTo>
                      <a:lnTo>
                        <a:pt x="227" y="26"/>
                      </a:lnTo>
                      <a:lnTo>
                        <a:pt x="218" y="17"/>
                      </a:lnTo>
                      <a:lnTo>
                        <a:pt x="183" y="9"/>
                      </a:lnTo>
                      <a:lnTo>
                        <a:pt x="183" y="26"/>
                      </a:lnTo>
                      <a:lnTo>
                        <a:pt x="166" y="26"/>
                      </a:lnTo>
                      <a:lnTo>
                        <a:pt x="166" y="9"/>
                      </a:lnTo>
                      <a:lnTo>
                        <a:pt x="14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7" name="Freeform 15"/>
                <p:cNvSpPr>
                  <a:spLocks/>
                </p:cNvSpPr>
                <p:nvPr/>
              </p:nvSpPr>
              <p:spPr bwMode="auto">
                <a:xfrm>
                  <a:off x="5351898" y="2044350"/>
                  <a:ext cx="243182" cy="177764"/>
                </a:xfrm>
                <a:custGeom>
                  <a:avLst/>
                  <a:gdLst>
                    <a:gd name="T0" fmla="*/ 2147483647 w 227"/>
                    <a:gd name="T1" fmla="*/ 0 h 166"/>
                    <a:gd name="T2" fmla="*/ 2147483647 w 227"/>
                    <a:gd name="T3" fmla="*/ 2147483647 h 166"/>
                    <a:gd name="T4" fmla="*/ 2147483647 w 227"/>
                    <a:gd name="T5" fmla="*/ 2147483647 h 166"/>
                    <a:gd name="T6" fmla="*/ 2147483647 w 227"/>
                    <a:gd name="T7" fmla="*/ 2147483647 h 166"/>
                    <a:gd name="T8" fmla="*/ 2147483647 w 227"/>
                    <a:gd name="T9" fmla="*/ 2147483647 h 166"/>
                    <a:gd name="T10" fmla="*/ 2147483647 w 227"/>
                    <a:gd name="T11" fmla="*/ 2147483647 h 166"/>
                    <a:gd name="T12" fmla="*/ 2147483647 w 227"/>
                    <a:gd name="T13" fmla="*/ 2147483647 h 166"/>
                    <a:gd name="T14" fmla="*/ 2147483647 w 227"/>
                    <a:gd name="T15" fmla="*/ 2147483647 h 166"/>
                    <a:gd name="T16" fmla="*/ 0 w 227"/>
                    <a:gd name="T17" fmla="*/ 2147483647 h 166"/>
                    <a:gd name="T18" fmla="*/ 2147483647 w 227"/>
                    <a:gd name="T19" fmla="*/ 2147483647 h 166"/>
                    <a:gd name="T20" fmla="*/ 2147483647 w 227"/>
                    <a:gd name="T21" fmla="*/ 2147483647 h 166"/>
                    <a:gd name="T22" fmla="*/ 2147483647 w 227"/>
                    <a:gd name="T23" fmla="*/ 2147483647 h 166"/>
                    <a:gd name="T24" fmla="*/ 2147483647 w 227"/>
                    <a:gd name="T25" fmla="*/ 2147483647 h 166"/>
                    <a:gd name="T26" fmla="*/ 2147483647 w 227"/>
                    <a:gd name="T27" fmla="*/ 2147483647 h 166"/>
                    <a:gd name="T28" fmla="*/ 2147483647 w 227"/>
                    <a:gd name="T29" fmla="*/ 2147483647 h 166"/>
                    <a:gd name="T30" fmla="*/ 2147483647 w 227"/>
                    <a:gd name="T31" fmla="*/ 2147483647 h 166"/>
                    <a:gd name="T32" fmla="*/ 2147483647 w 227"/>
                    <a:gd name="T33" fmla="*/ 2147483647 h 166"/>
                    <a:gd name="T34" fmla="*/ 2147483647 w 227"/>
                    <a:gd name="T35" fmla="*/ 2147483647 h 166"/>
                    <a:gd name="T36" fmla="*/ 2147483647 w 227"/>
                    <a:gd name="T37" fmla="*/ 2147483647 h 166"/>
                    <a:gd name="T38" fmla="*/ 2147483647 w 227"/>
                    <a:gd name="T39" fmla="*/ 2147483647 h 166"/>
                    <a:gd name="T40" fmla="*/ 2147483647 w 227"/>
                    <a:gd name="T41" fmla="*/ 2147483647 h 166"/>
                    <a:gd name="T42" fmla="*/ 2147483647 w 227"/>
                    <a:gd name="T43" fmla="*/ 2147483647 h 166"/>
                    <a:gd name="T44" fmla="*/ 2147483647 w 227"/>
                    <a:gd name="T45" fmla="*/ 2147483647 h 166"/>
                    <a:gd name="T46" fmla="*/ 2147483647 w 227"/>
                    <a:gd name="T47" fmla="*/ 2147483647 h 166"/>
                    <a:gd name="T48" fmla="*/ 2147483647 w 227"/>
                    <a:gd name="T49" fmla="*/ 2147483647 h 166"/>
                    <a:gd name="T50" fmla="*/ 2147483647 w 227"/>
                    <a:gd name="T51" fmla="*/ 2147483647 h 166"/>
                    <a:gd name="T52" fmla="*/ 2147483647 w 227"/>
                    <a:gd name="T53" fmla="*/ 2147483647 h 166"/>
                    <a:gd name="T54" fmla="*/ 2147483647 w 227"/>
                    <a:gd name="T55" fmla="*/ 2147483647 h 166"/>
                    <a:gd name="T56" fmla="*/ 2147483647 w 227"/>
                    <a:gd name="T57" fmla="*/ 0 h 16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166"/>
                    <a:gd name="T89" fmla="*/ 227 w 227"/>
                    <a:gd name="T90" fmla="*/ 166 h 16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166">
                      <a:moveTo>
                        <a:pt x="148" y="0"/>
                      </a:moveTo>
                      <a:lnTo>
                        <a:pt x="139" y="17"/>
                      </a:lnTo>
                      <a:lnTo>
                        <a:pt x="105" y="26"/>
                      </a:lnTo>
                      <a:lnTo>
                        <a:pt x="96" y="17"/>
                      </a:lnTo>
                      <a:lnTo>
                        <a:pt x="70" y="17"/>
                      </a:lnTo>
                      <a:lnTo>
                        <a:pt x="52" y="44"/>
                      </a:lnTo>
                      <a:lnTo>
                        <a:pt x="35" y="52"/>
                      </a:lnTo>
                      <a:lnTo>
                        <a:pt x="17" y="61"/>
                      </a:lnTo>
                      <a:lnTo>
                        <a:pt x="0" y="78"/>
                      </a:lnTo>
                      <a:lnTo>
                        <a:pt x="26" y="122"/>
                      </a:lnTo>
                      <a:lnTo>
                        <a:pt x="35" y="131"/>
                      </a:lnTo>
                      <a:lnTo>
                        <a:pt x="26" y="166"/>
                      </a:lnTo>
                      <a:lnTo>
                        <a:pt x="61" y="166"/>
                      </a:lnTo>
                      <a:lnTo>
                        <a:pt x="105" y="157"/>
                      </a:lnTo>
                      <a:lnTo>
                        <a:pt x="122" y="131"/>
                      </a:lnTo>
                      <a:lnTo>
                        <a:pt x="139" y="122"/>
                      </a:lnTo>
                      <a:lnTo>
                        <a:pt x="148" y="131"/>
                      </a:lnTo>
                      <a:lnTo>
                        <a:pt x="157" y="78"/>
                      </a:lnTo>
                      <a:lnTo>
                        <a:pt x="174" y="70"/>
                      </a:lnTo>
                      <a:lnTo>
                        <a:pt x="183" y="52"/>
                      </a:lnTo>
                      <a:lnTo>
                        <a:pt x="174" y="44"/>
                      </a:lnTo>
                      <a:lnTo>
                        <a:pt x="174" y="35"/>
                      </a:lnTo>
                      <a:lnTo>
                        <a:pt x="227" y="26"/>
                      </a:lnTo>
                      <a:lnTo>
                        <a:pt x="218" y="17"/>
                      </a:lnTo>
                      <a:lnTo>
                        <a:pt x="183" y="9"/>
                      </a:lnTo>
                      <a:lnTo>
                        <a:pt x="183" y="26"/>
                      </a:lnTo>
                      <a:lnTo>
                        <a:pt x="166" y="26"/>
                      </a:lnTo>
                      <a:lnTo>
                        <a:pt x="166" y="9"/>
                      </a:lnTo>
                      <a:lnTo>
                        <a:pt x="14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8" name="Freeform 16"/>
                <p:cNvSpPr>
                  <a:spLocks/>
                </p:cNvSpPr>
                <p:nvPr/>
              </p:nvSpPr>
              <p:spPr bwMode="auto">
                <a:xfrm>
                  <a:off x="5389393" y="2072192"/>
                  <a:ext cx="243182" cy="261291"/>
                </a:xfrm>
                <a:custGeom>
                  <a:avLst/>
                  <a:gdLst>
                    <a:gd name="T0" fmla="*/ 2147483647 w 227"/>
                    <a:gd name="T1" fmla="*/ 2147483647 h 244"/>
                    <a:gd name="T2" fmla="*/ 2147483647 w 227"/>
                    <a:gd name="T3" fmla="*/ 2147483647 h 244"/>
                    <a:gd name="T4" fmla="*/ 2147483647 w 227"/>
                    <a:gd name="T5" fmla="*/ 2147483647 h 244"/>
                    <a:gd name="T6" fmla="*/ 2147483647 w 227"/>
                    <a:gd name="T7" fmla="*/ 0 h 244"/>
                    <a:gd name="T8" fmla="*/ 2147483647 w 227"/>
                    <a:gd name="T9" fmla="*/ 2147483647 h 244"/>
                    <a:gd name="T10" fmla="*/ 2147483647 w 227"/>
                    <a:gd name="T11" fmla="*/ 2147483647 h 244"/>
                    <a:gd name="T12" fmla="*/ 2147483647 w 227"/>
                    <a:gd name="T13" fmla="*/ 2147483647 h 244"/>
                    <a:gd name="T14" fmla="*/ 2147483647 w 227"/>
                    <a:gd name="T15" fmla="*/ 2147483647 h 244"/>
                    <a:gd name="T16" fmla="*/ 2147483647 w 227"/>
                    <a:gd name="T17" fmla="*/ 2147483647 h 244"/>
                    <a:gd name="T18" fmla="*/ 2147483647 w 227"/>
                    <a:gd name="T19" fmla="*/ 2147483647 h 244"/>
                    <a:gd name="T20" fmla="*/ 2147483647 w 227"/>
                    <a:gd name="T21" fmla="*/ 2147483647 h 244"/>
                    <a:gd name="T22" fmla="*/ 2147483647 w 227"/>
                    <a:gd name="T23" fmla="*/ 2147483647 h 244"/>
                    <a:gd name="T24" fmla="*/ 2147483647 w 227"/>
                    <a:gd name="T25" fmla="*/ 2147483647 h 244"/>
                    <a:gd name="T26" fmla="*/ 2147483647 w 227"/>
                    <a:gd name="T27" fmla="*/ 2147483647 h 244"/>
                    <a:gd name="T28" fmla="*/ 0 w 227"/>
                    <a:gd name="T29" fmla="*/ 2147483647 h 244"/>
                    <a:gd name="T30" fmla="*/ 2147483647 w 227"/>
                    <a:gd name="T31" fmla="*/ 2147483647 h 244"/>
                    <a:gd name="T32" fmla="*/ 2147483647 w 227"/>
                    <a:gd name="T33" fmla="*/ 2147483647 h 244"/>
                    <a:gd name="T34" fmla="*/ 2147483647 w 227"/>
                    <a:gd name="T35" fmla="*/ 2147483647 h 244"/>
                    <a:gd name="T36" fmla="*/ 2147483647 w 227"/>
                    <a:gd name="T37" fmla="*/ 2147483647 h 244"/>
                    <a:gd name="T38" fmla="*/ 2147483647 w 227"/>
                    <a:gd name="T39" fmla="*/ 2147483647 h 244"/>
                    <a:gd name="T40" fmla="*/ 2147483647 w 227"/>
                    <a:gd name="T41" fmla="*/ 2147483647 h 244"/>
                    <a:gd name="T42" fmla="*/ 2147483647 w 227"/>
                    <a:gd name="T43" fmla="*/ 2147483647 h 244"/>
                    <a:gd name="T44" fmla="*/ 2147483647 w 227"/>
                    <a:gd name="T45" fmla="*/ 2147483647 h 244"/>
                    <a:gd name="T46" fmla="*/ 2147483647 w 227"/>
                    <a:gd name="T47" fmla="*/ 2147483647 h 244"/>
                    <a:gd name="T48" fmla="*/ 2147483647 w 227"/>
                    <a:gd name="T49" fmla="*/ 2147483647 h 244"/>
                    <a:gd name="T50" fmla="*/ 2147483647 w 227"/>
                    <a:gd name="T51" fmla="*/ 2147483647 h 244"/>
                    <a:gd name="T52" fmla="*/ 2147483647 w 227"/>
                    <a:gd name="T53" fmla="*/ 2147483647 h 244"/>
                    <a:gd name="T54" fmla="*/ 2147483647 w 227"/>
                    <a:gd name="T55" fmla="*/ 2147483647 h 244"/>
                    <a:gd name="T56" fmla="*/ 2147483647 w 227"/>
                    <a:gd name="T57" fmla="*/ 2147483647 h 244"/>
                    <a:gd name="T58" fmla="*/ 2147483647 w 227"/>
                    <a:gd name="T59" fmla="*/ 2147483647 h 244"/>
                    <a:gd name="T60" fmla="*/ 2147483647 w 227"/>
                    <a:gd name="T61" fmla="*/ 2147483647 h 244"/>
                    <a:gd name="T62" fmla="*/ 2147483647 w 227"/>
                    <a:gd name="T63" fmla="*/ 2147483647 h 24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27"/>
                    <a:gd name="T97" fmla="*/ 0 h 244"/>
                    <a:gd name="T98" fmla="*/ 227 w 227"/>
                    <a:gd name="T99" fmla="*/ 244 h 24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27" h="244">
                      <a:moveTo>
                        <a:pt x="227" y="35"/>
                      </a:moveTo>
                      <a:lnTo>
                        <a:pt x="227" y="26"/>
                      </a:lnTo>
                      <a:lnTo>
                        <a:pt x="209" y="18"/>
                      </a:lnTo>
                      <a:lnTo>
                        <a:pt x="192" y="0"/>
                      </a:lnTo>
                      <a:lnTo>
                        <a:pt x="139" y="9"/>
                      </a:lnTo>
                      <a:lnTo>
                        <a:pt x="139" y="18"/>
                      </a:lnTo>
                      <a:lnTo>
                        <a:pt x="148" y="26"/>
                      </a:lnTo>
                      <a:lnTo>
                        <a:pt x="139" y="44"/>
                      </a:lnTo>
                      <a:lnTo>
                        <a:pt x="122" y="52"/>
                      </a:lnTo>
                      <a:lnTo>
                        <a:pt x="113" y="105"/>
                      </a:lnTo>
                      <a:lnTo>
                        <a:pt x="104" y="96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35" y="140"/>
                      </a:lnTo>
                      <a:lnTo>
                        <a:pt x="0" y="140"/>
                      </a:lnTo>
                      <a:lnTo>
                        <a:pt x="26" y="166"/>
                      </a:lnTo>
                      <a:lnTo>
                        <a:pt x="35" y="192"/>
                      </a:lnTo>
                      <a:lnTo>
                        <a:pt x="17" y="201"/>
                      </a:lnTo>
                      <a:lnTo>
                        <a:pt x="17" y="218"/>
                      </a:lnTo>
                      <a:lnTo>
                        <a:pt x="87" y="218"/>
                      </a:lnTo>
                      <a:lnTo>
                        <a:pt x="96" y="227"/>
                      </a:lnTo>
                      <a:lnTo>
                        <a:pt x="122" y="244"/>
                      </a:lnTo>
                      <a:lnTo>
                        <a:pt x="165" y="227"/>
                      </a:lnTo>
                      <a:lnTo>
                        <a:pt x="174" y="218"/>
                      </a:lnTo>
                      <a:lnTo>
                        <a:pt x="139" y="175"/>
                      </a:lnTo>
                      <a:lnTo>
                        <a:pt x="165" y="166"/>
                      </a:lnTo>
                      <a:lnTo>
                        <a:pt x="209" y="114"/>
                      </a:lnTo>
                      <a:lnTo>
                        <a:pt x="209" y="96"/>
                      </a:lnTo>
                      <a:lnTo>
                        <a:pt x="218" y="87"/>
                      </a:lnTo>
                      <a:lnTo>
                        <a:pt x="192" y="70"/>
                      </a:lnTo>
                      <a:lnTo>
                        <a:pt x="183" y="44"/>
                      </a:lnTo>
                      <a:lnTo>
                        <a:pt x="227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9" name="Freeform 17"/>
                <p:cNvSpPr>
                  <a:spLocks/>
                </p:cNvSpPr>
                <p:nvPr/>
              </p:nvSpPr>
              <p:spPr bwMode="auto">
                <a:xfrm>
                  <a:off x="5389393" y="2072192"/>
                  <a:ext cx="243182" cy="261291"/>
                </a:xfrm>
                <a:custGeom>
                  <a:avLst/>
                  <a:gdLst>
                    <a:gd name="T0" fmla="*/ 2147483647 w 227"/>
                    <a:gd name="T1" fmla="*/ 2147483647 h 244"/>
                    <a:gd name="T2" fmla="*/ 2147483647 w 227"/>
                    <a:gd name="T3" fmla="*/ 2147483647 h 244"/>
                    <a:gd name="T4" fmla="*/ 2147483647 w 227"/>
                    <a:gd name="T5" fmla="*/ 2147483647 h 244"/>
                    <a:gd name="T6" fmla="*/ 2147483647 w 227"/>
                    <a:gd name="T7" fmla="*/ 0 h 244"/>
                    <a:gd name="T8" fmla="*/ 2147483647 w 227"/>
                    <a:gd name="T9" fmla="*/ 2147483647 h 244"/>
                    <a:gd name="T10" fmla="*/ 2147483647 w 227"/>
                    <a:gd name="T11" fmla="*/ 2147483647 h 244"/>
                    <a:gd name="T12" fmla="*/ 2147483647 w 227"/>
                    <a:gd name="T13" fmla="*/ 2147483647 h 244"/>
                    <a:gd name="T14" fmla="*/ 2147483647 w 227"/>
                    <a:gd name="T15" fmla="*/ 2147483647 h 244"/>
                    <a:gd name="T16" fmla="*/ 2147483647 w 227"/>
                    <a:gd name="T17" fmla="*/ 2147483647 h 244"/>
                    <a:gd name="T18" fmla="*/ 2147483647 w 227"/>
                    <a:gd name="T19" fmla="*/ 2147483647 h 244"/>
                    <a:gd name="T20" fmla="*/ 2147483647 w 227"/>
                    <a:gd name="T21" fmla="*/ 2147483647 h 244"/>
                    <a:gd name="T22" fmla="*/ 2147483647 w 227"/>
                    <a:gd name="T23" fmla="*/ 2147483647 h 244"/>
                    <a:gd name="T24" fmla="*/ 2147483647 w 227"/>
                    <a:gd name="T25" fmla="*/ 2147483647 h 244"/>
                    <a:gd name="T26" fmla="*/ 2147483647 w 227"/>
                    <a:gd name="T27" fmla="*/ 2147483647 h 244"/>
                    <a:gd name="T28" fmla="*/ 0 w 227"/>
                    <a:gd name="T29" fmla="*/ 2147483647 h 244"/>
                    <a:gd name="T30" fmla="*/ 2147483647 w 227"/>
                    <a:gd name="T31" fmla="*/ 2147483647 h 244"/>
                    <a:gd name="T32" fmla="*/ 2147483647 w 227"/>
                    <a:gd name="T33" fmla="*/ 2147483647 h 244"/>
                    <a:gd name="T34" fmla="*/ 2147483647 w 227"/>
                    <a:gd name="T35" fmla="*/ 2147483647 h 244"/>
                    <a:gd name="T36" fmla="*/ 2147483647 w 227"/>
                    <a:gd name="T37" fmla="*/ 2147483647 h 244"/>
                    <a:gd name="T38" fmla="*/ 2147483647 w 227"/>
                    <a:gd name="T39" fmla="*/ 2147483647 h 244"/>
                    <a:gd name="T40" fmla="*/ 2147483647 w 227"/>
                    <a:gd name="T41" fmla="*/ 2147483647 h 244"/>
                    <a:gd name="T42" fmla="*/ 2147483647 w 227"/>
                    <a:gd name="T43" fmla="*/ 2147483647 h 244"/>
                    <a:gd name="T44" fmla="*/ 2147483647 w 227"/>
                    <a:gd name="T45" fmla="*/ 2147483647 h 244"/>
                    <a:gd name="T46" fmla="*/ 2147483647 w 227"/>
                    <a:gd name="T47" fmla="*/ 2147483647 h 244"/>
                    <a:gd name="T48" fmla="*/ 2147483647 w 227"/>
                    <a:gd name="T49" fmla="*/ 2147483647 h 244"/>
                    <a:gd name="T50" fmla="*/ 2147483647 w 227"/>
                    <a:gd name="T51" fmla="*/ 2147483647 h 244"/>
                    <a:gd name="T52" fmla="*/ 2147483647 w 227"/>
                    <a:gd name="T53" fmla="*/ 2147483647 h 244"/>
                    <a:gd name="T54" fmla="*/ 2147483647 w 227"/>
                    <a:gd name="T55" fmla="*/ 2147483647 h 244"/>
                    <a:gd name="T56" fmla="*/ 2147483647 w 227"/>
                    <a:gd name="T57" fmla="*/ 2147483647 h 244"/>
                    <a:gd name="T58" fmla="*/ 2147483647 w 227"/>
                    <a:gd name="T59" fmla="*/ 2147483647 h 244"/>
                    <a:gd name="T60" fmla="*/ 2147483647 w 227"/>
                    <a:gd name="T61" fmla="*/ 2147483647 h 244"/>
                    <a:gd name="T62" fmla="*/ 2147483647 w 227"/>
                    <a:gd name="T63" fmla="*/ 2147483647 h 24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27"/>
                    <a:gd name="T97" fmla="*/ 0 h 244"/>
                    <a:gd name="T98" fmla="*/ 227 w 227"/>
                    <a:gd name="T99" fmla="*/ 244 h 24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27" h="244">
                      <a:moveTo>
                        <a:pt x="227" y="35"/>
                      </a:moveTo>
                      <a:lnTo>
                        <a:pt x="227" y="26"/>
                      </a:lnTo>
                      <a:lnTo>
                        <a:pt x="209" y="18"/>
                      </a:lnTo>
                      <a:lnTo>
                        <a:pt x="192" y="0"/>
                      </a:lnTo>
                      <a:lnTo>
                        <a:pt x="139" y="9"/>
                      </a:lnTo>
                      <a:lnTo>
                        <a:pt x="139" y="18"/>
                      </a:lnTo>
                      <a:lnTo>
                        <a:pt x="148" y="26"/>
                      </a:lnTo>
                      <a:lnTo>
                        <a:pt x="139" y="44"/>
                      </a:lnTo>
                      <a:lnTo>
                        <a:pt x="122" y="52"/>
                      </a:lnTo>
                      <a:lnTo>
                        <a:pt x="113" y="105"/>
                      </a:lnTo>
                      <a:lnTo>
                        <a:pt x="104" y="96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35" y="140"/>
                      </a:lnTo>
                      <a:lnTo>
                        <a:pt x="0" y="140"/>
                      </a:lnTo>
                      <a:lnTo>
                        <a:pt x="26" y="166"/>
                      </a:lnTo>
                      <a:lnTo>
                        <a:pt x="35" y="192"/>
                      </a:lnTo>
                      <a:lnTo>
                        <a:pt x="17" y="201"/>
                      </a:lnTo>
                      <a:lnTo>
                        <a:pt x="17" y="218"/>
                      </a:lnTo>
                      <a:lnTo>
                        <a:pt x="87" y="218"/>
                      </a:lnTo>
                      <a:lnTo>
                        <a:pt x="96" y="227"/>
                      </a:lnTo>
                      <a:lnTo>
                        <a:pt x="122" y="244"/>
                      </a:lnTo>
                      <a:lnTo>
                        <a:pt x="165" y="227"/>
                      </a:lnTo>
                      <a:lnTo>
                        <a:pt x="174" y="218"/>
                      </a:lnTo>
                      <a:lnTo>
                        <a:pt x="139" y="175"/>
                      </a:lnTo>
                      <a:lnTo>
                        <a:pt x="165" y="166"/>
                      </a:lnTo>
                      <a:lnTo>
                        <a:pt x="209" y="114"/>
                      </a:lnTo>
                      <a:lnTo>
                        <a:pt x="209" y="96"/>
                      </a:lnTo>
                      <a:lnTo>
                        <a:pt x="218" y="87"/>
                      </a:lnTo>
                      <a:lnTo>
                        <a:pt x="192" y="70"/>
                      </a:lnTo>
                      <a:lnTo>
                        <a:pt x="183" y="44"/>
                      </a:lnTo>
                      <a:lnTo>
                        <a:pt x="227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0" name="Freeform 148"/>
                <p:cNvSpPr>
                  <a:spLocks/>
                </p:cNvSpPr>
                <p:nvPr/>
              </p:nvSpPr>
              <p:spPr bwMode="auto">
                <a:xfrm>
                  <a:off x="5706493" y="1783058"/>
                  <a:ext cx="532430" cy="195969"/>
                </a:xfrm>
                <a:custGeom>
                  <a:avLst/>
                  <a:gdLst>
                    <a:gd name="T0" fmla="*/ 2147483647 w 497"/>
                    <a:gd name="T1" fmla="*/ 2147483647 h 183"/>
                    <a:gd name="T2" fmla="*/ 2147483647 w 497"/>
                    <a:gd name="T3" fmla="*/ 2147483647 h 183"/>
                    <a:gd name="T4" fmla="*/ 2147483647 w 497"/>
                    <a:gd name="T5" fmla="*/ 2147483647 h 183"/>
                    <a:gd name="T6" fmla="*/ 2147483647 w 497"/>
                    <a:gd name="T7" fmla="*/ 0 h 183"/>
                    <a:gd name="T8" fmla="*/ 2147483647 w 497"/>
                    <a:gd name="T9" fmla="*/ 2147483647 h 183"/>
                    <a:gd name="T10" fmla="*/ 2147483647 w 497"/>
                    <a:gd name="T11" fmla="*/ 2147483647 h 183"/>
                    <a:gd name="T12" fmla="*/ 2147483647 w 497"/>
                    <a:gd name="T13" fmla="*/ 2147483647 h 183"/>
                    <a:gd name="T14" fmla="*/ 2147483647 w 497"/>
                    <a:gd name="T15" fmla="*/ 2147483647 h 183"/>
                    <a:gd name="T16" fmla="*/ 0 w 497"/>
                    <a:gd name="T17" fmla="*/ 2147483647 h 183"/>
                    <a:gd name="T18" fmla="*/ 2147483647 w 497"/>
                    <a:gd name="T19" fmla="*/ 2147483647 h 183"/>
                    <a:gd name="T20" fmla="*/ 2147483647 w 497"/>
                    <a:gd name="T21" fmla="*/ 2147483647 h 183"/>
                    <a:gd name="T22" fmla="*/ 2147483647 w 497"/>
                    <a:gd name="T23" fmla="*/ 2147483647 h 183"/>
                    <a:gd name="T24" fmla="*/ 2147483647 w 497"/>
                    <a:gd name="T25" fmla="*/ 2147483647 h 183"/>
                    <a:gd name="T26" fmla="*/ 2147483647 w 497"/>
                    <a:gd name="T27" fmla="*/ 2147483647 h 183"/>
                    <a:gd name="T28" fmla="*/ 2147483647 w 497"/>
                    <a:gd name="T29" fmla="*/ 2147483647 h 183"/>
                    <a:gd name="T30" fmla="*/ 2147483647 w 497"/>
                    <a:gd name="T31" fmla="*/ 2147483647 h 183"/>
                    <a:gd name="T32" fmla="*/ 2147483647 w 497"/>
                    <a:gd name="T33" fmla="*/ 2147483647 h 183"/>
                    <a:gd name="T34" fmla="*/ 2147483647 w 497"/>
                    <a:gd name="T35" fmla="*/ 2147483647 h 183"/>
                    <a:gd name="T36" fmla="*/ 2147483647 w 497"/>
                    <a:gd name="T37" fmla="*/ 2147483647 h 183"/>
                    <a:gd name="T38" fmla="*/ 2147483647 w 497"/>
                    <a:gd name="T39" fmla="*/ 2147483647 h 183"/>
                    <a:gd name="T40" fmla="*/ 2147483647 w 497"/>
                    <a:gd name="T41" fmla="*/ 2147483647 h 183"/>
                    <a:gd name="T42" fmla="*/ 2147483647 w 497"/>
                    <a:gd name="T43" fmla="*/ 2147483647 h 183"/>
                    <a:gd name="T44" fmla="*/ 2147483647 w 497"/>
                    <a:gd name="T45" fmla="*/ 2147483647 h 183"/>
                    <a:gd name="T46" fmla="*/ 2147483647 w 497"/>
                    <a:gd name="T47" fmla="*/ 2147483647 h 183"/>
                    <a:gd name="T48" fmla="*/ 2147483647 w 497"/>
                    <a:gd name="T49" fmla="*/ 2147483647 h 183"/>
                    <a:gd name="T50" fmla="*/ 2147483647 w 497"/>
                    <a:gd name="T51" fmla="*/ 2147483647 h 183"/>
                    <a:gd name="T52" fmla="*/ 2147483647 w 497"/>
                    <a:gd name="T53" fmla="*/ 2147483647 h 183"/>
                    <a:gd name="T54" fmla="*/ 2147483647 w 497"/>
                    <a:gd name="T55" fmla="*/ 2147483647 h 183"/>
                    <a:gd name="T56" fmla="*/ 2147483647 w 497"/>
                    <a:gd name="T57" fmla="*/ 2147483647 h 183"/>
                    <a:gd name="T58" fmla="*/ 2147483647 w 497"/>
                    <a:gd name="T59" fmla="*/ 2147483647 h 183"/>
                    <a:gd name="T60" fmla="*/ 2147483647 w 497"/>
                    <a:gd name="T61" fmla="*/ 2147483647 h 183"/>
                    <a:gd name="T62" fmla="*/ 2147483647 w 497"/>
                    <a:gd name="T63" fmla="*/ 2147483647 h 183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97"/>
                    <a:gd name="T97" fmla="*/ 0 h 183"/>
                    <a:gd name="T98" fmla="*/ 497 w 497"/>
                    <a:gd name="T99" fmla="*/ 183 h 183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97" h="183">
                      <a:moveTo>
                        <a:pt x="262" y="26"/>
                      </a:moveTo>
                      <a:lnTo>
                        <a:pt x="218" y="26"/>
                      </a:lnTo>
                      <a:lnTo>
                        <a:pt x="192" y="9"/>
                      </a:lnTo>
                      <a:lnTo>
                        <a:pt x="131" y="0"/>
                      </a:lnTo>
                      <a:lnTo>
                        <a:pt x="148" y="35"/>
                      </a:lnTo>
                      <a:lnTo>
                        <a:pt x="96" y="35"/>
                      </a:lnTo>
                      <a:lnTo>
                        <a:pt x="79" y="26"/>
                      </a:lnTo>
                      <a:lnTo>
                        <a:pt x="44" y="26"/>
                      </a:lnTo>
                      <a:lnTo>
                        <a:pt x="0" y="44"/>
                      </a:lnTo>
                      <a:lnTo>
                        <a:pt x="9" y="70"/>
                      </a:lnTo>
                      <a:lnTo>
                        <a:pt x="53" y="70"/>
                      </a:lnTo>
                      <a:lnTo>
                        <a:pt x="79" y="96"/>
                      </a:lnTo>
                      <a:lnTo>
                        <a:pt x="79" y="122"/>
                      </a:lnTo>
                      <a:lnTo>
                        <a:pt x="157" y="139"/>
                      </a:lnTo>
                      <a:lnTo>
                        <a:pt x="183" y="166"/>
                      </a:lnTo>
                      <a:lnTo>
                        <a:pt x="262" y="166"/>
                      </a:lnTo>
                      <a:lnTo>
                        <a:pt x="332" y="183"/>
                      </a:lnTo>
                      <a:lnTo>
                        <a:pt x="358" y="166"/>
                      </a:lnTo>
                      <a:lnTo>
                        <a:pt x="393" y="166"/>
                      </a:lnTo>
                      <a:lnTo>
                        <a:pt x="419" y="139"/>
                      </a:lnTo>
                      <a:lnTo>
                        <a:pt x="401" y="122"/>
                      </a:lnTo>
                      <a:lnTo>
                        <a:pt x="428" y="122"/>
                      </a:lnTo>
                      <a:lnTo>
                        <a:pt x="497" y="87"/>
                      </a:lnTo>
                      <a:lnTo>
                        <a:pt x="480" y="70"/>
                      </a:lnTo>
                      <a:lnTo>
                        <a:pt x="454" y="70"/>
                      </a:lnTo>
                      <a:lnTo>
                        <a:pt x="428" y="70"/>
                      </a:lnTo>
                      <a:lnTo>
                        <a:pt x="419" y="52"/>
                      </a:lnTo>
                      <a:lnTo>
                        <a:pt x="428" y="35"/>
                      </a:lnTo>
                      <a:lnTo>
                        <a:pt x="375" y="35"/>
                      </a:lnTo>
                      <a:lnTo>
                        <a:pt x="366" y="44"/>
                      </a:lnTo>
                      <a:lnTo>
                        <a:pt x="297" y="44"/>
                      </a:lnTo>
                      <a:lnTo>
                        <a:pt x="26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1" name="Freeform 149"/>
                <p:cNvSpPr>
                  <a:spLocks/>
                </p:cNvSpPr>
                <p:nvPr/>
              </p:nvSpPr>
              <p:spPr bwMode="auto">
                <a:xfrm>
                  <a:off x="5706493" y="1783058"/>
                  <a:ext cx="532430" cy="195969"/>
                </a:xfrm>
                <a:custGeom>
                  <a:avLst/>
                  <a:gdLst>
                    <a:gd name="T0" fmla="*/ 2147483647 w 497"/>
                    <a:gd name="T1" fmla="*/ 2147483647 h 183"/>
                    <a:gd name="T2" fmla="*/ 2147483647 w 497"/>
                    <a:gd name="T3" fmla="*/ 2147483647 h 183"/>
                    <a:gd name="T4" fmla="*/ 2147483647 w 497"/>
                    <a:gd name="T5" fmla="*/ 2147483647 h 183"/>
                    <a:gd name="T6" fmla="*/ 2147483647 w 497"/>
                    <a:gd name="T7" fmla="*/ 0 h 183"/>
                    <a:gd name="T8" fmla="*/ 2147483647 w 497"/>
                    <a:gd name="T9" fmla="*/ 2147483647 h 183"/>
                    <a:gd name="T10" fmla="*/ 2147483647 w 497"/>
                    <a:gd name="T11" fmla="*/ 2147483647 h 183"/>
                    <a:gd name="T12" fmla="*/ 2147483647 w 497"/>
                    <a:gd name="T13" fmla="*/ 2147483647 h 183"/>
                    <a:gd name="T14" fmla="*/ 2147483647 w 497"/>
                    <a:gd name="T15" fmla="*/ 2147483647 h 183"/>
                    <a:gd name="T16" fmla="*/ 0 w 497"/>
                    <a:gd name="T17" fmla="*/ 2147483647 h 183"/>
                    <a:gd name="T18" fmla="*/ 2147483647 w 497"/>
                    <a:gd name="T19" fmla="*/ 2147483647 h 183"/>
                    <a:gd name="T20" fmla="*/ 2147483647 w 497"/>
                    <a:gd name="T21" fmla="*/ 2147483647 h 183"/>
                    <a:gd name="T22" fmla="*/ 2147483647 w 497"/>
                    <a:gd name="T23" fmla="*/ 2147483647 h 183"/>
                    <a:gd name="T24" fmla="*/ 2147483647 w 497"/>
                    <a:gd name="T25" fmla="*/ 2147483647 h 183"/>
                    <a:gd name="T26" fmla="*/ 2147483647 w 497"/>
                    <a:gd name="T27" fmla="*/ 2147483647 h 183"/>
                    <a:gd name="T28" fmla="*/ 2147483647 w 497"/>
                    <a:gd name="T29" fmla="*/ 2147483647 h 183"/>
                    <a:gd name="T30" fmla="*/ 2147483647 w 497"/>
                    <a:gd name="T31" fmla="*/ 2147483647 h 183"/>
                    <a:gd name="T32" fmla="*/ 2147483647 w 497"/>
                    <a:gd name="T33" fmla="*/ 2147483647 h 183"/>
                    <a:gd name="T34" fmla="*/ 2147483647 w 497"/>
                    <a:gd name="T35" fmla="*/ 2147483647 h 183"/>
                    <a:gd name="T36" fmla="*/ 2147483647 w 497"/>
                    <a:gd name="T37" fmla="*/ 2147483647 h 183"/>
                    <a:gd name="T38" fmla="*/ 2147483647 w 497"/>
                    <a:gd name="T39" fmla="*/ 2147483647 h 183"/>
                    <a:gd name="T40" fmla="*/ 2147483647 w 497"/>
                    <a:gd name="T41" fmla="*/ 2147483647 h 183"/>
                    <a:gd name="T42" fmla="*/ 2147483647 w 497"/>
                    <a:gd name="T43" fmla="*/ 2147483647 h 183"/>
                    <a:gd name="T44" fmla="*/ 2147483647 w 497"/>
                    <a:gd name="T45" fmla="*/ 2147483647 h 183"/>
                    <a:gd name="T46" fmla="*/ 2147483647 w 497"/>
                    <a:gd name="T47" fmla="*/ 2147483647 h 183"/>
                    <a:gd name="T48" fmla="*/ 2147483647 w 497"/>
                    <a:gd name="T49" fmla="*/ 2147483647 h 183"/>
                    <a:gd name="T50" fmla="*/ 2147483647 w 497"/>
                    <a:gd name="T51" fmla="*/ 2147483647 h 183"/>
                    <a:gd name="T52" fmla="*/ 2147483647 w 497"/>
                    <a:gd name="T53" fmla="*/ 2147483647 h 183"/>
                    <a:gd name="T54" fmla="*/ 2147483647 w 497"/>
                    <a:gd name="T55" fmla="*/ 2147483647 h 183"/>
                    <a:gd name="T56" fmla="*/ 2147483647 w 497"/>
                    <a:gd name="T57" fmla="*/ 2147483647 h 183"/>
                    <a:gd name="T58" fmla="*/ 2147483647 w 497"/>
                    <a:gd name="T59" fmla="*/ 2147483647 h 183"/>
                    <a:gd name="T60" fmla="*/ 2147483647 w 497"/>
                    <a:gd name="T61" fmla="*/ 2147483647 h 183"/>
                    <a:gd name="T62" fmla="*/ 2147483647 w 497"/>
                    <a:gd name="T63" fmla="*/ 2147483647 h 183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97"/>
                    <a:gd name="T97" fmla="*/ 0 h 183"/>
                    <a:gd name="T98" fmla="*/ 497 w 497"/>
                    <a:gd name="T99" fmla="*/ 183 h 183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97" h="183">
                      <a:moveTo>
                        <a:pt x="262" y="26"/>
                      </a:moveTo>
                      <a:lnTo>
                        <a:pt x="218" y="26"/>
                      </a:lnTo>
                      <a:lnTo>
                        <a:pt x="192" y="9"/>
                      </a:lnTo>
                      <a:lnTo>
                        <a:pt x="131" y="0"/>
                      </a:lnTo>
                      <a:lnTo>
                        <a:pt x="148" y="35"/>
                      </a:lnTo>
                      <a:lnTo>
                        <a:pt x="96" y="35"/>
                      </a:lnTo>
                      <a:lnTo>
                        <a:pt x="79" y="26"/>
                      </a:lnTo>
                      <a:lnTo>
                        <a:pt x="44" y="26"/>
                      </a:lnTo>
                      <a:lnTo>
                        <a:pt x="0" y="44"/>
                      </a:lnTo>
                      <a:lnTo>
                        <a:pt x="9" y="70"/>
                      </a:lnTo>
                      <a:lnTo>
                        <a:pt x="53" y="70"/>
                      </a:lnTo>
                      <a:lnTo>
                        <a:pt x="79" y="96"/>
                      </a:lnTo>
                      <a:lnTo>
                        <a:pt x="79" y="122"/>
                      </a:lnTo>
                      <a:lnTo>
                        <a:pt x="157" y="139"/>
                      </a:lnTo>
                      <a:lnTo>
                        <a:pt x="183" y="166"/>
                      </a:lnTo>
                      <a:lnTo>
                        <a:pt x="262" y="166"/>
                      </a:lnTo>
                      <a:lnTo>
                        <a:pt x="332" y="183"/>
                      </a:lnTo>
                      <a:lnTo>
                        <a:pt x="358" y="166"/>
                      </a:lnTo>
                      <a:lnTo>
                        <a:pt x="393" y="166"/>
                      </a:lnTo>
                      <a:lnTo>
                        <a:pt x="419" y="139"/>
                      </a:lnTo>
                      <a:lnTo>
                        <a:pt x="401" y="122"/>
                      </a:lnTo>
                      <a:lnTo>
                        <a:pt x="428" y="122"/>
                      </a:lnTo>
                      <a:lnTo>
                        <a:pt x="497" y="87"/>
                      </a:lnTo>
                      <a:lnTo>
                        <a:pt x="480" y="70"/>
                      </a:lnTo>
                      <a:lnTo>
                        <a:pt x="454" y="70"/>
                      </a:lnTo>
                      <a:lnTo>
                        <a:pt x="428" y="70"/>
                      </a:lnTo>
                      <a:lnTo>
                        <a:pt x="419" y="52"/>
                      </a:lnTo>
                      <a:lnTo>
                        <a:pt x="428" y="35"/>
                      </a:lnTo>
                      <a:lnTo>
                        <a:pt x="375" y="35"/>
                      </a:lnTo>
                      <a:lnTo>
                        <a:pt x="366" y="44"/>
                      </a:lnTo>
                      <a:lnTo>
                        <a:pt x="297" y="44"/>
                      </a:lnTo>
                      <a:lnTo>
                        <a:pt x="26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2" name="Freeform 150"/>
                <p:cNvSpPr>
                  <a:spLocks noEditPoints="1"/>
                </p:cNvSpPr>
                <p:nvPr/>
              </p:nvSpPr>
              <p:spPr bwMode="auto">
                <a:xfrm>
                  <a:off x="5062650" y="1717735"/>
                  <a:ext cx="625632" cy="279496"/>
                </a:xfrm>
                <a:custGeom>
                  <a:avLst/>
                  <a:gdLst>
                    <a:gd name="T0" fmla="*/ 2147483647 w 584"/>
                    <a:gd name="T1" fmla="*/ 2147483647 h 261"/>
                    <a:gd name="T2" fmla="*/ 2147483647 w 584"/>
                    <a:gd name="T3" fmla="*/ 2147483647 h 261"/>
                    <a:gd name="T4" fmla="*/ 2147483647 w 584"/>
                    <a:gd name="T5" fmla="*/ 2147483647 h 261"/>
                    <a:gd name="T6" fmla="*/ 2147483647 w 584"/>
                    <a:gd name="T7" fmla="*/ 2147483647 h 261"/>
                    <a:gd name="T8" fmla="*/ 2147483647 w 584"/>
                    <a:gd name="T9" fmla="*/ 2147483647 h 261"/>
                    <a:gd name="T10" fmla="*/ 2147483647 w 584"/>
                    <a:gd name="T11" fmla="*/ 2147483647 h 261"/>
                    <a:gd name="T12" fmla="*/ 2147483647 w 584"/>
                    <a:gd name="T13" fmla="*/ 2147483647 h 261"/>
                    <a:gd name="T14" fmla="*/ 2147483647 w 584"/>
                    <a:gd name="T15" fmla="*/ 2147483647 h 261"/>
                    <a:gd name="T16" fmla="*/ 2147483647 w 584"/>
                    <a:gd name="T17" fmla="*/ 2147483647 h 261"/>
                    <a:gd name="T18" fmla="*/ 2147483647 w 584"/>
                    <a:gd name="T19" fmla="*/ 2147483647 h 261"/>
                    <a:gd name="T20" fmla="*/ 2147483647 w 584"/>
                    <a:gd name="T21" fmla="*/ 2147483647 h 261"/>
                    <a:gd name="T22" fmla="*/ 2147483647 w 584"/>
                    <a:gd name="T23" fmla="*/ 2147483647 h 261"/>
                    <a:gd name="T24" fmla="*/ 2147483647 w 584"/>
                    <a:gd name="T25" fmla="*/ 2147483647 h 261"/>
                    <a:gd name="T26" fmla="*/ 2147483647 w 584"/>
                    <a:gd name="T27" fmla="*/ 2147483647 h 261"/>
                    <a:gd name="T28" fmla="*/ 2147483647 w 584"/>
                    <a:gd name="T29" fmla="*/ 2147483647 h 261"/>
                    <a:gd name="T30" fmla="*/ 0 w 584"/>
                    <a:gd name="T31" fmla="*/ 2147483647 h 261"/>
                    <a:gd name="T32" fmla="*/ 2147483647 w 584"/>
                    <a:gd name="T33" fmla="*/ 2147483647 h 261"/>
                    <a:gd name="T34" fmla="*/ 2147483647 w 584"/>
                    <a:gd name="T35" fmla="*/ 2147483647 h 261"/>
                    <a:gd name="T36" fmla="*/ 2147483647 w 584"/>
                    <a:gd name="T37" fmla="*/ 2147483647 h 261"/>
                    <a:gd name="T38" fmla="*/ 2147483647 w 584"/>
                    <a:gd name="T39" fmla="*/ 2147483647 h 261"/>
                    <a:gd name="T40" fmla="*/ 2147483647 w 584"/>
                    <a:gd name="T41" fmla="*/ 2147483647 h 261"/>
                    <a:gd name="T42" fmla="*/ 2147483647 w 584"/>
                    <a:gd name="T43" fmla="*/ 2147483647 h 261"/>
                    <a:gd name="T44" fmla="*/ 2147483647 w 584"/>
                    <a:gd name="T45" fmla="*/ 2147483647 h 261"/>
                    <a:gd name="T46" fmla="*/ 2147483647 w 584"/>
                    <a:gd name="T47" fmla="*/ 2147483647 h 261"/>
                    <a:gd name="T48" fmla="*/ 2147483647 w 584"/>
                    <a:gd name="T49" fmla="*/ 2147483647 h 261"/>
                    <a:gd name="T50" fmla="*/ 2147483647 w 584"/>
                    <a:gd name="T51" fmla="*/ 2147483647 h 261"/>
                    <a:gd name="T52" fmla="*/ 2147483647 w 584"/>
                    <a:gd name="T53" fmla="*/ 2147483647 h 261"/>
                    <a:gd name="T54" fmla="*/ 2147483647 w 584"/>
                    <a:gd name="T55" fmla="*/ 2147483647 h 261"/>
                    <a:gd name="T56" fmla="*/ 2147483647 w 584"/>
                    <a:gd name="T57" fmla="*/ 2147483647 h 261"/>
                    <a:gd name="T58" fmla="*/ 2147483647 w 584"/>
                    <a:gd name="T59" fmla="*/ 2147483647 h 261"/>
                    <a:gd name="T60" fmla="*/ 2147483647 w 584"/>
                    <a:gd name="T61" fmla="*/ 2147483647 h 261"/>
                    <a:gd name="T62" fmla="*/ 2147483647 w 584"/>
                    <a:gd name="T63" fmla="*/ 2147483647 h 261"/>
                    <a:gd name="T64" fmla="*/ 2147483647 w 584"/>
                    <a:gd name="T65" fmla="*/ 2147483647 h 261"/>
                    <a:gd name="T66" fmla="*/ 2147483647 w 584"/>
                    <a:gd name="T67" fmla="*/ 2147483647 h 261"/>
                    <a:gd name="T68" fmla="*/ 2147483647 w 584"/>
                    <a:gd name="T69" fmla="*/ 2147483647 h 261"/>
                    <a:gd name="T70" fmla="*/ 2147483647 w 584"/>
                    <a:gd name="T71" fmla="*/ 2147483647 h 261"/>
                    <a:gd name="T72" fmla="*/ 2147483647 w 584"/>
                    <a:gd name="T73" fmla="*/ 2147483647 h 261"/>
                    <a:gd name="T74" fmla="*/ 2147483647 w 584"/>
                    <a:gd name="T75" fmla="*/ 2147483647 h 261"/>
                    <a:gd name="T76" fmla="*/ 2147483647 w 584"/>
                    <a:gd name="T77" fmla="*/ 2147483647 h 261"/>
                    <a:gd name="T78" fmla="*/ 2147483647 w 584"/>
                    <a:gd name="T79" fmla="*/ 2147483647 h 261"/>
                    <a:gd name="T80" fmla="*/ 2147483647 w 584"/>
                    <a:gd name="T81" fmla="*/ 0 h 261"/>
                    <a:gd name="T82" fmla="*/ 2147483647 w 584"/>
                    <a:gd name="T83" fmla="*/ 2147483647 h 261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84"/>
                    <a:gd name="T127" fmla="*/ 0 h 261"/>
                    <a:gd name="T128" fmla="*/ 584 w 584"/>
                    <a:gd name="T129" fmla="*/ 261 h 261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84" h="261">
                      <a:moveTo>
                        <a:pt x="488" y="174"/>
                      </a:moveTo>
                      <a:lnTo>
                        <a:pt x="505" y="166"/>
                      </a:lnTo>
                      <a:lnTo>
                        <a:pt x="505" y="183"/>
                      </a:lnTo>
                      <a:lnTo>
                        <a:pt x="497" y="183"/>
                      </a:lnTo>
                      <a:lnTo>
                        <a:pt x="470" y="183"/>
                      </a:lnTo>
                      <a:lnTo>
                        <a:pt x="453" y="192"/>
                      </a:lnTo>
                      <a:lnTo>
                        <a:pt x="436" y="200"/>
                      </a:lnTo>
                      <a:lnTo>
                        <a:pt x="427" y="200"/>
                      </a:lnTo>
                      <a:lnTo>
                        <a:pt x="427" y="192"/>
                      </a:lnTo>
                      <a:lnTo>
                        <a:pt x="444" y="174"/>
                      </a:lnTo>
                      <a:lnTo>
                        <a:pt x="470" y="166"/>
                      </a:lnTo>
                      <a:lnTo>
                        <a:pt x="488" y="174"/>
                      </a:lnTo>
                      <a:close/>
                      <a:moveTo>
                        <a:pt x="235" y="26"/>
                      </a:moveTo>
                      <a:lnTo>
                        <a:pt x="191" y="35"/>
                      </a:lnTo>
                      <a:lnTo>
                        <a:pt x="209" y="52"/>
                      </a:lnTo>
                      <a:lnTo>
                        <a:pt x="191" y="52"/>
                      </a:lnTo>
                      <a:lnTo>
                        <a:pt x="183" y="61"/>
                      </a:lnTo>
                      <a:lnTo>
                        <a:pt x="218" y="70"/>
                      </a:lnTo>
                      <a:lnTo>
                        <a:pt x="218" y="78"/>
                      </a:lnTo>
                      <a:lnTo>
                        <a:pt x="183" y="87"/>
                      </a:lnTo>
                      <a:lnTo>
                        <a:pt x="157" y="78"/>
                      </a:lnTo>
                      <a:lnTo>
                        <a:pt x="139" y="78"/>
                      </a:lnTo>
                      <a:lnTo>
                        <a:pt x="113" y="87"/>
                      </a:lnTo>
                      <a:lnTo>
                        <a:pt x="104" y="78"/>
                      </a:lnTo>
                      <a:lnTo>
                        <a:pt x="69" y="70"/>
                      </a:lnTo>
                      <a:lnTo>
                        <a:pt x="43" y="78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26" y="105"/>
                      </a:lnTo>
                      <a:lnTo>
                        <a:pt x="8" y="87"/>
                      </a:lnTo>
                      <a:lnTo>
                        <a:pt x="0" y="105"/>
                      </a:lnTo>
                      <a:lnTo>
                        <a:pt x="0" y="131"/>
                      </a:lnTo>
                      <a:lnTo>
                        <a:pt x="8" y="131"/>
                      </a:lnTo>
                      <a:lnTo>
                        <a:pt x="8" y="139"/>
                      </a:lnTo>
                      <a:lnTo>
                        <a:pt x="26" y="139"/>
                      </a:lnTo>
                      <a:lnTo>
                        <a:pt x="35" y="157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104" y="174"/>
                      </a:lnTo>
                      <a:lnTo>
                        <a:pt x="78" y="183"/>
                      </a:lnTo>
                      <a:lnTo>
                        <a:pt x="69" y="200"/>
                      </a:lnTo>
                      <a:lnTo>
                        <a:pt x="87" y="227"/>
                      </a:lnTo>
                      <a:lnTo>
                        <a:pt x="113" y="227"/>
                      </a:lnTo>
                      <a:lnTo>
                        <a:pt x="113" y="235"/>
                      </a:lnTo>
                      <a:lnTo>
                        <a:pt x="130" y="235"/>
                      </a:lnTo>
                      <a:lnTo>
                        <a:pt x="148" y="244"/>
                      </a:lnTo>
                      <a:lnTo>
                        <a:pt x="165" y="253"/>
                      </a:lnTo>
                      <a:lnTo>
                        <a:pt x="157" y="183"/>
                      </a:lnTo>
                      <a:lnTo>
                        <a:pt x="174" y="183"/>
                      </a:lnTo>
                      <a:lnTo>
                        <a:pt x="183" y="166"/>
                      </a:lnTo>
                      <a:lnTo>
                        <a:pt x="252" y="209"/>
                      </a:lnTo>
                      <a:lnTo>
                        <a:pt x="270" y="209"/>
                      </a:lnTo>
                      <a:lnTo>
                        <a:pt x="287" y="218"/>
                      </a:lnTo>
                      <a:lnTo>
                        <a:pt x="296" y="209"/>
                      </a:lnTo>
                      <a:lnTo>
                        <a:pt x="322" y="227"/>
                      </a:lnTo>
                      <a:lnTo>
                        <a:pt x="331" y="253"/>
                      </a:lnTo>
                      <a:lnTo>
                        <a:pt x="348" y="253"/>
                      </a:lnTo>
                      <a:lnTo>
                        <a:pt x="366" y="261"/>
                      </a:lnTo>
                      <a:lnTo>
                        <a:pt x="375" y="244"/>
                      </a:lnTo>
                      <a:lnTo>
                        <a:pt x="392" y="235"/>
                      </a:lnTo>
                      <a:lnTo>
                        <a:pt x="401" y="227"/>
                      </a:lnTo>
                      <a:lnTo>
                        <a:pt x="427" y="235"/>
                      </a:lnTo>
                      <a:lnTo>
                        <a:pt x="436" y="227"/>
                      </a:lnTo>
                      <a:lnTo>
                        <a:pt x="514" y="227"/>
                      </a:lnTo>
                      <a:lnTo>
                        <a:pt x="532" y="235"/>
                      </a:lnTo>
                      <a:lnTo>
                        <a:pt x="532" y="209"/>
                      </a:lnTo>
                      <a:lnTo>
                        <a:pt x="514" y="183"/>
                      </a:lnTo>
                      <a:lnTo>
                        <a:pt x="549" y="183"/>
                      </a:lnTo>
                      <a:lnTo>
                        <a:pt x="549" y="148"/>
                      </a:lnTo>
                      <a:lnTo>
                        <a:pt x="584" y="148"/>
                      </a:lnTo>
                      <a:lnTo>
                        <a:pt x="575" y="131"/>
                      </a:lnTo>
                      <a:lnTo>
                        <a:pt x="584" y="122"/>
                      </a:lnTo>
                      <a:lnTo>
                        <a:pt x="584" y="105"/>
                      </a:lnTo>
                      <a:lnTo>
                        <a:pt x="532" y="87"/>
                      </a:lnTo>
                      <a:lnTo>
                        <a:pt x="479" y="87"/>
                      </a:lnTo>
                      <a:lnTo>
                        <a:pt x="436" y="44"/>
                      </a:lnTo>
                      <a:lnTo>
                        <a:pt x="418" y="26"/>
                      </a:lnTo>
                      <a:lnTo>
                        <a:pt x="375" y="44"/>
                      </a:lnTo>
                      <a:lnTo>
                        <a:pt x="366" y="35"/>
                      </a:lnTo>
                      <a:lnTo>
                        <a:pt x="331" y="26"/>
                      </a:lnTo>
                      <a:lnTo>
                        <a:pt x="322" y="9"/>
                      </a:lnTo>
                      <a:lnTo>
                        <a:pt x="287" y="0"/>
                      </a:lnTo>
                      <a:lnTo>
                        <a:pt x="279" y="9"/>
                      </a:lnTo>
                      <a:lnTo>
                        <a:pt x="252" y="17"/>
                      </a:lnTo>
                      <a:lnTo>
                        <a:pt x="235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3" name="Freeform 151"/>
                <p:cNvSpPr>
                  <a:spLocks noEditPoints="1"/>
                </p:cNvSpPr>
                <p:nvPr/>
              </p:nvSpPr>
              <p:spPr bwMode="auto">
                <a:xfrm>
                  <a:off x="5062650" y="1717735"/>
                  <a:ext cx="625632" cy="279496"/>
                </a:xfrm>
                <a:custGeom>
                  <a:avLst/>
                  <a:gdLst>
                    <a:gd name="T0" fmla="*/ 2147483647 w 584"/>
                    <a:gd name="T1" fmla="*/ 2147483647 h 261"/>
                    <a:gd name="T2" fmla="*/ 2147483647 w 584"/>
                    <a:gd name="T3" fmla="*/ 2147483647 h 261"/>
                    <a:gd name="T4" fmla="*/ 2147483647 w 584"/>
                    <a:gd name="T5" fmla="*/ 2147483647 h 261"/>
                    <a:gd name="T6" fmla="*/ 2147483647 w 584"/>
                    <a:gd name="T7" fmla="*/ 2147483647 h 261"/>
                    <a:gd name="T8" fmla="*/ 2147483647 w 584"/>
                    <a:gd name="T9" fmla="*/ 2147483647 h 261"/>
                    <a:gd name="T10" fmla="*/ 2147483647 w 584"/>
                    <a:gd name="T11" fmla="*/ 2147483647 h 261"/>
                    <a:gd name="T12" fmla="*/ 2147483647 w 584"/>
                    <a:gd name="T13" fmla="*/ 2147483647 h 261"/>
                    <a:gd name="T14" fmla="*/ 2147483647 w 584"/>
                    <a:gd name="T15" fmla="*/ 2147483647 h 261"/>
                    <a:gd name="T16" fmla="*/ 2147483647 w 584"/>
                    <a:gd name="T17" fmla="*/ 2147483647 h 261"/>
                    <a:gd name="T18" fmla="*/ 2147483647 w 584"/>
                    <a:gd name="T19" fmla="*/ 2147483647 h 261"/>
                    <a:gd name="T20" fmla="*/ 2147483647 w 584"/>
                    <a:gd name="T21" fmla="*/ 2147483647 h 261"/>
                    <a:gd name="T22" fmla="*/ 2147483647 w 584"/>
                    <a:gd name="T23" fmla="*/ 2147483647 h 261"/>
                    <a:gd name="T24" fmla="*/ 2147483647 w 584"/>
                    <a:gd name="T25" fmla="*/ 2147483647 h 261"/>
                    <a:gd name="T26" fmla="*/ 2147483647 w 584"/>
                    <a:gd name="T27" fmla="*/ 2147483647 h 261"/>
                    <a:gd name="T28" fmla="*/ 2147483647 w 584"/>
                    <a:gd name="T29" fmla="*/ 2147483647 h 261"/>
                    <a:gd name="T30" fmla="*/ 0 w 584"/>
                    <a:gd name="T31" fmla="*/ 2147483647 h 261"/>
                    <a:gd name="T32" fmla="*/ 2147483647 w 584"/>
                    <a:gd name="T33" fmla="*/ 2147483647 h 261"/>
                    <a:gd name="T34" fmla="*/ 2147483647 w 584"/>
                    <a:gd name="T35" fmla="*/ 2147483647 h 261"/>
                    <a:gd name="T36" fmla="*/ 2147483647 w 584"/>
                    <a:gd name="T37" fmla="*/ 2147483647 h 261"/>
                    <a:gd name="T38" fmla="*/ 2147483647 w 584"/>
                    <a:gd name="T39" fmla="*/ 2147483647 h 261"/>
                    <a:gd name="T40" fmla="*/ 2147483647 w 584"/>
                    <a:gd name="T41" fmla="*/ 2147483647 h 261"/>
                    <a:gd name="T42" fmla="*/ 2147483647 w 584"/>
                    <a:gd name="T43" fmla="*/ 2147483647 h 261"/>
                    <a:gd name="T44" fmla="*/ 2147483647 w 584"/>
                    <a:gd name="T45" fmla="*/ 2147483647 h 261"/>
                    <a:gd name="T46" fmla="*/ 2147483647 w 584"/>
                    <a:gd name="T47" fmla="*/ 2147483647 h 261"/>
                    <a:gd name="T48" fmla="*/ 2147483647 w 584"/>
                    <a:gd name="T49" fmla="*/ 2147483647 h 261"/>
                    <a:gd name="T50" fmla="*/ 2147483647 w 584"/>
                    <a:gd name="T51" fmla="*/ 2147483647 h 261"/>
                    <a:gd name="T52" fmla="*/ 2147483647 w 584"/>
                    <a:gd name="T53" fmla="*/ 2147483647 h 261"/>
                    <a:gd name="T54" fmla="*/ 2147483647 w 584"/>
                    <a:gd name="T55" fmla="*/ 2147483647 h 261"/>
                    <a:gd name="T56" fmla="*/ 2147483647 w 584"/>
                    <a:gd name="T57" fmla="*/ 2147483647 h 261"/>
                    <a:gd name="T58" fmla="*/ 2147483647 w 584"/>
                    <a:gd name="T59" fmla="*/ 2147483647 h 261"/>
                    <a:gd name="T60" fmla="*/ 2147483647 w 584"/>
                    <a:gd name="T61" fmla="*/ 2147483647 h 261"/>
                    <a:gd name="T62" fmla="*/ 2147483647 w 584"/>
                    <a:gd name="T63" fmla="*/ 2147483647 h 261"/>
                    <a:gd name="T64" fmla="*/ 2147483647 w 584"/>
                    <a:gd name="T65" fmla="*/ 2147483647 h 261"/>
                    <a:gd name="T66" fmla="*/ 2147483647 w 584"/>
                    <a:gd name="T67" fmla="*/ 2147483647 h 261"/>
                    <a:gd name="T68" fmla="*/ 2147483647 w 584"/>
                    <a:gd name="T69" fmla="*/ 2147483647 h 261"/>
                    <a:gd name="T70" fmla="*/ 2147483647 w 584"/>
                    <a:gd name="T71" fmla="*/ 2147483647 h 261"/>
                    <a:gd name="T72" fmla="*/ 2147483647 w 584"/>
                    <a:gd name="T73" fmla="*/ 2147483647 h 261"/>
                    <a:gd name="T74" fmla="*/ 2147483647 w 584"/>
                    <a:gd name="T75" fmla="*/ 2147483647 h 261"/>
                    <a:gd name="T76" fmla="*/ 2147483647 w 584"/>
                    <a:gd name="T77" fmla="*/ 2147483647 h 261"/>
                    <a:gd name="T78" fmla="*/ 2147483647 w 584"/>
                    <a:gd name="T79" fmla="*/ 2147483647 h 261"/>
                    <a:gd name="T80" fmla="*/ 2147483647 w 584"/>
                    <a:gd name="T81" fmla="*/ 0 h 261"/>
                    <a:gd name="T82" fmla="*/ 2147483647 w 584"/>
                    <a:gd name="T83" fmla="*/ 2147483647 h 261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84"/>
                    <a:gd name="T127" fmla="*/ 0 h 261"/>
                    <a:gd name="T128" fmla="*/ 584 w 584"/>
                    <a:gd name="T129" fmla="*/ 261 h 261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84" h="261">
                      <a:moveTo>
                        <a:pt x="488" y="174"/>
                      </a:moveTo>
                      <a:lnTo>
                        <a:pt x="505" y="166"/>
                      </a:lnTo>
                      <a:lnTo>
                        <a:pt x="505" y="183"/>
                      </a:lnTo>
                      <a:lnTo>
                        <a:pt x="497" y="183"/>
                      </a:lnTo>
                      <a:lnTo>
                        <a:pt x="470" y="183"/>
                      </a:lnTo>
                      <a:lnTo>
                        <a:pt x="453" y="192"/>
                      </a:lnTo>
                      <a:lnTo>
                        <a:pt x="436" y="200"/>
                      </a:lnTo>
                      <a:lnTo>
                        <a:pt x="427" y="200"/>
                      </a:lnTo>
                      <a:lnTo>
                        <a:pt x="427" y="192"/>
                      </a:lnTo>
                      <a:lnTo>
                        <a:pt x="444" y="174"/>
                      </a:lnTo>
                      <a:lnTo>
                        <a:pt x="470" y="166"/>
                      </a:lnTo>
                      <a:lnTo>
                        <a:pt x="488" y="174"/>
                      </a:lnTo>
                      <a:close/>
                      <a:moveTo>
                        <a:pt x="235" y="26"/>
                      </a:moveTo>
                      <a:lnTo>
                        <a:pt x="191" y="35"/>
                      </a:lnTo>
                      <a:lnTo>
                        <a:pt x="209" y="52"/>
                      </a:lnTo>
                      <a:lnTo>
                        <a:pt x="191" y="52"/>
                      </a:lnTo>
                      <a:lnTo>
                        <a:pt x="183" y="61"/>
                      </a:lnTo>
                      <a:lnTo>
                        <a:pt x="218" y="70"/>
                      </a:lnTo>
                      <a:lnTo>
                        <a:pt x="218" y="78"/>
                      </a:lnTo>
                      <a:lnTo>
                        <a:pt x="183" y="87"/>
                      </a:lnTo>
                      <a:lnTo>
                        <a:pt x="157" y="78"/>
                      </a:lnTo>
                      <a:lnTo>
                        <a:pt x="139" y="78"/>
                      </a:lnTo>
                      <a:lnTo>
                        <a:pt x="113" y="87"/>
                      </a:lnTo>
                      <a:lnTo>
                        <a:pt x="104" y="78"/>
                      </a:lnTo>
                      <a:lnTo>
                        <a:pt x="69" y="70"/>
                      </a:lnTo>
                      <a:lnTo>
                        <a:pt x="43" y="78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26" y="105"/>
                      </a:lnTo>
                      <a:lnTo>
                        <a:pt x="8" y="87"/>
                      </a:lnTo>
                      <a:lnTo>
                        <a:pt x="0" y="105"/>
                      </a:lnTo>
                      <a:lnTo>
                        <a:pt x="0" y="131"/>
                      </a:lnTo>
                      <a:lnTo>
                        <a:pt x="8" y="131"/>
                      </a:lnTo>
                      <a:lnTo>
                        <a:pt x="8" y="139"/>
                      </a:lnTo>
                      <a:lnTo>
                        <a:pt x="26" y="139"/>
                      </a:lnTo>
                      <a:lnTo>
                        <a:pt x="35" y="157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104" y="174"/>
                      </a:lnTo>
                      <a:lnTo>
                        <a:pt x="78" y="183"/>
                      </a:lnTo>
                      <a:lnTo>
                        <a:pt x="69" y="200"/>
                      </a:lnTo>
                      <a:lnTo>
                        <a:pt x="87" y="227"/>
                      </a:lnTo>
                      <a:lnTo>
                        <a:pt x="113" y="227"/>
                      </a:lnTo>
                      <a:lnTo>
                        <a:pt x="113" y="235"/>
                      </a:lnTo>
                      <a:lnTo>
                        <a:pt x="130" y="235"/>
                      </a:lnTo>
                      <a:lnTo>
                        <a:pt x="148" y="244"/>
                      </a:lnTo>
                      <a:lnTo>
                        <a:pt x="165" y="253"/>
                      </a:lnTo>
                      <a:lnTo>
                        <a:pt x="157" y="183"/>
                      </a:lnTo>
                      <a:lnTo>
                        <a:pt x="174" y="183"/>
                      </a:lnTo>
                      <a:lnTo>
                        <a:pt x="183" y="166"/>
                      </a:lnTo>
                      <a:lnTo>
                        <a:pt x="252" y="209"/>
                      </a:lnTo>
                      <a:lnTo>
                        <a:pt x="270" y="209"/>
                      </a:lnTo>
                      <a:lnTo>
                        <a:pt x="287" y="218"/>
                      </a:lnTo>
                      <a:lnTo>
                        <a:pt x="296" y="209"/>
                      </a:lnTo>
                      <a:lnTo>
                        <a:pt x="322" y="227"/>
                      </a:lnTo>
                      <a:lnTo>
                        <a:pt x="331" y="253"/>
                      </a:lnTo>
                      <a:lnTo>
                        <a:pt x="348" y="253"/>
                      </a:lnTo>
                      <a:lnTo>
                        <a:pt x="366" y="261"/>
                      </a:lnTo>
                      <a:lnTo>
                        <a:pt x="375" y="244"/>
                      </a:lnTo>
                      <a:lnTo>
                        <a:pt x="392" y="235"/>
                      </a:lnTo>
                      <a:lnTo>
                        <a:pt x="401" y="227"/>
                      </a:lnTo>
                      <a:lnTo>
                        <a:pt x="427" y="235"/>
                      </a:lnTo>
                      <a:lnTo>
                        <a:pt x="436" y="227"/>
                      </a:lnTo>
                      <a:lnTo>
                        <a:pt x="514" y="227"/>
                      </a:lnTo>
                      <a:lnTo>
                        <a:pt x="532" y="235"/>
                      </a:lnTo>
                      <a:lnTo>
                        <a:pt x="532" y="209"/>
                      </a:lnTo>
                      <a:lnTo>
                        <a:pt x="514" y="183"/>
                      </a:lnTo>
                      <a:lnTo>
                        <a:pt x="549" y="183"/>
                      </a:lnTo>
                      <a:lnTo>
                        <a:pt x="549" y="148"/>
                      </a:lnTo>
                      <a:lnTo>
                        <a:pt x="584" y="148"/>
                      </a:lnTo>
                      <a:lnTo>
                        <a:pt x="575" y="131"/>
                      </a:lnTo>
                      <a:lnTo>
                        <a:pt x="584" y="122"/>
                      </a:lnTo>
                      <a:lnTo>
                        <a:pt x="584" y="105"/>
                      </a:lnTo>
                      <a:lnTo>
                        <a:pt x="532" y="87"/>
                      </a:lnTo>
                      <a:lnTo>
                        <a:pt x="479" y="87"/>
                      </a:lnTo>
                      <a:lnTo>
                        <a:pt x="436" y="44"/>
                      </a:lnTo>
                      <a:lnTo>
                        <a:pt x="418" y="26"/>
                      </a:lnTo>
                      <a:lnTo>
                        <a:pt x="375" y="44"/>
                      </a:lnTo>
                      <a:lnTo>
                        <a:pt x="366" y="35"/>
                      </a:lnTo>
                      <a:lnTo>
                        <a:pt x="331" y="26"/>
                      </a:lnTo>
                      <a:lnTo>
                        <a:pt x="322" y="9"/>
                      </a:lnTo>
                      <a:lnTo>
                        <a:pt x="287" y="0"/>
                      </a:lnTo>
                      <a:lnTo>
                        <a:pt x="279" y="9"/>
                      </a:lnTo>
                      <a:lnTo>
                        <a:pt x="252" y="17"/>
                      </a:lnTo>
                      <a:lnTo>
                        <a:pt x="235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4" name="Freeform 152"/>
                <p:cNvSpPr>
                  <a:spLocks/>
                </p:cNvSpPr>
                <p:nvPr/>
              </p:nvSpPr>
              <p:spPr bwMode="auto">
                <a:xfrm>
                  <a:off x="5445099" y="1997232"/>
                  <a:ext cx="140339" cy="74961"/>
                </a:xfrm>
                <a:custGeom>
                  <a:avLst/>
                  <a:gdLst>
                    <a:gd name="T0" fmla="*/ 2147483647 w 131"/>
                    <a:gd name="T1" fmla="*/ 2147483647 h 70"/>
                    <a:gd name="T2" fmla="*/ 2147483647 w 131"/>
                    <a:gd name="T3" fmla="*/ 2147483647 h 70"/>
                    <a:gd name="T4" fmla="*/ 2147483647 w 131"/>
                    <a:gd name="T5" fmla="*/ 2147483647 h 70"/>
                    <a:gd name="T6" fmla="*/ 2147483647 w 131"/>
                    <a:gd name="T7" fmla="*/ 2147483647 h 70"/>
                    <a:gd name="T8" fmla="*/ 2147483647 w 131"/>
                    <a:gd name="T9" fmla="*/ 2147483647 h 70"/>
                    <a:gd name="T10" fmla="*/ 2147483647 w 131"/>
                    <a:gd name="T11" fmla="*/ 2147483647 h 70"/>
                    <a:gd name="T12" fmla="*/ 2147483647 w 131"/>
                    <a:gd name="T13" fmla="*/ 0 h 70"/>
                    <a:gd name="T14" fmla="*/ 2147483647 w 131"/>
                    <a:gd name="T15" fmla="*/ 0 h 70"/>
                    <a:gd name="T16" fmla="*/ 2147483647 w 131"/>
                    <a:gd name="T17" fmla="*/ 2147483647 h 70"/>
                    <a:gd name="T18" fmla="*/ 2147483647 w 131"/>
                    <a:gd name="T19" fmla="*/ 2147483647 h 70"/>
                    <a:gd name="T20" fmla="*/ 0 w 131"/>
                    <a:gd name="T21" fmla="*/ 2147483647 h 70"/>
                    <a:gd name="T22" fmla="*/ 2147483647 w 131"/>
                    <a:gd name="T23" fmla="*/ 2147483647 h 70"/>
                    <a:gd name="T24" fmla="*/ 2147483647 w 131"/>
                    <a:gd name="T25" fmla="*/ 2147483647 h 70"/>
                    <a:gd name="T26" fmla="*/ 2147483647 w 131"/>
                    <a:gd name="T27" fmla="*/ 2147483647 h 70"/>
                    <a:gd name="T28" fmla="*/ 2147483647 w 131"/>
                    <a:gd name="T29" fmla="*/ 2147483647 h 70"/>
                    <a:gd name="T30" fmla="*/ 2147483647 w 131"/>
                    <a:gd name="T31" fmla="*/ 2147483647 h 70"/>
                    <a:gd name="T32" fmla="*/ 2147483647 w 131"/>
                    <a:gd name="T33" fmla="*/ 2147483647 h 70"/>
                    <a:gd name="T34" fmla="*/ 2147483647 w 131"/>
                    <a:gd name="T35" fmla="*/ 2147483647 h 70"/>
                    <a:gd name="T36" fmla="*/ 2147483647 w 131"/>
                    <a:gd name="T37" fmla="*/ 2147483647 h 70"/>
                    <a:gd name="T38" fmla="*/ 2147483647 w 131"/>
                    <a:gd name="T39" fmla="*/ 2147483647 h 70"/>
                    <a:gd name="T40" fmla="*/ 2147483647 w 131"/>
                    <a:gd name="T41" fmla="*/ 2147483647 h 70"/>
                    <a:gd name="T42" fmla="*/ 2147483647 w 131"/>
                    <a:gd name="T43" fmla="*/ 2147483647 h 70"/>
                    <a:gd name="T44" fmla="*/ 2147483647 w 131"/>
                    <a:gd name="T45" fmla="*/ 2147483647 h 70"/>
                    <a:gd name="T46" fmla="*/ 2147483647 w 131"/>
                    <a:gd name="T47" fmla="*/ 2147483647 h 7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31"/>
                    <a:gd name="T73" fmla="*/ 0 h 70"/>
                    <a:gd name="T74" fmla="*/ 131 w 131"/>
                    <a:gd name="T75" fmla="*/ 70 h 7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31" h="70">
                      <a:moveTo>
                        <a:pt x="113" y="35"/>
                      </a:moveTo>
                      <a:lnTo>
                        <a:pt x="105" y="27"/>
                      </a:lnTo>
                      <a:lnTo>
                        <a:pt x="70" y="35"/>
                      </a:lnTo>
                      <a:lnTo>
                        <a:pt x="35" y="27"/>
                      </a:lnTo>
                      <a:lnTo>
                        <a:pt x="26" y="18"/>
                      </a:lnTo>
                      <a:lnTo>
                        <a:pt x="44" y="9"/>
                      </a:lnTo>
                      <a:lnTo>
                        <a:pt x="35" y="0"/>
                      </a:lnTo>
                      <a:lnTo>
                        <a:pt x="18" y="0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18" y="53"/>
                      </a:lnTo>
                      <a:lnTo>
                        <a:pt x="9" y="61"/>
                      </a:lnTo>
                      <a:lnTo>
                        <a:pt x="18" y="70"/>
                      </a:lnTo>
                      <a:lnTo>
                        <a:pt x="52" y="61"/>
                      </a:lnTo>
                      <a:lnTo>
                        <a:pt x="61" y="44"/>
                      </a:lnTo>
                      <a:lnTo>
                        <a:pt x="79" y="53"/>
                      </a:lnTo>
                      <a:lnTo>
                        <a:pt x="79" y="70"/>
                      </a:lnTo>
                      <a:lnTo>
                        <a:pt x="96" y="61"/>
                      </a:lnTo>
                      <a:lnTo>
                        <a:pt x="96" y="53"/>
                      </a:lnTo>
                      <a:lnTo>
                        <a:pt x="131" y="61"/>
                      </a:lnTo>
                      <a:lnTo>
                        <a:pt x="122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5" name="Freeform 153"/>
                <p:cNvSpPr>
                  <a:spLocks/>
                </p:cNvSpPr>
                <p:nvPr/>
              </p:nvSpPr>
              <p:spPr bwMode="auto">
                <a:xfrm>
                  <a:off x="5445099" y="1997232"/>
                  <a:ext cx="140339" cy="74961"/>
                </a:xfrm>
                <a:custGeom>
                  <a:avLst/>
                  <a:gdLst>
                    <a:gd name="T0" fmla="*/ 2147483647 w 131"/>
                    <a:gd name="T1" fmla="*/ 2147483647 h 70"/>
                    <a:gd name="T2" fmla="*/ 2147483647 w 131"/>
                    <a:gd name="T3" fmla="*/ 2147483647 h 70"/>
                    <a:gd name="T4" fmla="*/ 2147483647 w 131"/>
                    <a:gd name="T5" fmla="*/ 2147483647 h 70"/>
                    <a:gd name="T6" fmla="*/ 2147483647 w 131"/>
                    <a:gd name="T7" fmla="*/ 2147483647 h 70"/>
                    <a:gd name="T8" fmla="*/ 2147483647 w 131"/>
                    <a:gd name="T9" fmla="*/ 2147483647 h 70"/>
                    <a:gd name="T10" fmla="*/ 2147483647 w 131"/>
                    <a:gd name="T11" fmla="*/ 2147483647 h 70"/>
                    <a:gd name="T12" fmla="*/ 2147483647 w 131"/>
                    <a:gd name="T13" fmla="*/ 0 h 70"/>
                    <a:gd name="T14" fmla="*/ 2147483647 w 131"/>
                    <a:gd name="T15" fmla="*/ 0 h 70"/>
                    <a:gd name="T16" fmla="*/ 2147483647 w 131"/>
                    <a:gd name="T17" fmla="*/ 2147483647 h 70"/>
                    <a:gd name="T18" fmla="*/ 2147483647 w 131"/>
                    <a:gd name="T19" fmla="*/ 2147483647 h 70"/>
                    <a:gd name="T20" fmla="*/ 0 w 131"/>
                    <a:gd name="T21" fmla="*/ 2147483647 h 70"/>
                    <a:gd name="T22" fmla="*/ 2147483647 w 131"/>
                    <a:gd name="T23" fmla="*/ 2147483647 h 70"/>
                    <a:gd name="T24" fmla="*/ 2147483647 w 131"/>
                    <a:gd name="T25" fmla="*/ 2147483647 h 70"/>
                    <a:gd name="T26" fmla="*/ 2147483647 w 131"/>
                    <a:gd name="T27" fmla="*/ 2147483647 h 70"/>
                    <a:gd name="T28" fmla="*/ 2147483647 w 131"/>
                    <a:gd name="T29" fmla="*/ 2147483647 h 70"/>
                    <a:gd name="T30" fmla="*/ 2147483647 w 131"/>
                    <a:gd name="T31" fmla="*/ 2147483647 h 70"/>
                    <a:gd name="T32" fmla="*/ 2147483647 w 131"/>
                    <a:gd name="T33" fmla="*/ 2147483647 h 70"/>
                    <a:gd name="T34" fmla="*/ 2147483647 w 131"/>
                    <a:gd name="T35" fmla="*/ 2147483647 h 70"/>
                    <a:gd name="T36" fmla="*/ 2147483647 w 131"/>
                    <a:gd name="T37" fmla="*/ 2147483647 h 70"/>
                    <a:gd name="T38" fmla="*/ 2147483647 w 131"/>
                    <a:gd name="T39" fmla="*/ 2147483647 h 70"/>
                    <a:gd name="T40" fmla="*/ 2147483647 w 131"/>
                    <a:gd name="T41" fmla="*/ 2147483647 h 70"/>
                    <a:gd name="T42" fmla="*/ 2147483647 w 131"/>
                    <a:gd name="T43" fmla="*/ 2147483647 h 70"/>
                    <a:gd name="T44" fmla="*/ 2147483647 w 131"/>
                    <a:gd name="T45" fmla="*/ 2147483647 h 70"/>
                    <a:gd name="T46" fmla="*/ 2147483647 w 131"/>
                    <a:gd name="T47" fmla="*/ 2147483647 h 7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31"/>
                    <a:gd name="T73" fmla="*/ 0 h 70"/>
                    <a:gd name="T74" fmla="*/ 131 w 131"/>
                    <a:gd name="T75" fmla="*/ 70 h 7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31" h="70">
                      <a:moveTo>
                        <a:pt x="113" y="35"/>
                      </a:moveTo>
                      <a:lnTo>
                        <a:pt x="105" y="27"/>
                      </a:lnTo>
                      <a:lnTo>
                        <a:pt x="70" y="35"/>
                      </a:lnTo>
                      <a:lnTo>
                        <a:pt x="35" y="27"/>
                      </a:lnTo>
                      <a:lnTo>
                        <a:pt x="26" y="18"/>
                      </a:lnTo>
                      <a:lnTo>
                        <a:pt x="44" y="9"/>
                      </a:lnTo>
                      <a:lnTo>
                        <a:pt x="35" y="0"/>
                      </a:lnTo>
                      <a:lnTo>
                        <a:pt x="18" y="0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18" y="53"/>
                      </a:lnTo>
                      <a:lnTo>
                        <a:pt x="9" y="61"/>
                      </a:lnTo>
                      <a:lnTo>
                        <a:pt x="18" y="70"/>
                      </a:lnTo>
                      <a:lnTo>
                        <a:pt x="52" y="61"/>
                      </a:lnTo>
                      <a:lnTo>
                        <a:pt x="61" y="44"/>
                      </a:lnTo>
                      <a:lnTo>
                        <a:pt x="79" y="53"/>
                      </a:lnTo>
                      <a:lnTo>
                        <a:pt x="79" y="70"/>
                      </a:lnTo>
                      <a:lnTo>
                        <a:pt x="96" y="61"/>
                      </a:lnTo>
                      <a:lnTo>
                        <a:pt x="96" y="53"/>
                      </a:lnTo>
                      <a:lnTo>
                        <a:pt x="131" y="61"/>
                      </a:lnTo>
                      <a:lnTo>
                        <a:pt x="122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6" name="Freeform 160"/>
                <p:cNvSpPr>
                  <a:spLocks/>
                </p:cNvSpPr>
                <p:nvPr/>
              </p:nvSpPr>
              <p:spPr bwMode="auto">
                <a:xfrm>
                  <a:off x="4435947" y="1307594"/>
                  <a:ext cx="168192" cy="55685"/>
                </a:xfrm>
                <a:custGeom>
                  <a:avLst/>
                  <a:gdLst>
                    <a:gd name="T0" fmla="*/ 2147483647 w 157"/>
                    <a:gd name="T1" fmla="*/ 0 h 52"/>
                    <a:gd name="T2" fmla="*/ 2147483647 w 157"/>
                    <a:gd name="T3" fmla="*/ 0 h 52"/>
                    <a:gd name="T4" fmla="*/ 2147483647 w 157"/>
                    <a:gd name="T5" fmla="*/ 0 h 52"/>
                    <a:gd name="T6" fmla="*/ 2147483647 w 157"/>
                    <a:gd name="T7" fmla="*/ 0 h 52"/>
                    <a:gd name="T8" fmla="*/ 2147483647 w 157"/>
                    <a:gd name="T9" fmla="*/ 2147483647 h 52"/>
                    <a:gd name="T10" fmla="*/ 2147483647 w 157"/>
                    <a:gd name="T11" fmla="*/ 2147483647 h 52"/>
                    <a:gd name="T12" fmla="*/ 2147483647 w 157"/>
                    <a:gd name="T13" fmla="*/ 2147483647 h 52"/>
                    <a:gd name="T14" fmla="*/ 2147483647 w 157"/>
                    <a:gd name="T15" fmla="*/ 2147483647 h 52"/>
                    <a:gd name="T16" fmla="*/ 2147483647 w 157"/>
                    <a:gd name="T17" fmla="*/ 2147483647 h 52"/>
                    <a:gd name="T18" fmla="*/ 2147483647 w 157"/>
                    <a:gd name="T19" fmla="*/ 2147483647 h 52"/>
                    <a:gd name="T20" fmla="*/ 0 w 157"/>
                    <a:gd name="T21" fmla="*/ 2147483647 h 52"/>
                    <a:gd name="T22" fmla="*/ 2147483647 w 157"/>
                    <a:gd name="T23" fmla="*/ 2147483647 h 52"/>
                    <a:gd name="T24" fmla="*/ 2147483647 w 157"/>
                    <a:gd name="T25" fmla="*/ 2147483647 h 52"/>
                    <a:gd name="T26" fmla="*/ 2147483647 w 157"/>
                    <a:gd name="T27" fmla="*/ 2147483647 h 52"/>
                    <a:gd name="T28" fmla="*/ 2147483647 w 157"/>
                    <a:gd name="T29" fmla="*/ 2147483647 h 52"/>
                    <a:gd name="T30" fmla="*/ 2147483647 w 157"/>
                    <a:gd name="T31" fmla="*/ 2147483647 h 52"/>
                    <a:gd name="T32" fmla="*/ 2147483647 w 157"/>
                    <a:gd name="T33" fmla="*/ 2147483647 h 52"/>
                    <a:gd name="T34" fmla="*/ 2147483647 w 157"/>
                    <a:gd name="T35" fmla="*/ 2147483647 h 52"/>
                    <a:gd name="T36" fmla="*/ 2147483647 w 157"/>
                    <a:gd name="T37" fmla="*/ 2147483647 h 52"/>
                    <a:gd name="T38" fmla="*/ 2147483647 w 157"/>
                    <a:gd name="T39" fmla="*/ 2147483647 h 52"/>
                    <a:gd name="T40" fmla="*/ 2147483647 w 157"/>
                    <a:gd name="T41" fmla="*/ 2147483647 h 52"/>
                    <a:gd name="T42" fmla="*/ 2147483647 w 157"/>
                    <a:gd name="T43" fmla="*/ 2147483647 h 52"/>
                    <a:gd name="T44" fmla="*/ 2147483647 w 157"/>
                    <a:gd name="T45" fmla="*/ 2147483647 h 52"/>
                    <a:gd name="T46" fmla="*/ 2147483647 w 157"/>
                    <a:gd name="T47" fmla="*/ 0 h 52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57"/>
                    <a:gd name="T73" fmla="*/ 0 h 52"/>
                    <a:gd name="T74" fmla="*/ 157 w 157"/>
                    <a:gd name="T75" fmla="*/ 52 h 52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57" h="52">
                      <a:moveTo>
                        <a:pt x="157" y="0"/>
                      </a:moveTo>
                      <a:lnTo>
                        <a:pt x="131" y="0"/>
                      </a:lnTo>
                      <a:lnTo>
                        <a:pt x="114" y="0"/>
                      </a:lnTo>
                      <a:lnTo>
                        <a:pt x="96" y="0"/>
                      </a:lnTo>
                      <a:lnTo>
                        <a:pt x="79" y="8"/>
                      </a:lnTo>
                      <a:lnTo>
                        <a:pt x="53" y="8"/>
                      </a:lnTo>
                      <a:lnTo>
                        <a:pt x="53" y="17"/>
                      </a:lnTo>
                      <a:lnTo>
                        <a:pt x="35" y="8"/>
                      </a:lnTo>
                      <a:lnTo>
                        <a:pt x="27" y="17"/>
                      </a:lnTo>
                      <a:lnTo>
                        <a:pt x="18" y="8"/>
                      </a:lnTo>
                      <a:lnTo>
                        <a:pt x="0" y="17"/>
                      </a:lnTo>
                      <a:lnTo>
                        <a:pt x="27" y="26"/>
                      </a:lnTo>
                      <a:lnTo>
                        <a:pt x="44" y="43"/>
                      </a:lnTo>
                      <a:lnTo>
                        <a:pt x="61" y="52"/>
                      </a:lnTo>
                      <a:lnTo>
                        <a:pt x="96" y="26"/>
                      </a:lnTo>
                      <a:lnTo>
                        <a:pt x="114" y="26"/>
                      </a:lnTo>
                      <a:lnTo>
                        <a:pt x="123" y="43"/>
                      </a:lnTo>
                      <a:lnTo>
                        <a:pt x="140" y="43"/>
                      </a:lnTo>
                      <a:lnTo>
                        <a:pt x="149" y="43"/>
                      </a:lnTo>
                      <a:lnTo>
                        <a:pt x="131" y="26"/>
                      </a:lnTo>
                      <a:lnTo>
                        <a:pt x="131" y="17"/>
                      </a:lnTo>
                      <a:lnTo>
                        <a:pt x="140" y="17"/>
                      </a:lnTo>
                      <a:lnTo>
                        <a:pt x="157" y="26"/>
                      </a:lnTo>
                      <a:lnTo>
                        <a:pt x="15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7" name="Freeform 161"/>
                <p:cNvSpPr>
                  <a:spLocks/>
                </p:cNvSpPr>
                <p:nvPr/>
              </p:nvSpPr>
              <p:spPr bwMode="auto">
                <a:xfrm>
                  <a:off x="4435947" y="1307594"/>
                  <a:ext cx="168192" cy="55685"/>
                </a:xfrm>
                <a:custGeom>
                  <a:avLst/>
                  <a:gdLst>
                    <a:gd name="T0" fmla="*/ 2147483647 w 157"/>
                    <a:gd name="T1" fmla="*/ 0 h 52"/>
                    <a:gd name="T2" fmla="*/ 2147483647 w 157"/>
                    <a:gd name="T3" fmla="*/ 0 h 52"/>
                    <a:gd name="T4" fmla="*/ 2147483647 w 157"/>
                    <a:gd name="T5" fmla="*/ 0 h 52"/>
                    <a:gd name="T6" fmla="*/ 2147483647 w 157"/>
                    <a:gd name="T7" fmla="*/ 0 h 52"/>
                    <a:gd name="T8" fmla="*/ 2147483647 w 157"/>
                    <a:gd name="T9" fmla="*/ 2147483647 h 52"/>
                    <a:gd name="T10" fmla="*/ 2147483647 w 157"/>
                    <a:gd name="T11" fmla="*/ 2147483647 h 52"/>
                    <a:gd name="T12" fmla="*/ 2147483647 w 157"/>
                    <a:gd name="T13" fmla="*/ 2147483647 h 52"/>
                    <a:gd name="T14" fmla="*/ 2147483647 w 157"/>
                    <a:gd name="T15" fmla="*/ 2147483647 h 52"/>
                    <a:gd name="T16" fmla="*/ 2147483647 w 157"/>
                    <a:gd name="T17" fmla="*/ 2147483647 h 52"/>
                    <a:gd name="T18" fmla="*/ 2147483647 w 157"/>
                    <a:gd name="T19" fmla="*/ 2147483647 h 52"/>
                    <a:gd name="T20" fmla="*/ 0 w 157"/>
                    <a:gd name="T21" fmla="*/ 2147483647 h 52"/>
                    <a:gd name="T22" fmla="*/ 2147483647 w 157"/>
                    <a:gd name="T23" fmla="*/ 2147483647 h 52"/>
                    <a:gd name="T24" fmla="*/ 2147483647 w 157"/>
                    <a:gd name="T25" fmla="*/ 2147483647 h 52"/>
                    <a:gd name="T26" fmla="*/ 2147483647 w 157"/>
                    <a:gd name="T27" fmla="*/ 2147483647 h 52"/>
                    <a:gd name="T28" fmla="*/ 2147483647 w 157"/>
                    <a:gd name="T29" fmla="*/ 2147483647 h 52"/>
                    <a:gd name="T30" fmla="*/ 2147483647 w 157"/>
                    <a:gd name="T31" fmla="*/ 2147483647 h 52"/>
                    <a:gd name="T32" fmla="*/ 2147483647 w 157"/>
                    <a:gd name="T33" fmla="*/ 2147483647 h 52"/>
                    <a:gd name="T34" fmla="*/ 2147483647 w 157"/>
                    <a:gd name="T35" fmla="*/ 2147483647 h 52"/>
                    <a:gd name="T36" fmla="*/ 2147483647 w 157"/>
                    <a:gd name="T37" fmla="*/ 2147483647 h 52"/>
                    <a:gd name="T38" fmla="*/ 2147483647 w 157"/>
                    <a:gd name="T39" fmla="*/ 2147483647 h 52"/>
                    <a:gd name="T40" fmla="*/ 2147483647 w 157"/>
                    <a:gd name="T41" fmla="*/ 2147483647 h 52"/>
                    <a:gd name="T42" fmla="*/ 2147483647 w 157"/>
                    <a:gd name="T43" fmla="*/ 2147483647 h 52"/>
                    <a:gd name="T44" fmla="*/ 2147483647 w 157"/>
                    <a:gd name="T45" fmla="*/ 2147483647 h 52"/>
                    <a:gd name="T46" fmla="*/ 2147483647 w 157"/>
                    <a:gd name="T47" fmla="*/ 0 h 52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57"/>
                    <a:gd name="T73" fmla="*/ 0 h 52"/>
                    <a:gd name="T74" fmla="*/ 157 w 157"/>
                    <a:gd name="T75" fmla="*/ 52 h 52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57" h="52">
                      <a:moveTo>
                        <a:pt x="157" y="0"/>
                      </a:moveTo>
                      <a:lnTo>
                        <a:pt x="131" y="0"/>
                      </a:lnTo>
                      <a:lnTo>
                        <a:pt x="114" y="0"/>
                      </a:lnTo>
                      <a:lnTo>
                        <a:pt x="96" y="0"/>
                      </a:lnTo>
                      <a:lnTo>
                        <a:pt x="79" y="8"/>
                      </a:lnTo>
                      <a:lnTo>
                        <a:pt x="53" y="8"/>
                      </a:lnTo>
                      <a:lnTo>
                        <a:pt x="53" y="17"/>
                      </a:lnTo>
                      <a:lnTo>
                        <a:pt x="35" y="8"/>
                      </a:lnTo>
                      <a:lnTo>
                        <a:pt x="27" y="17"/>
                      </a:lnTo>
                      <a:lnTo>
                        <a:pt x="18" y="8"/>
                      </a:lnTo>
                      <a:lnTo>
                        <a:pt x="0" y="17"/>
                      </a:lnTo>
                      <a:lnTo>
                        <a:pt x="27" y="26"/>
                      </a:lnTo>
                      <a:lnTo>
                        <a:pt x="44" y="43"/>
                      </a:lnTo>
                      <a:lnTo>
                        <a:pt x="61" y="52"/>
                      </a:lnTo>
                      <a:lnTo>
                        <a:pt x="96" y="26"/>
                      </a:lnTo>
                      <a:lnTo>
                        <a:pt x="114" y="26"/>
                      </a:lnTo>
                      <a:lnTo>
                        <a:pt x="123" y="43"/>
                      </a:lnTo>
                      <a:lnTo>
                        <a:pt x="140" y="43"/>
                      </a:lnTo>
                      <a:lnTo>
                        <a:pt x="149" y="43"/>
                      </a:lnTo>
                      <a:lnTo>
                        <a:pt x="131" y="26"/>
                      </a:lnTo>
                      <a:lnTo>
                        <a:pt x="131" y="17"/>
                      </a:lnTo>
                      <a:lnTo>
                        <a:pt x="140" y="17"/>
                      </a:lnTo>
                      <a:lnTo>
                        <a:pt x="157" y="26"/>
                      </a:lnTo>
                      <a:lnTo>
                        <a:pt x="15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8" name="Freeform 162"/>
                <p:cNvSpPr>
                  <a:spLocks/>
                </p:cNvSpPr>
                <p:nvPr/>
              </p:nvSpPr>
              <p:spPr bwMode="auto">
                <a:xfrm>
                  <a:off x="4370599" y="1446807"/>
                  <a:ext cx="346026" cy="223811"/>
                </a:xfrm>
                <a:custGeom>
                  <a:avLst/>
                  <a:gdLst>
                    <a:gd name="T0" fmla="*/ 2147483647 w 323"/>
                    <a:gd name="T1" fmla="*/ 0 h 209"/>
                    <a:gd name="T2" fmla="*/ 2147483647 w 323"/>
                    <a:gd name="T3" fmla="*/ 0 h 209"/>
                    <a:gd name="T4" fmla="*/ 2147483647 w 323"/>
                    <a:gd name="T5" fmla="*/ 2147483647 h 209"/>
                    <a:gd name="T6" fmla="*/ 2147483647 w 323"/>
                    <a:gd name="T7" fmla="*/ 2147483647 h 209"/>
                    <a:gd name="T8" fmla="*/ 2147483647 w 323"/>
                    <a:gd name="T9" fmla="*/ 2147483647 h 209"/>
                    <a:gd name="T10" fmla="*/ 2147483647 w 323"/>
                    <a:gd name="T11" fmla="*/ 2147483647 h 209"/>
                    <a:gd name="T12" fmla="*/ 2147483647 w 323"/>
                    <a:gd name="T13" fmla="*/ 2147483647 h 209"/>
                    <a:gd name="T14" fmla="*/ 2147483647 w 323"/>
                    <a:gd name="T15" fmla="*/ 2147483647 h 209"/>
                    <a:gd name="T16" fmla="*/ 2147483647 w 323"/>
                    <a:gd name="T17" fmla="*/ 2147483647 h 209"/>
                    <a:gd name="T18" fmla="*/ 2147483647 w 323"/>
                    <a:gd name="T19" fmla="*/ 2147483647 h 209"/>
                    <a:gd name="T20" fmla="*/ 2147483647 w 323"/>
                    <a:gd name="T21" fmla="*/ 2147483647 h 209"/>
                    <a:gd name="T22" fmla="*/ 2147483647 w 323"/>
                    <a:gd name="T23" fmla="*/ 2147483647 h 209"/>
                    <a:gd name="T24" fmla="*/ 2147483647 w 323"/>
                    <a:gd name="T25" fmla="*/ 2147483647 h 209"/>
                    <a:gd name="T26" fmla="*/ 2147483647 w 323"/>
                    <a:gd name="T27" fmla="*/ 2147483647 h 209"/>
                    <a:gd name="T28" fmla="*/ 2147483647 w 323"/>
                    <a:gd name="T29" fmla="*/ 2147483647 h 209"/>
                    <a:gd name="T30" fmla="*/ 2147483647 w 323"/>
                    <a:gd name="T31" fmla="*/ 2147483647 h 209"/>
                    <a:gd name="T32" fmla="*/ 2147483647 w 323"/>
                    <a:gd name="T33" fmla="*/ 2147483647 h 209"/>
                    <a:gd name="T34" fmla="*/ 2147483647 w 323"/>
                    <a:gd name="T35" fmla="*/ 2147483647 h 209"/>
                    <a:gd name="T36" fmla="*/ 2147483647 w 323"/>
                    <a:gd name="T37" fmla="*/ 2147483647 h 209"/>
                    <a:gd name="T38" fmla="*/ 2147483647 w 323"/>
                    <a:gd name="T39" fmla="*/ 2147483647 h 209"/>
                    <a:gd name="T40" fmla="*/ 2147483647 w 323"/>
                    <a:gd name="T41" fmla="*/ 2147483647 h 209"/>
                    <a:gd name="T42" fmla="*/ 2147483647 w 323"/>
                    <a:gd name="T43" fmla="*/ 2147483647 h 209"/>
                    <a:gd name="T44" fmla="*/ 2147483647 w 323"/>
                    <a:gd name="T45" fmla="*/ 2147483647 h 209"/>
                    <a:gd name="T46" fmla="*/ 2147483647 w 323"/>
                    <a:gd name="T47" fmla="*/ 2147483647 h 209"/>
                    <a:gd name="T48" fmla="*/ 2147483647 w 323"/>
                    <a:gd name="T49" fmla="*/ 2147483647 h 209"/>
                    <a:gd name="T50" fmla="*/ 2147483647 w 323"/>
                    <a:gd name="T51" fmla="*/ 2147483647 h 209"/>
                    <a:gd name="T52" fmla="*/ 2147483647 w 323"/>
                    <a:gd name="T53" fmla="*/ 2147483647 h 209"/>
                    <a:gd name="T54" fmla="*/ 2147483647 w 323"/>
                    <a:gd name="T55" fmla="*/ 2147483647 h 209"/>
                    <a:gd name="T56" fmla="*/ 0 w 323"/>
                    <a:gd name="T57" fmla="*/ 2147483647 h 209"/>
                    <a:gd name="T58" fmla="*/ 2147483647 w 323"/>
                    <a:gd name="T59" fmla="*/ 2147483647 h 209"/>
                    <a:gd name="T60" fmla="*/ 2147483647 w 323"/>
                    <a:gd name="T61" fmla="*/ 2147483647 h 209"/>
                    <a:gd name="T62" fmla="*/ 2147483647 w 323"/>
                    <a:gd name="T63" fmla="*/ 2147483647 h 209"/>
                    <a:gd name="T64" fmla="*/ 2147483647 w 323"/>
                    <a:gd name="T65" fmla="*/ 2147483647 h 209"/>
                    <a:gd name="T66" fmla="*/ 2147483647 w 323"/>
                    <a:gd name="T67" fmla="*/ 2147483647 h 209"/>
                    <a:gd name="T68" fmla="*/ 2147483647 w 323"/>
                    <a:gd name="T69" fmla="*/ 2147483647 h 209"/>
                    <a:gd name="T70" fmla="*/ 2147483647 w 323"/>
                    <a:gd name="T71" fmla="*/ 2147483647 h 209"/>
                    <a:gd name="T72" fmla="*/ 2147483647 w 323"/>
                    <a:gd name="T73" fmla="*/ 2147483647 h 209"/>
                    <a:gd name="T74" fmla="*/ 2147483647 w 323"/>
                    <a:gd name="T75" fmla="*/ 2147483647 h 209"/>
                    <a:gd name="T76" fmla="*/ 2147483647 w 323"/>
                    <a:gd name="T77" fmla="*/ 2147483647 h 209"/>
                    <a:gd name="T78" fmla="*/ 2147483647 w 323"/>
                    <a:gd name="T79" fmla="*/ 2147483647 h 209"/>
                    <a:gd name="T80" fmla="*/ 2147483647 w 323"/>
                    <a:gd name="T81" fmla="*/ 2147483647 h 209"/>
                    <a:gd name="T82" fmla="*/ 2147483647 w 323"/>
                    <a:gd name="T83" fmla="*/ 2147483647 h 209"/>
                    <a:gd name="T84" fmla="*/ 2147483647 w 323"/>
                    <a:gd name="T85" fmla="*/ 2147483647 h 209"/>
                    <a:gd name="T86" fmla="*/ 2147483647 w 323"/>
                    <a:gd name="T87" fmla="*/ 2147483647 h 209"/>
                    <a:gd name="T88" fmla="*/ 2147483647 w 323"/>
                    <a:gd name="T89" fmla="*/ 2147483647 h 209"/>
                    <a:gd name="T90" fmla="*/ 2147483647 w 323"/>
                    <a:gd name="T91" fmla="*/ 2147483647 h 209"/>
                    <a:gd name="T92" fmla="*/ 2147483647 w 323"/>
                    <a:gd name="T93" fmla="*/ 2147483647 h 209"/>
                    <a:gd name="T94" fmla="*/ 2147483647 w 323"/>
                    <a:gd name="T95" fmla="*/ 2147483647 h 209"/>
                    <a:gd name="T96" fmla="*/ 2147483647 w 323"/>
                    <a:gd name="T97" fmla="*/ 2147483647 h 209"/>
                    <a:gd name="T98" fmla="*/ 2147483647 w 323"/>
                    <a:gd name="T99" fmla="*/ 2147483647 h 209"/>
                    <a:gd name="T100" fmla="*/ 2147483647 w 323"/>
                    <a:gd name="T101" fmla="*/ 2147483647 h 209"/>
                    <a:gd name="T102" fmla="*/ 2147483647 w 323"/>
                    <a:gd name="T103" fmla="*/ 2147483647 h 209"/>
                    <a:gd name="T104" fmla="*/ 2147483647 w 323"/>
                    <a:gd name="T105" fmla="*/ 2147483647 h 209"/>
                    <a:gd name="T106" fmla="*/ 2147483647 w 323"/>
                    <a:gd name="T107" fmla="*/ 2147483647 h 209"/>
                    <a:gd name="T108" fmla="*/ 2147483647 w 323"/>
                    <a:gd name="T109" fmla="*/ 2147483647 h 209"/>
                    <a:gd name="T110" fmla="*/ 2147483647 w 323"/>
                    <a:gd name="T111" fmla="*/ 2147483647 h 209"/>
                    <a:gd name="T112" fmla="*/ 2147483647 w 323"/>
                    <a:gd name="T113" fmla="*/ 2147483647 h 209"/>
                    <a:gd name="T114" fmla="*/ 2147483647 w 323"/>
                    <a:gd name="T115" fmla="*/ 2147483647 h 209"/>
                    <a:gd name="T116" fmla="*/ 2147483647 w 323"/>
                    <a:gd name="T117" fmla="*/ 2147483647 h 209"/>
                    <a:gd name="T118" fmla="*/ 2147483647 w 323"/>
                    <a:gd name="T119" fmla="*/ 2147483647 h 209"/>
                    <a:gd name="T120" fmla="*/ 2147483647 w 323"/>
                    <a:gd name="T121" fmla="*/ 2147483647 h 209"/>
                    <a:gd name="T122" fmla="*/ 2147483647 w 323"/>
                    <a:gd name="T123" fmla="*/ 0 h 209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23"/>
                    <a:gd name="T187" fmla="*/ 0 h 209"/>
                    <a:gd name="T188" fmla="*/ 323 w 323"/>
                    <a:gd name="T189" fmla="*/ 209 h 209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23" h="209">
                      <a:moveTo>
                        <a:pt x="253" y="0"/>
                      </a:moveTo>
                      <a:lnTo>
                        <a:pt x="236" y="0"/>
                      </a:lnTo>
                      <a:lnTo>
                        <a:pt x="245" y="9"/>
                      </a:lnTo>
                      <a:lnTo>
                        <a:pt x="227" y="18"/>
                      </a:lnTo>
                      <a:lnTo>
                        <a:pt x="218" y="9"/>
                      </a:lnTo>
                      <a:lnTo>
                        <a:pt x="201" y="9"/>
                      </a:lnTo>
                      <a:lnTo>
                        <a:pt x="201" y="18"/>
                      </a:lnTo>
                      <a:lnTo>
                        <a:pt x="192" y="18"/>
                      </a:lnTo>
                      <a:lnTo>
                        <a:pt x="184" y="18"/>
                      </a:lnTo>
                      <a:lnTo>
                        <a:pt x="149" y="35"/>
                      </a:lnTo>
                      <a:lnTo>
                        <a:pt x="140" y="44"/>
                      </a:lnTo>
                      <a:lnTo>
                        <a:pt x="131" y="26"/>
                      </a:lnTo>
                      <a:lnTo>
                        <a:pt x="114" y="44"/>
                      </a:lnTo>
                      <a:lnTo>
                        <a:pt x="122" y="44"/>
                      </a:lnTo>
                      <a:lnTo>
                        <a:pt x="131" y="61"/>
                      </a:lnTo>
                      <a:lnTo>
                        <a:pt x="114" y="61"/>
                      </a:lnTo>
                      <a:lnTo>
                        <a:pt x="114" y="79"/>
                      </a:lnTo>
                      <a:lnTo>
                        <a:pt x="96" y="96"/>
                      </a:lnTo>
                      <a:lnTo>
                        <a:pt x="96" y="105"/>
                      </a:lnTo>
                      <a:lnTo>
                        <a:pt x="88" y="105"/>
                      </a:lnTo>
                      <a:lnTo>
                        <a:pt x="70" y="114"/>
                      </a:lnTo>
                      <a:lnTo>
                        <a:pt x="61" y="114"/>
                      </a:lnTo>
                      <a:lnTo>
                        <a:pt x="61" y="131"/>
                      </a:lnTo>
                      <a:lnTo>
                        <a:pt x="44" y="131"/>
                      </a:lnTo>
                      <a:lnTo>
                        <a:pt x="35" y="140"/>
                      </a:lnTo>
                      <a:lnTo>
                        <a:pt x="18" y="140"/>
                      </a:lnTo>
                      <a:lnTo>
                        <a:pt x="0" y="157"/>
                      </a:lnTo>
                      <a:lnTo>
                        <a:pt x="27" y="157"/>
                      </a:lnTo>
                      <a:lnTo>
                        <a:pt x="9" y="166"/>
                      </a:lnTo>
                      <a:lnTo>
                        <a:pt x="27" y="175"/>
                      </a:lnTo>
                      <a:lnTo>
                        <a:pt x="18" y="183"/>
                      </a:lnTo>
                      <a:lnTo>
                        <a:pt x="35" y="192"/>
                      </a:lnTo>
                      <a:lnTo>
                        <a:pt x="27" y="201"/>
                      </a:lnTo>
                      <a:lnTo>
                        <a:pt x="61" y="209"/>
                      </a:lnTo>
                      <a:lnTo>
                        <a:pt x="88" y="183"/>
                      </a:lnTo>
                      <a:lnTo>
                        <a:pt x="105" y="201"/>
                      </a:lnTo>
                      <a:lnTo>
                        <a:pt x="114" y="183"/>
                      </a:lnTo>
                      <a:lnTo>
                        <a:pt x="122" y="157"/>
                      </a:lnTo>
                      <a:lnTo>
                        <a:pt x="114" y="140"/>
                      </a:lnTo>
                      <a:lnTo>
                        <a:pt x="122" y="114"/>
                      </a:lnTo>
                      <a:lnTo>
                        <a:pt x="140" y="114"/>
                      </a:lnTo>
                      <a:lnTo>
                        <a:pt x="140" y="87"/>
                      </a:lnTo>
                      <a:lnTo>
                        <a:pt x="175" y="44"/>
                      </a:lnTo>
                      <a:lnTo>
                        <a:pt x="218" y="35"/>
                      </a:lnTo>
                      <a:lnTo>
                        <a:pt x="236" y="44"/>
                      </a:lnTo>
                      <a:lnTo>
                        <a:pt x="271" y="35"/>
                      </a:lnTo>
                      <a:lnTo>
                        <a:pt x="271" y="18"/>
                      </a:lnTo>
                      <a:lnTo>
                        <a:pt x="288" y="18"/>
                      </a:lnTo>
                      <a:lnTo>
                        <a:pt x="314" y="35"/>
                      </a:lnTo>
                      <a:lnTo>
                        <a:pt x="323" y="18"/>
                      </a:lnTo>
                      <a:lnTo>
                        <a:pt x="297" y="9"/>
                      </a:lnTo>
                      <a:lnTo>
                        <a:pt x="271" y="9"/>
                      </a:lnTo>
                      <a:lnTo>
                        <a:pt x="262" y="9"/>
                      </a:lnTo>
                      <a:lnTo>
                        <a:pt x="253" y="9"/>
                      </a:lnTo>
                      <a:lnTo>
                        <a:pt x="25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9" name="Freeform 163"/>
                <p:cNvSpPr>
                  <a:spLocks/>
                </p:cNvSpPr>
                <p:nvPr/>
              </p:nvSpPr>
              <p:spPr bwMode="auto">
                <a:xfrm>
                  <a:off x="4370599" y="1446807"/>
                  <a:ext cx="346026" cy="223811"/>
                </a:xfrm>
                <a:custGeom>
                  <a:avLst/>
                  <a:gdLst>
                    <a:gd name="T0" fmla="*/ 2147483647 w 323"/>
                    <a:gd name="T1" fmla="*/ 0 h 209"/>
                    <a:gd name="T2" fmla="*/ 2147483647 w 323"/>
                    <a:gd name="T3" fmla="*/ 0 h 209"/>
                    <a:gd name="T4" fmla="*/ 2147483647 w 323"/>
                    <a:gd name="T5" fmla="*/ 2147483647 h 209"/>
                    <a:gd name="T6" fmla="*/ 2147483647 w 323"/>
                    <a:gd name="T7" fmla="*/ 2147483647 h 209"/>
                    <a:gd name="T8" fmla="*/ 2147483647 w 323"/>
                    <a:gd name="T9" fmla="*/ 2147483647 h 209"/>
                    <a:gd name="T10" fmla="*/ 2147483647 w 323"/>
                    <a:gd name="T11" fmla="*/ 2147483647 h 209"/>
                    <a:gd name="T12" fmla="*/ 2147483647 w 323"/>
                    <a:gd name="T13" fmla="*/ 2147483647 h 209"/>
                    <a:gd name="T14" fmla="*/ 2147483647 w 323"/>
                    <a:gd name="T15" fmla="*/ 2147483647 h 209"/>
                    <a:gd name="T16" fmla="*/ 2147483647 w 323"/>
                    <a:gd name="T17" fmla="*/ 2147483647 h 209"/>
                    <a:gd name="T18" fmla="*/ 2147483647 w 323"/>
                    <a:gd name="T19" fmla="*/ 2147483647 h 209"/>
                    <a:gd name="T20" fmla="*/ 2147483647 w 323"/>
                    <a:gd name="T21" fmla="*/ 2147483647 h 209"/>
                    <a:gd name="T22" fmla="*/ 2147483647 w 323"/>
                    <a:gd name="T23" fmla="*/ 2147483647 h 209"/>
                    <a:gd name="T24" fmla="*/ 2147483647 w 323"/>
                    <a:gd name="T25" fmla="*/ 2147483647 h 209"/>
                    <a:gd name="T26" fmla="*/ 2147483647 w 323"/>
                    <a:gd name="T27" fmla="*/ 2147483647 h 209"/>
                    <a:gd name="T28" fmla="*/ 2147483647 w 323"/>
                    <a:gd name="T29" fmla="*/ 2147483647 h 209"/>
                    <a:gd name="T30" fmla="*/ 2147483647 w 323"/>
                    <a:gd name="T31" fmla="*/ 2147483647 h 209"/>
                    <a:gd name="T32" fmla="*/ 2147483647 w 323"/>
                    <a:gd name="T33" fmla="*/ 2147483647 h 209"/>
                    <a:gd name="T34" fmla="*/ 2147483647 w 323"/>
                    <a:gd name="T35" fmla="*/ 2147483647 h 209"/>
                    <a:gd name="T36" fmla="*/ 2147483647 w 323"/>
                    <a:gd name="T37" fmla="*/ 2147483647 h 209"/>
                    <a:gd name="T38" fmla="*/ 2147483647 w 323"/>
                    <a:gd name="T39" fmla="*/ 2147483647 h 209"/>
                    <a:gd name="T40" fmla="*/ 2147483647 w 323"/>
                    <a:gd name="T41" fmla="*/ 2147483647 h 209"/>
                    <a:gd name="T42" fmla="*/ 2147483647 w 323"/>
                    <a:gd name="T43" fmla="*/ 2147483647 h 209"/>
                    <a:gd name="T44" fmla="*/ 2147483647 w 323"/>
                    <a:gd name="T45" fmla="*/ 2147483647 h 209"/>
                    <a:gd name="T46" fmla="*/ 2147483647 w 323"/>
                    <a:gd name="T47" fmla="*/ 2147483647 h 209"/>
                    <a:gd name="T48" fmla="*/ 2147483647 w 323"/>
                    <a:gd name="T49" fmla="*/ 2147483647 h 209"/>
                    <a:gd name="T50" fmla="*/ 2147483647 w 323"/>
                    <a:gd name="T51" fmla="*/ 2147483647 h 209"/>
                    <a:gd name="T52" fmla="*/ 2147483647 w 323"/>
                    <a:gd name="T53" fmla="*/ 2147483647 h 209"/>
                    <a:gd name="T54" fmla="*/ 2147483647 w 323"/>
                    <a:gd name="T55" fmla="*/ 2147483647 h 209"/>
                    <a:gd name="T56" fmla="*/ 0 w 323"/>
                    <a:gd name="T57" fmla="*/ 2147483647 h 209"/>
                    <a:gd name="T58" fmla="*/ 2147483647 w 323"/>
                    <a:gd name="T59" fmla="*/ 2147483647 h 209"/>
                    <a:gd name="T60" fmla="*/ 2147483647 w 323"/>
                    <a:gd name="T61" fmla="*/ 2147483647 h 209"/>
                    <a:gd name="T62" fmla="*/ 2147483647 w 323"/>
                    <a:gd name="T63" fmla="*/ 2147483647 h 209"/>
                    <a:gd name="T64" fmla="*/ 2147483647 w 323"/>
                    <a:gd name="T65" fmla="*/ 2147483647 h 209"/>
                    <a:gd name="T66" fmla="*/ 2147483647 w 323"/>
                    <a:gd name="T67" fmla="*/ 2147483647 h 209"/>
                    <a:gd name="T68" fmla="*/ 2147483647 w 323"/>
                    <a:gd name="T69" fmla="*/ 2147483647 h 209"/>
                    <a:gd name="T70" fmla="*/ 2147483647 w 323"/>
                    <a:gd name="T71" fmla="*/ 2147483647 h 209"/>
                    <a:gd name="T72" fmla="*/ 2147483647 w 323"/>
                    <a:gd name="T73" fmla="*/ 2147483647 h 209"/>
                    <a:gd name="T74" fmla="*/ 2147483647 w 323"/>
                    <a:gd name="T75" fmla="*/ 2147483647 h 209"/>
                    <a:gd name="T76" fmla="*/ 2147483647 w 323"/>
                    <a:gd name="T77" fmla="*/ 2147483647 h 209"/>
                    <a:gd name="T78" fmla="*/ 2147483647 w 323"/>
                    <a:gd name="T79" fmla="*/ 2147483647 h 209"/>
                    <a:gd name="T80" fmla="*/ 2147483647 w 323"/>
                    <a:gd name="T81" fmla="*/ 2147483647 h 209"/>
                    <a:gd name="T82" fmla="*/ 2147483647 w 323"/>
                    <a:gd name="T83" fmla="*/ 2147483647 h 209"/>
                    <a:gd name="T84" fmla="*/ 2147483647 w 323"/>
                    <a:gd name="T85" fmla="*/ 2147483647 h 209"/>
                    <a:gd name="T86" fmla="*/ 2147483647 w 323"/>
                    <a:gd name="T87" fmla="*/ 2147483647 h 209"/>
                    <a:gd name="T88" fmla="*/ 2147483647 w 323"/>
                    <a:gd name="T89" fmla="*/ 2147483647 h 209"/>
                    <a:gd name="T90" fmla="*/ 2147483647 w 323"/>
                    <a:gd name="T91" fmla="*/ 2147483647 h 209"/>
                    <a:gd name="T92" fmla="*/ 2147483647 w 323"/>
                    <a:gd name="T93" fmla="*/ 2147483647 h 209"/>
                    <a:gd name="T94" fmla="*/ 2147483647 w 323"/>
                    <a:gd name="T95" fmla="*/ 2147483647 h 209"/>
                    <a:gd name="T96" fmla="*/ 2147483647 w 323"/>
                    <a:gd name="T97" fmla="*/ 2147483647 h 209"/>
                    <a:gd name="T98" fmla="*/ 2147483647 w 323"/>
                    <a:gd name="T99" fmla="*/ 2147483647 h 209"/>
                    <a:gd name="T100" fmla="*/ 2147483647 w 323"/>
                    <a:gd name="T101" fmla="*/ 2147483647 h 209"/>
                    <a:gd name="T102" fmla="*/ 2147483647 w 323"/>
                    <a:gd name="T103" fmla="*/ 2147483647 h 209"/>
                    <a:gd name="T104" fmla="*/ 2147483647 w 323"/>
                    <a:gd name="T105" fmla="*/ 2147483647 h 209"/>
                    <a:gd name="T106" fmla="*/ 2147483647 w 323"/>
                    <a:gd name="T107" fmla="*/ 2147483647 h 209"/>
                    <a:gd name="T108" fmla="*/ 2147483647 w 323"/>
                    <a:gd name="T109" fmla="*/ 2147483647 h 209"/>
                    <a:gd name="T110" fmla="*/ 2147483647 w 323"/>
                    <a:gd name="T111" fmla="*/ 2147483647 h 209"/>
                    <a:gd name="T112" fmla="*/ 2147483647 w 323"/>
                    <a:gd name="T113" fmla="*/ 2147483647 h 209"/>
                    <a:gd name="T114" fmla="*/ 2147483647 w 323"/>
                    <a:gd name="T115" fmla="*/ 2147483647 h 209"/>
                    <a:gd name="T116" fmla="*/ 2147483647 w 323"/>
                    <a:gd name="T117" fmla="*/ 2147483647 h 209"/>
                    <a:gd name="T118" fmla="*/ 2147483647 w 323"/>
                    <a:gd name="T119" fmla="*/ 2147483647 h 209"/>
                    <a:gd name="T120" fmla="*/ 2147483647 w 323"/>
                    <a:gd name="T121" fmla="*/ 2147483647 h 209"/>
                    <a:gd name="T122" fmla="*/ 2147483647 w 323"/>
                    <a:gd name="T123" fmla="*/ 0 h 209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23"/>
                    <a:gd name="T187" fmla="*/ 0 h 209"/>
                    <a:gd name="T188" fmla="*/ 323 w 323"/>
                    <a:gd name="T189" fmla="*/ 209 h 209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23" h="209">
                      <a:moveTo>
                        <a:pt x="253" y="0"/>
                      </a:moveTo>
                      <a:lnTo>
                        <a:pt x="236" y="0"/>
                      </a:lnTo>
                      <a:lnTo>
                        <a:pt x="245" y="9"/>
                      </a:lnTo>
                      <a:lnTo>
                        <a:pt x="227" y="18"/>
                      </a:lnTo>
                      <a:lnTo>
                        <a:pt x="218" y="9"/>
                      </a:lnTo>
                      <a:lnTo>
                        <a:pt x="201" y="9"/>
                      </a:lnTo>
                      <a:lnTo>
                        <a:pt x="201" y="18"/>
                      </a:lnTo>
                      <a:lnTo>
                        <a:pt x="192" y="18"/>
                      </a:lnTo>
                      <a:lnTo>
                        <a:pt x="184" y="18"/>
                      </a:lnTo>
                      <a:lnTo>
                        <a:pt x="149" y="35"/>
                      </a:lnTo>
                      <a:lnTo>
                        <a:pt x="140" y="44"/>
                      </a:lnTo>
                      <a:lnTo>
                        <a:pt x="131" y="26"/>
                      </a:lnTo>
                      <a:lnTo>
                        <a:pt x="114" y="44"/>
                      </a:lnTo>
                      <a:lnTo>
                        <a:pt x="122" y="44"/>
                      </a:lnTo>
                      <a:lnTo>
                        <a:pt x="131" y="61"/>
                      </a:lnTo>
                      <a:lnTo>
                        <a:pt x="114" y="61"/>
                      </a:lnTo>
                      <a:lnTo>
                        <a:pt x="114" y="79"/>
                      </a:lnTo>
                      <a:lnTo>
                        <a:pt x="96" y="96"/>
                      </a:lnTo>
                      <a:lnTo>
                        <a:pt x="96" y="105"/>
                      </a:lnTo>
                      <a:lnTo>
                        <a:pt x="88" y="105"/>
                      </a:lnTo>
                      <a:lnTo>
                        <a:pt x="70" y="114"/>
                      </a:lnTo>
                      <a:lnTo>
                        <a:pt x="61" y="114"/>
                      </a:lnTo>
                      <a:lnTo>
                        <a:pt x="61" y="131"/>
                      </a:lnTo>
                      <a:lnTo>
                        <a:pt x="44" y="131"/>
                      </a:lnTo>
                      <a:lnTo>
                        <a:pt x="35" y="140"/>
                      </a:lnTo>
                      <a:lnTo>
                        <a:pt x="18" y="140"/>
                      </a:lnTo>
                      <a:lnTo>
                        <a:pt x="0" y="157"/>
                      </a:lnTo>
                      <a:lnTo>
                        <a:pt x="27" y="157"/>
                      </a:lnTo>
                      <a:lnTo>
                        <a:pt x="9" y="166"/>
                      </a:lnTo>
                      <a:lnTo>
                        <a:pt x="27" y="175"/>
                      </a:lnTo>
                      <a:lnTo>
                        <a:pt x="18" y="183"/>
                      </a:lnTo>
                      <a:lnTo>
                        <a:pt x="35" y="192"/>
                      </a:lnTo>
                      <a:lnTo>
                        <a:pt x="27" y="201"/>
                      </a:lnTo>
                      <a:lnTo>
                        <a:pt x="61" y="209"/>
                      </a:lnTo>
                      <a:lnTo>
                        <a:pt x="88" y="183"/>
                      </a:lnTo>
                      <a:lnTo>
                        <a:pt x="105" y="201"/>
                      </a:lnTo>
                      <a:lnTo>
                        <a:pt x="114" y="183"/>
                      </a:lnTo>
                      <a:lnTo>
                        <a:pt x="122" y="157"/>
                      </a:lnTo>
                      <a:lnTo>
                        <a:pt x="114" y="140"/>
                      </a:lnTo>
                      <a:lnTo>
                        <a:pt x="122" y="114"/>
                      </a:lnTo>
                      <a:lnTo>
                        <a:pt x="140" y="114"/>
                      </a:lnTo>
                      <a:lnTo>
                        <a:pt x="140" y="87"/>
                      </a:lnTo>
                      <a:lnTo>
                        <a:pt x="175" y="44"/>
                      </a:lnTo>
                      <a:lnTo>
                        <a:pt x="218" y="35"/>
                      </a:lnTo>
                      <a:lnTo>
                        <a:pt x="236" y="44"/>
                      </a:lnTo>
                      <a:lnTo>
                        <a:pt x="271" y="35"/>
                      </a:lnTo>
                      <a:lnTo>
                        <a:pt x="271" y="18"/>
                      </a:lnTo>
                      <a:lnTo>
                        <a:pt x="288" y="18"/>
                      </a:lnTo>
                      <a:lnTo>
                        <a:pt x="314" y="35"/>
                      </a:lnTo>
                      <a:lnTo>
                        <a:pt x="323" y="18"/>
                      </a:lnTo>
                      <a:lnTo>
                        <a:pt x="297" y="9"/>
                      </a:lnTo>
                      <a:lnTo>
                        <a:pt x="271" y="9"/>
                      </a:lnTo>
                      <a:lnTo>
                        <a:pt x="262" y="9"/>
                      </a:lnTo>
                      <a:lnTo>
                        <a:pt x="253" y="9"/>
                      </a:lnTo>
                      <a:lnTo>
                        <a:pt x="25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0" name="Freeform 164"/>
                <p:cNvSpPr>
                  <a:spLocks/>
                </p:cNvSpPr>
                <p:nvPr/>
              </p:nvSpPr>
              <p:spPr bwMode="auto">
                <a:xfrm>
                  <a:off x="6594591" y="1418964"/>
                  <a:ext cx="46066" cy="27842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2147483647 w 43"/>
                    <a:gd name="T3" fmla="*/ 2147483647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26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1" name="Freeform 165"/>
                <p:cNvSpPr>
                  <a:spLocks/>
                </p:cNvSpPr>
                <p:nvPr/>
              </p:nvSpPr>
              <p:spPr bwMode="auto">
                <a:xfrm>
                  <a:off x="6594591" y="1418964"/>
                  <a:ext cx="46066" cy="27842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2147483647 w 43"/>
                    <a:gd name="T3" fmla="*/ 2147483647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26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2" name="Freeform 166"/>
                <p:cNvSpPr>
                  <a:spLocks/>
                </p:cNvSpPr>
                <p:nvPr/>
              </p:nvSpPr>
              <p:spPr bwMode="auto">
                <a:xfrm>
                  <a:off x="4698413" y="1335437"/>
                  <a:ext cx="2213279" cy="653228"/>
                </a:xfrm>
                <a:custGeom>
                  <a:avLst/>
                  <a:gdLst>
                    <a:gd name="T0" fmla="*/ 2147483647 w 2066"/>
                    <a:gd name="T1" fmla="*/ 2147483647 h 610"/>
                    <a:gd name="T2" fmla="*/ 2147483647 w 2066"/>
                    <a:gd name="T3" fmla="*/ 2147483647 h 610"/>
                    <a:gd name="T4" fmla="*/ 2147483647 w 2066"/>
                    <a:gd name="T5" fmla="*/ 2147483647 h 610"/>
                    <a:gd name="T6" fmla="*/ 2147483647 w 2066"/>
                    <a:gd name="T7" fmla="*/ 2147483647 h 610"/>
                    <a:gd name="T8" fmla="*/ 2147483647 w 2066"/>
                    <a:gd name="T9" fmla="*/ 2147483647 h 610"/>
                    <a:gd name="T10" fmla="*/ 2147483647 w 2066"/>
                    <a:gd name="T11" fmla="*/ 2147483647 h 610"/>
                    <a:gd name="T12" fmla="*/ 2147483647 w 2066"/>
                    <a:gd name="T13" fmla="*/ 2147483647 h 610"/>
                    <a:gd name="T14" fmla="*/ 2147483647 w 2066"/>
                    <a:gd name="T15" fmla="*/ 2147483647 h 610"/>
                    <a:gd name="T16" fmla="*/ 2147483647 w 2066"/>
                    <a:gd name="T17" fmla="*/ 2147483647 h 610"/>
                    <a:gd name="T18" fmla="*/ 2147483647 w 2066"/>
                    <a:gd name="T19" fmla="*/ 0 h 610"/>
                    <a:gd name="T20" fmla="*/ 2147483647 w 2066"/>
                    <a:gd name="T21" fmla="*/ 2147483647 h 610"/>
                    <a:gd name="T22" fmla="*/ 2147483647 w 2066"/>
                    <a:gd name="T23" fmla="*/ 2147483647 h 610"/>
                    <a:gd name="T24" fmla="*/ 2147483647 w 2066"/>
                    <a:gd name="T25" fmla="*/ 2147483647 h 610"/>
                    <a:gd name="T26" fmla="*/ 2147483647 w 2066"/>
                    <a:gd name="T27" fmla="*/ 2147483647 h 610"/>
                    <a:gd name="T28" fmla="*/ 2147483647 w 2066"/>
                    <a:gd name="T29" fmla="*/ 2147483647 h 610"/>
                    <a:gd name="T30" fmla="*/ 2147483647 w 2066"/>
                    <a:gd name="T31" fmla="*/ 2147483647 h 610"/>
                    <a:gd name="T32" fmla="*/ 2147483647 w 2066"/>
                    <a:gd name="T33" fmla="*/ 2147483647 h 610"/>
                    <a:gd name="T34" fmla="*/ 2147483647 w 2066"/>
                    <a:gd name="T35" fmla="*/ 2147483647 h 610"/>
                    <a:gd name="T36" fmla="*/ 2147483647 w 2066"/>
                    <a:gd name="T37" fmla="*/ 2147483647 h 610"/>
                    <a:gd name="T38" fmla="*/ 2147483647 w 2066"/>
                    <a:gd name="T39" fmla="*/ 2147483647 h 610"/>
                    <a:gd name="T40" fmla="*/ 2147483647 w 2066"/>
                    <a:gd name="T41" fmla="*/ 2147483647 h 610"/>
                    <a:gd name="T42" fmla="*/ 2147483647 w 2066"/>
                    <a:gd name="T43" fmla="*/ 2147483647 h 610"/>
                    <a:gd name="T44" fmla="*/ 2147483647 w 2066"/>
                    <a:gd name="T45" fmla="*/ 2147483647 h 610"/>
                    <a:gd name="T46" fmla="*/ 2147483647 w 2066"/>
                    <a:gd name="T47" fmla="*/ 2147483647 h 610"/>
                    <a:gd name="T48" fmla="*/ 2147483647 w 2066"/>
                    <a:gd name="T49" fmla="*/ 2147483647 h 610"/>
                    <a:gd name="T50" fmla="*/ 2147483647 w 2066"/>
                    <a:gd name="T51" fmla="*/ 2147483647 h 610"/>
                    <a:gd name="T52" fmla="*/ 0 w 2066"/>
                    <a:gd name="T53" fmla="*/ 2147483647 h 610"/>
                    <a:gd name="T54" fmla="*/ 2147483647 w 2066"/>
                    <a:gd name="T55" fmla="*/ 2147483647 h 610"/>
                    <a:gd name="T56" fmla="*/ 2147483647 w 2066"/>
                    <a:gd name="T57" fmla="*/ 2147483647 h 610"/>
                    <a:gd name="T58" fmla="*/ 2147483647 w 2066"/>
                    <a:gd name="T59" fmla="*/ 2147483647 h 610"/>
                    <a:gd name="T60" fmla="*/ 2147483647 w 2066"/>
                    <a:gd name="T61" fmla="*/ 2147483647 h 610"/>
                    <a:gd name="T62" fmla="*/ 2147483647 w 2066"/>
                    <a:gd name="T63" fmla="*/ 2147483647 h 610"/>
                    <a:gd name="T64" fmla="*/ 2147483647 w 2066"/>
                    <a:gd name="T65" fmla="*/ 2147483647 h 610"/>
                    <a:gd name="T66" fmla="*/ 2147483647 w 2066"/>
                    <a:gd name="T67" fmla="*/ 2147483647 h 610"/>
                    <a:gd name="T68" fmla="*/ 2147483647 w 2066"/>
                    <a:gd name="T69" fmla="*/ 2147483647 h 610"/>
                    <a:gd name="T70" fmla="*/ 2147483647 w 2066"/>
                    <a:gd name="T71" fmla="*/ 2147483647 h 610"/>
                    <a:gd name="T72" fmla="*/ 2147483647 w 2066"/>
                    <a:gd name="T73" fmla="*/ 2147483647 h 610"/>
                    <a:gd name="T74" fmla="*/ 2147483647 w 2066"/>
                    <a:gd name="T75" fmla="*/ 2147483647 h 610"/>
                    <a:gd name="T76" fmla="*/ 2147483647 w 2066"/>
                    <a:gd name="T77" fmla="*/ 2147483647 h 610"/>
                    <a:gd name="T78" fmla="*/ 2147483647 w 2066"/>
                    <a:gd name="T79" fmla="*/ 2147483647 h 610"/>
                    <a:gd name="T80" fmla="*/ 2147483647 w 2066"/>
                    <a:gd name="T81" fmla="*/ 2147483647 h 610"/>
                    <a:gd name="T82" fmla="*/ 2147483647 w 2066"/>
                    <a:gd name="T83" fmla="*/ 2147483647 h 610"/>
                    <a:gd name="T84" fmla="*/ 2147483647 w 2066"/>
                    <a:gd name="T85" fmla="*/ 2147483647 h 610"/>
                    <a:gd name="T86" fmla="*/ 2147483647 w 2066"/>
                    <a:gd name="T87" fmla="*/ 2147483647 h 610"/>
                    <a:gd name="T88" fmla="*/ 2147483647 w 2066"/>
                    <a:gd name="T89" fmla="*/ 2147483647 h 610"/>
                    <a:gd name="T90" fmla="*/ 2147483647 w 2066"/>
                    <a:gd name="T91" fmla="*/ 2147483647 h 610"/>
                    <a:gd name="T92" fmla="*/ 2147483647 w 2066"/>
                    <a:gd name="T93" fmla="*/ 2147483647 h 610"/>
                    <a:gd name="T94" fmla="*/ 2147483647 w 2066"/>
                    <a:gd name="T95" fmla="*/ 2147483647 h 610"/>
                    <a:gd name="T96" fmla="*/ 2147483647 w 2066"/>
                    <a:gd name="T97" fmla="*/ 2147483647 h 610"/>
                    <a:gd name="T98" fmla="*/ 2147483647 w 2066"/>
                    <a:gd name="T99" fmla="*/ 2147483647 h 610"/>
                    <a:gd name="T100" fmla="*/ 2147483647 w 2066"/>
                    <a:gd name="T101" fmla="*/ 2147483647 h 610"/>
                    <a:gd name="T102" fmla="*/ 2147483647 w 2066"/>
                    <a:gd name="T103" fmla="*/ 2147483647 h 610"/>
                    <a:gd name="T104" fmla="*/ 2147483647 w 2066"/>
                    <a:gd name="T105" fmla="*/ 2147483647 h 610"/>
                    <a:gd name="T106" fmla="*/ 2147483647 w 2066"/>
                    <a:gd name="T107" fmla="*/ 2147483647 h 610"/>
                    <a:gd name="T108" fmla="*/ 2147483647 w 2066"/>
                    <a:gd name="T109" fmla="*/ 2147483647 h 610"/>
                    <a:gd name="T110" fmla="*/ 2147483647 w 2066"/>
                    <a:gd name="T111" fmla="*/ 2147483647 h 610"/>
                    <a:gd name="T112" fmla="*/ 2147483647 w 2066"/>
                    <a:gd name="T113" fmla="*/ 2147483647 h 610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066"/>
                    <a:gd name="T172" fmla="*/ 0 h 610"/>
                    <a:gd name="T173" fmla="*/ 2066 w 2066"/>
                    <a:gd name="T174" fmla="*/ 610 h 610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066" h="610">
                      <a:moveTo>
                        <a:pt x="1988" y="148"/>
                      </a:moveTo>
                      <a:lnTo>
                        <a:pt x="1970" y="157"/>
                      </a:lnTo>
                      <a:lnTo>
                        <a:pt x="1988" y="165"/>
                      </a:lnTo>
                      <a:lnTo>
                        <a:pt x="1935" y="148"/>
                      </a:lnTo>
                      <a:lnTo>
                        <a:pt x="1813" y="122"/>
                      </a:lnTo>
                      <a:lnTo>
                        <a:pt x="1796" y="122"/>
                      </a:lnTo>
                      <a:lnTo>
                        <a:pt x="1787" y="113"/>
                      </a:lnTo>
                      <a:lnTo>
                        <a:pt x="1752" y="122"/>
                      </a:lnTo>
                      <a:lnTo>
                        <a:pt x="1717" y="113"/>
                      </a:lnTo>
                      <a:lnTo>
                        <a:pt x="1700" y="113"/>
                      </a:lnTo>
                      <a:lnTo>
                        <a:pt x="1726" y="139"/>
                      </a:lnTo>
                      <a:lnTo>
                        <a:pt x="1691" y="122"/>
                      </a:lnTo>
                      <a:lnTo>
                        <a:pt x="1682" y="113"/>
                      </a:lnTo>
                      <a:lnTo>
                        <a:pt x="1613" y="122"/>
                      </a:lnTo>
                      <a:lnTo>
                        <a:pt x="1630" y="139"/>
                      </a:lnTo>
                      <a:lnTo>
                        <a:pt x="1569" y="122"/>
                      </a:lnTo>
                      <a:lnTo>
                        <a:pt x="1560" y="96"/>
                      </a:lnTo>
                      <a:lnTo>
                        <a:pt x="1491" y="96"/>
                      </a:lnTo>
                      <a:lnTo>
                        <a:pt x="1482" y="104"/>
                      </a:lnTo>
                      <a:lnTo>
                        <a:pt x="1456" y="104"/>
                      </a:lnTo>
                      <a:lnTo>
                        <a:pt x="1447" y="96"/>
                      </a:lnTo>
                      <a:lnTo>
                        <a:pt x="1412" y="96"/>
                      </a:lnTo>
                      <a:lnTo>
                        <a:pt x="1412" y="78"/>
                      </a:lnTo>
                      <a:lnTo>
                        <a:pt x="1386" y="78"/>
                      </a:lnTo>
                      <a:lnTo>
                        <a:pt x="1369" y="96"/>
                      </a:lnTo>
                      <a:lnTo>
                        <a:pt x="1360" y="78"/>
                      </a:lnTo>
                      <a:lnTo>
                        <a:pt x="1281" y="78"/>
                      </a:lnTo>
                      <a:lnTo>
                        <a:pt x="1299" y="96"/>
                      </a:lnTo>
                      <a:lnTo>
                        <a:pt x="1220" y="87"/>
                      </a:lnTo>
                      <a:lnTo>
                        <a:pt x="1212" y="104"/>
                      </a:lnTo>
                      <a:lnTo>
                        <a:pt x="1168" y="87"/>
                      </a:lnTo>
                      <a:lnTo>
                        <a:pt x="1159" y="96"/>
                      </a:lnTo>
                      <a:lnTo>
                        <a:pt x="1142" y="87"/>
                      </a:lnTo>
                      <a:lnTo>
                        <a:pt x="1159" y="78"/>
                      </a:lnTo>
                      <a:lnTo>
                        <a:pt x="1142" y="69"/>
                      </a:lnTo>
                      <a:lnTo>
                        <a:pt x="1133" y="78"/>
                      </a:lnTo>
                      <a:lnTo>
                        <a:pt x="1133" y="69"/>
                      </a:lnTo>
                      <a:lnTo>
                        <a:pt x="1116" y="61"/>
                      </a:lnTo>
                      <a:lnTo>
                        <a:pt x="1116" y="69"/>
                      </a:lnTo>
                      <a:lnTo>
                        <a:pt x="1098" y="61"/>
                      </a:lnTo>
                      <a:lnTo>
                        <a:pt x="1063" y="61"/>
                      </a:lnTo>
                      <a:lnTo>
                        <a:pt x="1072" y="69"/>
                      </a:lnTo>
                      <a:lnTo>
                        <a:pt x="1098" y="78"/>
                      </a:lnTo>
                      <a:lnTo>
                        <a:pt x="1072" y="69"/>
                      </a:lnTo>
                      <a:lnTo>
                        <a:pt x="1037" y="69"/>
                      </a:lnTo>
                      <a:lnTo>
                        <a:pt x="1011" y="61"/>
                      </a:lnTo>
                      <a:lnTo>
                        <a:pt x="967" y="61"/>
                      </a:lnTo>
                      <a:lnTo>
                        <a:pt x="976" y="78"/>
                      </a:lnTo>
                      <a:lnTo>
                        <a:pt x="941" y="61"/>
                      </a:lnTo>
                      <a:lnTo>
                        <a:pt x="941" y="43"/>
                      </a:lnTo>
                      <a:lnTo>
                        <a:pt x="924" y="43"/>
                      </a:lnTo>
                      <a:lnTo>
                        <a:pt x="924" y="61"/>
                      </a:lnTo>
                      <a:lnTo>
                        <a:pt x="872" y="69"/>
                      </a:lnTo>
                      <a:lnTo>
                        <a:pt x="889" y="61"/>
                      </a:lnTo>
                      <a:lnTo>
                        <a:pt x="915" y="43"/>
                      </a:lnTo>
                      <a:lnTo>
                        <a:pt x="915" y="35"/>
                      </a:lnTo>
                      <a:lnTo>
                        <a:pt x="845" y="17"/>
                      </a:lnTo>
                      <a:lnTo>
                        <a:pt x="828" y="26"/>
                      </a:lnTo>
                      <a:lnTo>
                        <a:pt x="793" y="17"/>
                      </a:lnTo>
                      <a:lnTo>
                        <a:pt x="802" y="0"/>
                      </a:lnTo>
                      <a:lnTo>
                        <a:pt x="784" y="0"/>
                      </a:lnTo>
                      <a:lnTo>
                        <a:pt x="758" y="17"/>
                      </a:lnTo>
                      <a:lnTo>
                        <a:pt x="758" y="26"/>
                      </a:lnTo>
                      <a:lnTo>
                        <a:pt x="749" y="26"/>
                      </a:lnTo>
                      <a:lnTo>
                        <a:pt x="758" y="43"/>
                      </a:lnTo>
                      <a:lnTo>
                        <a:pt x="741" y="26"/>
                      </a:lnTo>
                      <a:lnTo>
                        <a:pt x="715" y="26"/>
                      </a:lnTo>
                      <a:lnTo>
                        <a:pt x="619" y="43"/>
                      </a:lnTo>
                      <a:lnTo>
                        <a:pt x="636" y="61"/>
                      </a:lnTo>
                      <a:lnTo>
                        <a:pt x="645" y="78"/>
                      </a:lnTo>
                      <a:lnTo>
                        <a:pt x="627" y="61"/>
                      </a:lnTo>
                      <a:lnTo>
                        <a:pt x="610" y="61"/>
                      </a:lnTo>
                      <a:lnTo>
                        <a:pt x="601" y="61"/>
                      </a:lnTo>
                      <a:lnTo>
                        <a:pt x="575" y="61"/>
                      </a:lnTo>
                      <a:lnTo>
                        <a:pt x="584" y="78"/>
                      </a:lnTo>
                      <a:lnTo>
                        <a:pt x="645" y="96"/>
                      </a:lnTo>
                      <a:lnTo>
                        <a:pt x="645" y="122"/>
                      </a:lnTo>
                      <a:lnTo>
                        <a:pt x="636" y="122"/>
                      </a:lnTo>
                      <a:lnTo>
                        <a:pt x="627" y="104"/>
                      </a:lnTo>
                      <a:lnTo>
                        <a:pt x="575" y="87"/>
                      </a:lnTo>
                      <a:lnTo>
                        <a:pt x="566" y="69"/>
                      </a:lnTo>
                      <a:lnTo>
                        <a:pt x="549" y="78"/>
                      </a:lnTo>
                      <a:lnTo>
                        <a:pt x="549" y="96"/>
                      </a:lnTo>
                      <a:lnTo>
                        <a:pt x="575" y="104"/>
                      </a:lnTo>
                      <a:lnTo>
                        <a:pt x="566" y="113"/>
                      </a:lnTo>
                      <a:lnTo>
                        <a:pt x="540" y="96"/>
                      </a:lnTo>
                      <a:lnTo>
                        <a:pt x="523" y="78"/>
                      </a:lnTo>
                      <a:lnTo>
                        <a:pt x="540" y="69"/>
                      </a:lnTo>
                      <a:lnTo>
                        <a:pt x="514" y="69"/>
                      </a:lnTo>
                      <a:lnTo>
                        <a:pt x="514" y="96"/>
                      </a:lnTo>
                      <a:lnTo>
                        <a:pt x="531" y="104"/>
                      </a:lnTo>
                      <a:lnTo>
                        <a:pt x="540" y="122"/>
                      </a:lnTo>
                      <a:lnTo>
                        <a:pt x="549" y="130"/>
                      </a:lnTo>
                      <a:lnTo>
                        <a:pt x="566" y="122"/>
                      </a:lnTo>
                      <a:lnTo>
                        <a:pt x="601" y="139"/>
                      </a:lnTo>
                      <a:lnTo>
                        <a:pt x="610" y="148"/>
                      </a:lnTo>
                      <a:lnTo>
                        <a:pt x="619" y="157"/>
                      </a:lnTo>
                      <a:lnTo>
                        <a:pt x="610" y="165"/>
                      </a:lnTo>
                      <a:lnTo>
                        <a:pt x="592" y="139"/>
                      </a:lnTo>
                      <a:lnTo>
                        <a:pt x="566" y="139"/>
                      </a:lnTo>
                      <a:lnTo>
                        <a:pt x="558" y="139"/>
                      </a:lnTo>
                      <a:lnTo>
                        <a:pt x="566" y="157"/>
                      </a:lnTo>
                      <a:lnTo>
                        <a:pt x="558" y="174"/>
                      </a:lnTo>
                      <a:lnTo>
                        <a:pt x="514" y="183"/>
                      </a:lnTo>
                      <a:lnTo>
                        <a:pt x="540" y="165"/>
                      </a:lnTo>
                      <a:lnTo>
                        <a:pt x="549" y="139"/>
                      </a:lnTo>
                      <a:lnTo>
                        <a:pt x="523" y="139"/>
                      </a:lnTo>
                      <a:lnTo>
                        <a:pt x="514" y="113"/>
                      </a:lnTo>
                      <a:lnTo>
                        <a:pt x="497" y="104"/>
                      </a:lnTo>
                      <a:lnTo>
                        <a:pt x="497" y="78"/>
                      </a:lnTo>
                      <a:lnTo>
                        <a:pt x="479" y="78"/>
                      </a:lnTo>
                      <a:lnTo>
                        <a:pt x="470" y="69"/>
                      </a:lnTo>
                      <a:lnTo>
                        <a:pt x="453" y="69"/>
                      </a:lnTo>
                      <a:lnTo>
                        <a:pt x="453" y="78"/>
                      </a:lnTo>
                      <a:lnTo>
                        <a:pt x="453" y="96"/>
                      </a:lnTo>
                      <a:lnTo>
                        <a:pt x="444" y="96"/>
                      </a:lnTo>
                      <a:lnTo>
                        <a:pt x="453" y="122"/>
                      </a:lnTo>
                      <a:lnTo>
                        <a:pt x="488" y="139"/>
                      </a:lnTo>
                      <a:lnTo>
                        <a:pt x="488" y="148"/>
                      </a:lnTo>
                      <a:lnTo>
                        <a:pt x="427" y="130"/>
                      </a:lnTo>
                      <a:lnTo>
                        <a:pt x="348" y="113"/>
                      </a:lnTo>
                      <a:lnTo>
                        <a:pt x="348" y="122"/>
                      </a:lnTo>
                      <a:lnTo>
                        <a:pt x="383" y="139"/>
                      </a:lnTo>
                      <a:lnTo>
                        <a:pt x="357" y="139"/>
                      </a:lnTo>
                      <a:lnTo>
                        <a:pt x="305" y="148"/>
                      </a:lnTo>
                      <a:lnTo>
                        <a:pt x="305" y="139"/>
                      </a:lnTo>
                      <a:lnTo>
                        <a:pt x="296" y="139"/>
                      </a:lnTo>
                      <a:lnTo>
                        <a:pt x="270" y="139"/>
                      </a:lnTo>
                      <a:lnTo>
                        <a:pt x="244" y="157"/>
                      </a:lnTo>
                      <a:lnTo>
                        <a:pt x="235" y="174"/>
                      </a:lnTo>
                      <a:lnTo>
                        <a:pt x="218" y="174"/>
                      </a:lnTo>
                      <a:lnTo>
                        <a:pt x="209" y="157"/>
                      </a:lnTo>
                      <a:lnTo>
                        <a:pt x="218" y="148"/>
                      </a:lnTo>
                      <a:lnTo>
                        <a:pt x="209" y="139"/>
                      </a:lnTo>
                      <a:lnTo>
                        <a:pt x="174" y="139"/>
                      </a:lnTo>
                      <a:lnTo>
                        <a:pt x="183" y="157"/>
                      </a:lnTo>
                      <a:lnTo>
                        <a:pt x="191" y="165"/>
                      </a:lnTo>
                      <a:lnTo>
                        <a:pt x="200" y="183"/>
                      </a:lnTo>
                      <a:lnTo>
                        <a:pt x="174" y="174"/>
                      </a:lnTo>
                      <a:lnTo>
                        <a:pt x="148" y="191"/>
                      </a:lnTo>
                      <a:lnTo>
                        <a:pt x="165" y="209"/>
                      </a:lnTo>
                      <a:lnTo>
                        <a:pt x="139" y="209"/>
                      </a:lnTo>
                      <a:lnTo>
                        <a:pt x="130" y="191"/>
                      </a:lnTo>
                      <a:lnTo>
                        <a:pt x="113" y="191"/>
                      </a:lnTo>
                      <a:lnTo>
                        <a:pt x="104" y="200"/>
                      </a:lnTo>
                      <a:lnTo>
                        <a:pt x="122" y="209"/>
                      </a:lnTo>
                      <a:lnTo>
                        <a:pt x="130" y="218"/>
                      </a:lnTo>
                      <a:lnTo>
                        <a:pt x="95" y="209"/>
                      </a:lnTo>
                      <a:lnTo>
                        <a:pt x="87" y="191"/>
                      </a:lnTo>
                      <a:lnTo>
                        <a:pt x="43" y="174"/>
                      </a:lnTo>
                      <a:lnTo>
                        <a:pt x="43" y="165"/>
                      </a:lnTo>
                      <a:lnTo>
                        <a:pt x="130" y="183"/>
                      </a:lnTo>
                      <a:lnTo>
                        <a:pt x="165" y="165"/>
                      </a:lnTo>
                      <a:lnTo>
                        <a:pt x="139" y="148"/>
                      </a:lnTo>
                      <a:lnTo>
                        <a:pt x="104" y="139"/>
                      </a:lnTo>
                      <a:lnTo>
                        <a:pt x="61" y="130"/>
                      </a:lnTo>
                      <a:lnTo>
                        <a:pt x="43" y="130"/>
                      </a:lnTo>
                      <a:lnTo>
                        <a:pt x="43" y="122"/>
                      </a:lnTo>
                      <a:lnTo>
                        <a:pt x="17" y="122"/>
                      </a:lnTo>
                      <a:lnTo>
                        <a:pt x="8" y="139"/>
                      </a:lnTo>
                      <a:lnTo>
                        <a:pt x="0" y="148"/>
                      </a:lnTo>
                      <a:lnTo>
                        <a:pt x="17" y="157"/>
                      </a:lnTo>
                      <a:lnTo>
                        <a:pt x="17" y="174"/>
                      </a:lnTo>
                      <a:lnTo>
                        <a:pt x="61" y="235"/>
                      </a:lnTo>
                      <a:lnTo>
                        <a:pt x="17" y="270"/>
                      </a:lnTo>
                      <a:lnTo>
                        <a:pt x="34" y="287"/>
                      </a:lnTo>
                      <a:lnTo>
                        <a:pt x="26" y="296"/>
                      </a:lnTo>
                      <a:lnTo>
                        <a:pt x="26" y="322"/>
                      </a:lnTo>
                      <a:lnTo>
                        <a:pt x="43" y="340"/>
                      </a:lnTo>
                      <a:lnTo>
                        <a:pt x="61" y="348"/>
                      </a:lnTo>
                      <a:lnTo>
                        <a:pt x="69" y="366"/>
                      </a:lnTo>
                      <a:lnTo>
                        <a:pt x="78" y="348"/>
                      </a:lnTo>
                      <a:lnTo>
                        <a:pt x="95" y="357"/>
                      </a:lnTo>
                      <a:lnTo>
                        <a:pt x="95" y="383"/>
                      </a:lnTo>
                      <a:lnTo>
                        <a:pt x="113" y="401"/>
                      </a:lnTo>
                      <a:lnTo>
                        <a:pt x="104" y="418"/>
                      </a:lnTo>
                      <a:lnTo>
                        <a:pt x="139" y="409"/>
                      </a:lnTo>
                      <a:lnTo>
                        <a:pt x="148" y="418"/>
                      </a:lnTo>
                      <a:lnTo>
                        <a:pt x="148" y="435"/>
                      </a:lnTo>
                      <a:lnTo>
                        <a:pt x="157" y="435"/>
                      </a:lnTo>
                      <a:lnTo>
                        <a:pt x="165" y="444"/>
                      </a:lnTo>
                      <a:lnTo>
                        <a:pt x="174" y="444"/>
                      </a:lnTo>
                      <a:lnTo>
                        <a:pt x="183" y="453"/>
                      </a:lnTo>
                      <a:lnTo>
                        <a:pt x="191" y="444"/>
                      </a:lnTo>
                      <a:lnTo>
                        <a:pt x="235" y="462"/>
                      </a:lnTo>
                      <a:lnTo>
                        <a:pt x="235" y="488"/>
                      </a:lnTo>
                      <a:lnTo>
                        <a:pt x="218" y="496"/>
                      </a:lnTo>
                      <a:lnTo>
                        <a:pt x="209" y="505"/>
                      </a:lnTo>
                      <a:lnTo>
                        <a:pt x="209" y="514"/>
                      </a:lnTo>
                      <a:lnTo>
                        <a:pt x="218" y="514"/>
                      </a:lnTo>
                      <a:lnTo>
                        <a:pt x="200" y="531"/>
                      </a:lnTo>
                      <a:lnTo>
                        <a:pt x="218" y="549"/>
                      </a:lnTo>
                      <a:lnTo>
                        <a:pt x="252" y="566"/>
                      </a:lnTo>
                      <a:lnTo>
                        <a:pt x="270" y="575"/>
                      </a:lnTo>
                      <a:lnTo>
                        <a:pt x="287" y="575"/>
                      </a:lnTo>
                      <a:lnTo>
                        <a:pt x="296" y="566"/>
                      </a:lnTo>
                      <a:lnTo>
                        <a:pt x="322" y="584"/>
                      </a:lnTo>
                      <a:lnTo>
                        <a:pt x="331" y="584"/>
                      </a:lnTo>
                      <a:lnTo>
                        <a:pt x="348" y="592"/>
                      </a:lnTo>
                      <a:lnTo>
                        <a:pt x="383" y="610"/>
                      </a:lnTo>
                      <a:lnTo>
                        <a:pt x="392" y="592"/>
                      </a:lnTo>
                      <a:lnTo>
                        <a:pt x="383" y="592"/>
                      </a:lnTo>
                      <a:lnTo>
                        <a:pt x="366" y="575"/>
                      </a:lnTo>
                      <a:lnTo>
                        <a:pt x="366" y="557"/>
                      </a:lnTo>
                      <a:lnTo>
                        <a:pt x="348" y="557"/>
                      </a:lnTo>
                      <a:lnTo>
                        <a:pt x="348" y="540"/>
                      </a:lnTo>
                      <a:lnTo>
                        <a:pt x="357" y="531"/>
                      </a:lnTo>
                      <a:lnTo>
                        <a:pt x="375" y="514"/>
                      </a:lnTo>
                      <a:lnTo>
                        <a:pt x="366" y="496"/>
                      </a:lnTo>
                      <a:lnTo>
                        <a:pt x="348" y="496"/>
                      </a:lnTo>
                      <a:lnTo>
                        <a:pt x="348" y="488"/>
                      </a:lnTo>
                      <a:lnTo>
                        <a:pt x="340" y="488"/>
                      </a:lnTo>
                      <a:lnTo>
                        <a:pt x="340" y="462"/>
                      </a:lnTo>
                      <a:lnTo>
                        <a:pt x="348" y="444"/>
                      </a:lnTo>
                      <a:lnTo>
                        <a:pt x="366" y="462"/>
                      </a:lnTo>
                      <a:lnTo>
                        <a:pt x="375" y="453"/>
                      </a:lnTo>
                      <a:lnTo>
                        <a:pt x="366" y="444"/>
                      </a:lnTo>
                      <a:lnTo>
                        <a:pt x="383" y="435"/>
                      </a:lnTo>
                      <a:lnTo>
                        <a:pt x="409" y="427"/>
                      </a:lnTo>
                      <a:lnTo>
                        <a:pt x="444" y="435"/>
                      </a:lnTo>
                      <a:lnTo>
                        <a:pt x="453" y="444"/>
                      </a:lnTo>
                      <a:lnTo>
                        <a:pt x="479" y="435"/>
                      </a:lnTo>
                      <a:lnTo>
                        <a:pt x="497" y="435"/>
                      </a:lnTo>
                      <a:lnTo>
                        <a:pt x="523" y="444"/>
                      </a:lnTo>
                      <a:lnTo>
                        <a:pt x="558" y="435"/>
                      </a:lnTo>
                      <a:lnTo>
                        <a:pt x="558" y="427"/>
                      </a:lnTo>
                      <a:lnTo>
                        <a:pt x="523" y="418"/>
                      </a:lnTo>
                      <a:lnTo>
                        <a:pt x="531" y="409"/>
                      </a:lnTo>
                      <a:lnTo>
                        <a:pt x="549" y="409"/>
                      </a:lnTo>
                      <a:lnTo>
                        <a:pt x="531" y="392"/>
                      </a:lnTo>
                      <a:lnTo>
                        <a:pt x="575" y="383"/>
                      </a:lnTo>
                      <a:lnTo>
                        <a:pt x="592" y="374"/>
                      </a:lnTo>
                      <a:lnTo>
                        <a:pt x="619" y="366"/>
                      </a:lnTo>
                      <a:lnTo>
                        <a:pt x="627" y="357"/>
                      </a:lnTo>
                      <a:lnTo>
                        <a:pt x="662" y="366"/>
                      </a:lnTo>
                      <a:lnTo>
                        <a:pt x="671" y="383"/>
                      </a:lnTo>
                      <a:lnTo>
                        <a:pt x="706" y="392"/>
                      </a:lnTo>
                      <a:lnTo>
                        <a:pt x="715" y="401"/>
                      </a:lnTo>
                      <a:lnTo>
                        <a:pt x="758" y="383"/>
                      </a:lnTo>
                      <a:lnTo>
                        <a:pt x="776" y="401"/>
                      </a:lnTo>
                      <a:lnTo>
                        <a:pt x="819" y="444"/>
                      </a:lnTo>
                      <a:lnTo>
                        <a:pt x="872" y="444"/>
                      </a:lnTo>
                      <a:lnTo>
                        <a:pt x="924" y="462"/>
                      </a:lnTo>
                      <a:lnTo>
                        <a:pt x="941" y="462"/>
                      </a:lnTo>
                      <a:lnTo>
                        <a:pt x="985" y="444"/>
                      </a:lnTo>
                      <a:lnTo>
                        <a:pt x="1020" y="444"/>
                      </a:lnTo>
                      <a:lnTo>
                        <a:pt x="1037" y="453"/>
                      </a:lnTo>
                      <a:lnTo>
                        <a:pt x="1089" y="453"/>
                      </a:lnTo>
                      <a:lnTo>
                        <a:pt x="1072" y="418"/>
                      </a:lnTo>
                      <a:lnTo>
                        <a:pt x="1133" y="427"/>
                      </a:lnTo>
                      <a:lnTo>
                        <a:pt x="1159" y="444"/>
                      </a:lnTo>
                      <a:lnTo>
                        <a:pt x="1203" y="444"/>
                      </a:lnTo>
                      <a:lnTo>
                        <a:pt x="1238" y="462"/>
                      </a:lnTo>
                      <a:lnTo>
                        <a:pt x="1307" y="462"/>
                      </a:lnTo>
                      <a:lnTo>
                        <a:pt x="1316" y="453"/>
                      </a:lnTo>
                      <a:lnTo>
                        <a:pt x="1369" y="453"/>
                      </a:lnTo>
                      <a:lnTo>
                        <a:pt x="1395" y="444"/>
                      </a:lnTo>
                      <a:lnTo>
                        <a:pt x="1377" y="435"/>
                      </a:lnTo>
                      <a:lnTo>
                        <a:pt x="1395" y="418"/>
                      </a:lnTo>
                      <a:lnTo>
                        <a:pt x="1377" y="401"/>
                      </a:lnTo>
                      <a:lnTo>
                        <a:pt x="1377" y="392"/>
                      </a:lnTo>
                      <a:lnTo>
                        <a:pt x="1412" y="383"/>
                      </a:lnTo>
                      <a:lnTo>
                        <a:pt x="1499" y="418"/>
                      </a:lnTo>
                      <a:lnTo>
                        <a:pt x="1508" y="444"/>
                      </a:lnTo>
                      <a:lnTo>
                        <a:pt x="1552" y="462"/>
                      </a:lnTo>
                      <a:lnTo>
                        <a:pt x="1595" y="488"/>
                      </a:lnTo>
                      <a:lnTo>
                        <a:pt x="1639" y="470"/>
                      </a:lnTo>
                      <a:lnTo>
                        <a:pt x="1665" y="531"/>
                      </a:lnTo>
                      <a:lnTo>
                        <a:pt x="1639" y="540"/>
                      </a:lnTo>
                      <a:lnTo>
                        <a:pt x="1656" y="575"/>
                      </a:lnTo>
                      <a:lnTo>
                        <a:pt x="1691" y="566"/>
                      </a:lnTo>
                      <a:lnTo>
                        <a:pt x="1717" y="523"/>
                      </a:lnTo>
                      <a:lnTo>
                        <a:pt x="1709" y="479"/>
                      </a:lnTo>
                      <a:lnTo>
                        <a:pt x="1717" y="479"/>
                      </a:lnTo>
                      <a:lnTo>
                        <a:pt x="1665" y="401"/>
                      </a:lnTo>
                      <a:lnTo>
                        <a:pt x="1648" y="383"/>
                      </a:lnTo>
                      <a:lnTo>
                        <a:pt x="1613" y="374"/>
                      </a:lnTo>
                      <a:lnTo>
                        <a:pt x="1604" y="383"/>
                      </a:lnTo>
                      <a:lnTo>
                        <a:pt x="1586" y="374"/>
                      </a:lnTo>
                      <a:lnTo>
                        <a:pt x="1569" y="366"/>
                      </a:lnTo>
                      <a:lnTo>
                        <a:pt x="1543" y="357"/>
                      </a:lnTo>
                      <a:lnTo>
                        <a:pt x="1560" y="340"/>
                      </a:lnTo>
                      <a:lnTo>
                        <a:pt x="1569" y="313"/>
                      </a:lnTo>
                      <a:lnTo>
                        <a:pt x="1569" y="287"/>
                      </a:lnTo>
                      <a:lnTo>
                        <a:pt x="1656" y="296"/>
                      </a:lnTo>
                      <a:lnTo>
                        <a:pt x="1656" y="279"/>
                      </a:lnTo>
                      <a:lnTo>
                        <a:pt x="1700" y="287"/>
                      </a:lnTo>
                      <a:lnTo>
                        <a:pt x="1717" y="296"/>
                      </a:lnTo>
                      <a:lnTo>
                        <a:pt x="1735" y="287"/>
                      </a:lnTo>
                      <a:lnTo>
                        <a:pt x="1743" y="287"/>
                      </a:lnTo>
                      <a:lnTo>
                        <a:pt x="1726" y="270"/>
                      </a:lnTo>
                      <a:lnTo>
                        <a:pt x="1726" y="244"/>
                      </a:lnTo>
                      <a:lnTo>
                        <a:pt x="1770" y="244"/>
                      </a:lnTo>
                      <a:lnTo>
                        <a:pt x="1778" y="261"/>
                      </a:lnTo>
                      <a:lnTo>
                        <a:pt x="1796" y="244"/>
                      </a:lnTo>
                      <a:lnTo>
                        <a:pt x="1787" y="235"/>
                      </a:lnTo>
                      <a:lnTo>
                        <a:pt x="1796" y="226"/>
                      </a:lnTo>
                      <a:lnTo>
                        <a:pt x="1813" y="235"/>
                      </a:lnTo>
                      <a:lnTo>
                        <a:pt x="1804" y="235"/>
                      </a:lnTo>
                      <a:lnTo>
                        <a:pt x="1822" y="252"/>
                      </a:lnTo>
                      <a:lnTo>
                        <a:pt x="1813" y="287"/>
                      </a:lnTo>
                      <a:lnTo>
                        <a:pt x="1813" y="305"/>
                      </a:lnTo>
                      <a:lnTo>
                        <a:pt x="1804" y="313"/>
                      </a:lnTo>
                      <a:lnTo>
                        <a:pt x="1813" y="348"/>
                      </a:lnTo>
                      <a:lnTo>
                        <a:pt x="1857" y="374"/>
                      </a:lnTo>
                      <a:lnTo>
                        <a:pt x="1874" y="401"/>
                      </a:lnTo>
                      <a:lnTo>
                        <a:pt x="1892" y="401"/>
                      </a:lnTo>
                      <a:lnTo>
                        <a:pt x="1909" y="427"/>
                      </a:lnTo>
                      <a:lnTo>
                        <a:pt x="1918" y="427"/>
                      </a:lnTo>
                      <a:lnTo>
                        <a:pt x="1927" y="409"/>
                      </a:lnTo>
                      <a:lnTo>
                        <a:pt x="1909" y="401"/>
                      </a:lnTo>
                      <a:lnTo>
                        <a:pt x="1918" y="383"/>
                      </a:lnTo>
                      <a:lnTo>
                        <a:pt x="1909" y="366"/>
                      </a:lnTo>
                      <a:lnTo>
                        <a:pt x="1918" y="366"/>
                      </a:lnTo>
                      <a:lnTo>
                        <a:pt x="1909" y="340"/>
                      </a:lnTo>
                      <a:lnTo>
                        <a:pt x="1918" y="340"/>
                      </a:lnTo>
                      <a:lnTo>
                        <a:pt x="1874" y="313"/>
                      </a:lnTo>
                      <a:lnTo>
                        <a:pt x="1857" y="305"/>
                      </a:lnTo>
                      <a:lnTo>
                        <a:pt x="1857" y="296"/>
                      </a:lnTo>
                      <a:lnTo>
                        <a:pt x="1874" y="305"/>
                      </a:lnTo>
                      <a:lnTo>
                        <a:pt x="1874" y="287"/>
                      </a:lnTo>
                      <a:lnTo>
                        <a:pt x="1848" y="287"/>
                      </a:lnTo>
                      <a:lnTo>
                        <a:pt x="1848" y="279"/>
                      </a:lnTo>
                      <a:lnTo>
                        <a:pt x="1865" y="261"/>
                      </a:lnTo>
                      <a:lnTo>
                        <a:pt x="1874" y="270"/>
                      </a:lnTo>
                      <a:lnTo>
                        <a:pt x="1909" y="261"/>
                      </a:lnTo>
                      <a:lnTo>
                        <a:pt x="1927" y="270"/>
                      </a:lnTo>
                      <a:lnTo>
                        <a:pt x="1944" y="244"/>
                      </a:lnTo>
                      <a:lnTo>
                        <a:pt x="1961" y="235"/>
                      </a:lnTo>
                      <a:lnTo>
                        <a:pt x="1961" y="226"/>
                      </a:lnTo>
                      <a:lnTo>
                        <a:pt x="1988" y="235"/>
                      </a:lnTo>
                      <a:lnTo>
                        <a:pt x="1996" y="218"/>
                      </a:lnTo>
                      <a:lnTo>
                        <a:pt x="1909" y="191"/>
                      </a:lnTo>
                      <a:lnTo>
                        <a:pt x="1944" y="191"/>
                      </a:lnTo>
                      <a:lnTo>
                        <a:pt x="1918" y="174"/>
                      </a:lnTo>
                      <a:lnTo>
                        <a:pt x="1927" y="165"/>
                      </a:lnTo>
                      <a:lnTo>
                        <a:pt x="1944" y="183"/>
                      </a:lnTo>
                      <a:lnTo>
                        <a:pt x="1970" y="183"/>
                      </a:lnTo>
                      <a:lnTo>
                        <a:pt x="1996" y="191"/>
                      </a:lnTo>
                      <a:lnTo>
                        <a:pt x="2031" y="191"/>
                      </a:lnTo>
                      <a:lnTo>
                        <a:pt x="2040" y="209"/>
                      </a:lnTo>
                      <a:lnTo>
                        <a:pt x="2066" y="200"/>
                      </a:lnTo>
                      <a:lnTo>
                        <a:pt x="2040" y="191"/>
                      </a:lnTo>
                      <a:lnTo>
                        <a:pt x="2040" y="174"/>
                      </a:lnTo>
                      <a:lnTo>
                        <a:pt x="1988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3" name="Freeform 167"/>
                <p:cNvSpPr>
                  <a:spLocks/>
                </p:cNvSpPr>
                <p:nvPr/>
              </p:nvSpPr>
              <p:spPr bwMode="auto">
                <a:xfrm>
                  <a:off x="4698413" y="1335437"/>
                  <a:ext cx="2213279" cy="653228"/>
                </a:xfrm>
                <a:custGeom>
                  <a:avLst/>
                  <a:gdLst>
                    <a:gd name="T0" fmla="*/ 2147483647 w 2066"/>
                    <a:gd name="T1" fmla="*/ 2147483647 h 610"/>
                    <a:gd name="T2" fmla="*/ 2147483647 w 2066"/>
                    <a:gd name="T3" fmla="*/ 2147483647 h 610"/>
                    <a:gd name="T4" fmla="*/ 2147483647 w 2066"/>
                    <a:gd name="T5" fmla="*/ 2147483647 h 610"/>
                    <a:gd name="T6" fmla="*/ 2147483647 w 2066"/>
                    <a:gd name="T7" fmla="*/ 2147483647 h 610"/>
                    <a:gd name="T8" fmla="*/ 2147483647 w 2066"/>
                    <a:gd name="T9" fmla="*/ 2147483647 h 610"/>
                    <a:gd name="T10" fmla="*/ 2147483647 w 2066"/>
                    <a:gd name="T11" fmla="*/ 2147483647 h 610"/>
                    <a:gd name="T12" fmla="*/ 2147483647 w 2066"/>
                    <a:gd name="T13" fmla="*/ 2147483647 h 610"/>
                    <a:gd name="T14" fmla="*/ 2147483647 w 2066"/>
                    <a:gd name="T15" fmla="*/ 2147483647 h 610"/>
                    <a:gd name="T16" fmla="*/ 2147483647 w 2066"/>
                    <a:gd name="T17" fmla="*/ 2147483647 h 610"/>
                    <a:gd name="T18" fmla="*/ 2147483647 w 2066"/>
                    <a:gd name="T19" fmla="*/ 0 h 610"/>
                    <a:gd name="T20" fmla="*/ 2147483647 w 2066"/>
                    <a:gd name="T21" fmla="*/ 2147483647 h 610"/>
                    <a:gd name="T22" fmla="*/ 2147483647 w 2066"/>
                    <a:gd name="T23" fmla="*/ 2147483647 h 610"/>
                    <a:gd name="T24" fmla="*/ 2147483647 w 2066"/>
                    <a:gd name="T25" fmla="*/ 2147483647 h 610"/>
                    <a:gd name="T26" fmla="*/ 2147483647 w 2066"/>
                    <a:gd name="T27" fmla="*/ 2147483647 h 610"/>
                    <a:gd name="T28" fmla="*/ 2147483647 w 2066"/>
                    <a:gd name="T29" fmla="*/ 2147483647 h 610"/>
                    <a:gd name="T30" fmla="*/ 2147483647 w 2066"/>
                    <a:gd name="T31" fmla="*/ 2147483647 h 610"/>
                    <a:gd name="T32" fmla="*/ 2147483647 w 2066"/>
                    <a:gd name="T33" fmla="*/ 2147483647 h 610"/>
                    <a:gd name="T34" fmla="*/ 2147483647 w 2066"/>
                    <a:gd name="T35" fmla="*/ 2147483647 h 610"/>
                    <a:gd name="T36" fmla="*/ 2147483647 w 2066"/>
                    <a:gd name="T37" fmla="*/ 2147483647 h 610"/>
                    <a:gd name="T38" fmla="*/ 2147483647 w 2066"/>
                    <a:gd name="T39" fmla="*/ 2147483647 h 610"/>
                    <a:gd name="T40" fmla="*/ 2147483647 w 2066"/>
                    <a:gd name="T41" fmla="*/ 2147483647 h 610"/>
                    <a:gd name="T42" fmla="*/ 2147483647 w 2066"/>
                    <a:gd name="T43" fmla="*/ 2147483647 h 610"/>
                    <a:gd name="T44" fmla="*/ 2147483647 w 2066"/>
                    <a:gd name="T45" fmla="*/ 2147483647 h 610"/>
                    <a:gd name="T46" fmla="*/ 2147483647 w 2066"/>
                    <a:gd name="T47" fmla="*/ 2147483647 h 610"/>
                    <a:gd name="T48" fmla="*/ 2147483647 w 2066"/>
                    <a:gd name="T49" fmla="*/ 2147483647 h 610"/>
                    <a:gd name="T50" fmla="*/ 2147483647 w 2066"/>
                    <a:gd name="T51" fmla="*/ 2147483647 h 610"/>
                    <a:gd name="T52" fmla="*/ 0 w 2066"/>
                    <a:gd name="T53" fmla="*/ 2147483647 h 610"/>
                    <a:gd name="T54" fmla="*/ 2147483647 w 2066"/>
                    <a:gd name="T55" fmla="*/ 2147483647 h 610"/>
                    <a:gd name="T56" fmla="*/ 2147483647 w 2066"/>
                    <a:gd name="T57" fmla="*/ 2147483647 h 610"/>
                    <a:gd name="T58" fmla="*/ 2147483647 w 2066"/>
                    <a:gd name="T59" fmla="*/ 2147483647 h 610"/>
                    <a:gd name="T60" fmla="*/ 2147483647 w 2066"/>
                    <a:gd name="T61" fmla="*/ 2147483647 h 610"/>
                    <a:gd name="T62" fmla="*/ 2147483647 w 2066"/>
                    <a:gd name="T63" fmla="*/ 2147483647 h 610"/>
                    <a:gd name="T64" fmla="*/ 2147483647 w 2066"/>
                    <a:gd name="T65" fmla="*/ 2147483647 h 610"/>
                    <a:gd name="T66" fmla="*/ 2147483647 w 2066"/>
                    <a:gd name="T67" fmla="*/ 2147483647 h 610"/>
                    <a:gd name="T68" fmla="*/ 2147483647 w 2066"/>
                    <a:gd name="T69" fmla="*/ 2147483647 h 610"/>
                    <a:gd name="T70" fmla="*/ 2147483647 w 2066"/>
                    <a:gd name="T71" fmla="*/ 2147483647 h 610"/>
                    <a:gd name="T72" fmla="*/ 2147483647 w 2066"/>
                    <a:gd name="T73" fmla="*/ 2147483647 h 610"/>
                    <a:gd name="T74" fmla="*/ 2147483647 w 2066"/>
                    <a:gd name="T75" fmla="*/ 2147483647 h 610"/>
                    <a:gd name="T76" fmla="*/ 2147483647 w 2066"/>
                    <a:gd name="T77" fmla="*/ 2147483647 h 610"/>
                    <a:gd name="T78" fmla="*/ 2147483647 w 2066"/>
                    <a:gd name="T79" fmla="*/ 2147483647 h 610"/>
                    <a:gd name="T80" fmla="*/ 2147483647 w 2066"/>
                    <a:gd name="T81" fmla="*/ 2147483647 h 610"/>
                    <a:gd name="T82" fmla="*/ 2147483647 w 2066"/>
                    <a:gd name="T83" fmla="*/ 2147483647 h 610"/>
                    <a:gd name="T84" fmla="*/ 2147483647 w 2066"/>
                    <a:gd name="T85" fmla="*/ 2147483647 h 610"/>
                    <a:gd name="T86" fmla="*/ 2147483647 w 2066"/>
                    <a:gd name="T87" fmla="*/ 2147483647 h 610"/>
                    <a:gd name="T88" fmla="*/ 2147483647 w 2066"/>
                    <a:gd name="T89" fmla="*/ 2147483647 h 610"/>
                    <a:gd name="T90" fmla="*/ 2147483647 w 2066"/>
                    <a:gd name="T91" fmla="*/ 2147483647 h 610"/>
                    <a:gd name="T92" fmla="*/ 2147483647 w 2066"/>
                    <a:gd name="T93" fmla="*/ 2147483647 h 610"/>
                    <a:gd name="T94" fmla="*/ 2147483647 w 2066"/>
                    <a:gd name="T95" fmla="*/ 2147483647 h 610"/>
                    <a:gd name="T96" fmla="*/ 2147483647 w 2066"/>
                    <a:gd name="T97" fmla="*/ 2147483647 h 610"/>
                    <a:gd name="T98" fmla="*/ 2147483647 w 2066"/>
                    <a:gd name="T99" fmla="*/ 2147483647 h 610"/>
                    <a:gd name="T100" fmla="*/ 2147483647 w 2066"/>
                    <a:gd name="T101" fmla="*/ 2147483647 h 610"/>
                    <a:gd name="T102" fmla="*/ 2147483647 w 2066"/>
                    <a:gd name="T103" fmla="*/ 2147483647 h 610"/>
                    <a:gd name="T104" fmla="*/ 2147483647 w 2066"/>
                    <a:gd name="T105" fmla="*/ 2147483647 h 610"/>
                    <a:gd name="T106" fmla="*/ 2147483647 w 2066"/>
                    <a:gd name="T107" fmla="*/ 2147483647 h 610"/>
                    <a:gd name="T108" fmla="*/ 2147483647 w 2066"/>
                    <a:gd name="T109" fmla="*/ 2147483647 h 610"/>
                    <a:gd name="T110" fmla="*/ 2147483647 w 2066"/>
                    <a:gd name="T111" fmla="*/ 2147483647 h 610"/>
                    <a:gd name="T112" fmla="*/ 2147483647 w 2066"/>
                    <a:gd name="T113" fmla="*/ 2147483647 h 610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066"/>
                    <a:gd name="T172" fmla="*/ 0 h 610"/>
                    <a:gd name="T173" fmla="*/ 2066 w 2066"/>
                    <a:gd name="T174" fmla="*/ 610 h 610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066" h="610">
                      <a:moveTo>
                        <a:pt x="1988" y="148"/>
                      </a:moveTo>
                      <a:lnTo>
                        <a:pt x="1970" y="157"/>
                      </a:lnTo>
                      <a:lnTo>
                        <a:pt x="1988" y="165"/>
                      </a:lnTo>
                      <a:lnTo>
                        <a:pt x="1935" y="148"/>
                      </a:lnTo>
                      <a:lnTo>
                        <a:pt x="1813" y="122"/>
                      </a:lnTo>
                      <a:lnTo>
                        <a:pt x="1796" y="122"/>
                      </a:lnTo>
                      <a:lnTo>
                        <a:pt x="1787" y="113"/>
                      </a:lnTo>
                      <a:lnTo>
                        <a:pt x="1752" y="122"/>
                      </a:lnTo>
                      <a:lnTo>
                        <a:pt x="1717" y="113"/>
                      </a:lnTo>
                      <a:lnTo>
                        <a:pt x="1700" y="113"/>
                      </a:lnTo>
                      <a:lnTo>
                        <a:pt x="1726" y="139"/>
                      </a:lnTo>
                      <a:lnTo>
                        <a:pt x="1691" y="122"/>
                      </a:lnTo>
                      <a:lnTo>
                        <a:pt x="1682" y="113"/>
                      </a:lnTo>
                      <a:lnTo>
                        <a:pt x="1613" y="122"/>
                      </a:lnTo>
                      <a:lnTo>
                        <a:pt x="1630" y="139"/>
                      </a:lnTo>
                      <a:lnTo>
                        <a:pt x="1569" y="122"/>
                      </a:lnTo>
                      <a:lnTo>
                        <a:pt x="1560" y="96"/>
                      </a:lnTo>
                      <a:lnTo>
                        <a:pt x="1491" y="96"/>
                      </a:lnTo>
                      <a:lnTo>
                        <a:pt x="1482" y="104"/>
                      </a:lnTo>
                      <a:lnTo>
                        <a:pt x="1456" y="104"/>
                      </a:lnTo>
                      <a:lnTo>
                        <a:pt x="1447" y="96"/>
                      </a:lnTo>
                      <a:lnTo>
                        <a:pt x="1412" y="96"/>
                      </a:lnTo>
                      <a:lnTo>
                        <a:pt x="1412" y="78"/>
                      </a:lnTo>
                      <a:lnTo>
                        <a:pt x="1386" y="78"/>
                      </a:lnTo>
                      <a:lnTo>
                        <a:pt x="1369" y="96"/>
                      </a:lnTo>
                      <a:lnTo>
                        <a:pt x="1360" y="78"/>
                      </a:lnTo>
                      <a:lnTo>
                        <a:pt x="1281" y="78"/>
                      </a:lnTo>
                      <a:lnTo>
                        <a:pt x="1299" y="96"/>
                      </a:lnTo>
                      <a:lnTo>
                        <a:pt x="1220" y="87"/>
                      </a:lnTo>
                      <a:lnTo>
                        <a:pt x="1212" y="104"/>
                      </a:lnTo>
                      <a:lnTo>
                        <a:pt x="1168" y="87"/>
                      </a:lnTo>
                      <a:lnTo>
                        <a:pt x="1159" y="96"/>
                      </a:lnTo>
                      <a:lnTo>
                        <a:pt x="1142" y="87"/>
                      </a:lnTo>
                      <a:lnTo>
                        <a:pt x="1159" y="78"/>
                      </a:lnTo>
                      <a:lnTo>
                        <a:pt x="1142" y="69"/>
                      </a:lnTo>
                      <a:lnTo>
                        <a:pt x="1133" y="78"/>
                      </a:lnTo>
                      <a:lnTo>
                        <a:pt x="1133" y="69"/>
                      </a:lnTo>
                      <a:lnTo>
                        <a:pt x="1116" y="61"/>
                      </a:lnTo>
                      <a:lnTo>
                        <a:pt x="1116" y="69"/>
                      </a:lnTo>
                      <a:lnTo>
                        <a:pt x="1098" y="61"/>
                      </a:lnTo>
                      <a:lnTo>
                        <a:pt x="1063" y="61"/>
                      </a:lnTo>
                      <a:lnTo>
                        <a:pt x="1072" y="69"/>
                      </a:lnTo>
                      <a:lnTo>
                        <a:pt x="1098" y="78"/>
                      </a:lnTo>
                      <a:lnTo>
                        <a:pt x="1072" y="69"/>
                      </a:lnTo>
                      <a:lnTo>
                        <a:pt x="1037" y="69"/>
                      </a:lnTo>
                      <a:lnTo>
                        <a:pt x="1011" y="61"/>
                      </a:lnTo>
                      <a:lnTo>
                        <a:pt x="967" y="61"/>
                      </a:lnTo>
                      <a:lnTo>
                        <a:pt x="976" y="78"/>
                      </a:lnTo>
                      <a:lnTo>
                        <a:pt x="941" y="61"/>
                      </a:lnTo>
                      <a:lnTo>
                        <a:pt x="941" y="43"/>
                      </a:lnTo>
                      <a:lnTo>
                        <a:pt x="924" y="43"/>
                      </a:lnTo>
                      <a:lnTo>
                        <a:pt x="924" y="61"/>
                      </a:lnTo>
                      <a:lnTo>
                        <a:pt x="872" y="69"/>
                      </a:lnTo>
                      <a:lnTo>
                        <a:pt x="889" y="61"/>
                      </a:lnTo>
                      <a:lnTo>
                        <a:pt x="915" y="43"/>
                      </a:lnTo>
                      <a:lnTo>
                        <a:pt x="915" y="35"/>
                      </a:lnTo>
                      <a:lnTo>
                        <a:pt x="845" y="17"/>
                      </a:lnTo>
                      <a:lnTo>
                        <a:pt x="828" y="26"/>
                      </a:lnTo>
                      <a:lnTo>
                        <a:pt x="793" y="17"/>
                      </a:lnTo>
                      <a:lnTo>
                        <a:pt x="802" y="0"/>
                      </a:lnTo>
                      <a:lnTo>
                        <a:pt x="784" y="0"/>
                      </a:lnTo>
                      <a:lnTo>
                        <a:pt x="758" y="17"/>
                      </a:lnTo>
                      <a:lnTo>
                        <a:pt x="758" y="26"/>
                      </a:lnTo>
                      <a:lnTo>
                        <a:pt x="749" y="26"/>
                      </a:lnTo>
                      <a:lnTo>
                        <a:pt x="758" y="43"/>
                      </a:lnTo>
                      <a:lnTo>
                        <a:pt x="741" y="26"/>
                      </a:lnTo>
                      <a:lnTo>
                        <a:pt x="715" y="26"/>
                      </a:lnTo>
                      <a:lnTo>
                        <a:pt x="619" y="43"/>
                      </a:lnTo>
                      <a:lnTo>
                        <a:pt x="636" y="61"/>
                      </a:lnTo>
                      <a:lnTo>
                        <a:pt x="645" y="78"/>
                      </a:lnTo>
                      <a:lnTo>
                        <a:pt x="627" y="61"/>
                      </a:lnTo>
                      <a:lnTo>
                        <a:pt x="610" y="61"/>
                      </a:lnTo>
                      <a:lnTo>
                        <a:pt x="601" y="61"/>
                      </a:lnTo>
                      <a:lnTo>
                        <a:pt x="575" y="61"/>
                      </a:lnTo>
                      <a:lnTo>
                        <a:pt x="584" y="78"/>
                      </a:lnTo>
                      <a:lnTo>
                        <a:pt x="645" y="96"/>
                      </a:lnTo>
                      <a:lnTo>
                        <a:pt x="645" y="122"/>
                      </a:lnTo>
                      <a:lnTo>
                        <a:pt x="636" y="122"/>
                      </a:lnTo>
                      <a:lnTo>
                        <a:pt x="627" y="104"/>
                      </a:lnTo>
                      <a:lnTo>
                        <a:pt x="575" y="87"/>
                      </a:lnTo>
                      <a:lnTo>
                        <a:pt x="566" y="69"/>
                      </a:lnTo>
                      <a:lnTo>
                        <a:pt x="549" y="78"/>
                      </a:lnTo>
                      <a:lnTo>
                        <a:pt x="549" y="96"/>
                      </a:lnTo>
                      <a:lnTo>
                        <a:pt x="575" y="104"/>
                      </a:lnTo>
                      <a:lnTo>
                        <a:pt x="566" y="113"/>
                      </a:lnTo>
                      <a:lnTo>
                        <a:pt x="540" y="96"/>
                      </a:lnTo>
                      <a:lnTo>
                        <a:pt x="523" y="78"/>
                      </a:lnTo>
                      <a:lnTo>
                        <a:pt x="540" y="69"/>
                      </a:lnTo>
                      <a:lnTo>
                        <a:pt x="514" y="69"/>
                      </a:lnTo>
                      <a:lnTo>
                        <a:pt x="514" y="96"/>
                      </a:lnTo>
                      <a:lnTo>
                        <a:pt x="531" y="104"/>
                      </a:lnTo>
                      <a:lnTo>
                        <a:pt x="540" y="122"/>
                      </a:lnTo>
                      <a:lnTo>
                        <a:pt x="549" y="130"/>
                      </a:lnTo>
                      <a:lnTo>
                        <a:pt x="566" y="122"/>
                      </a:lnTo>
                      <a:lnTo>
                        <a:pt x="601" y="139"/>
                      </a:lnTo>
                      <a:lnTo>
                        <a:pt x="610" y="148"/>
                      </a:lnTo>
                      <a:lnTo>
                        <a:pt x="619" y="157"/>
                      </a:lnTo>
                      <a:lnTo>
                        <a:pt x="610" y="165"/>
                      </a:lnTo>
                      <a:lnTo>
                        <a:pt x="592" y="139"/>
                      </a:lnTo>
                      <a:lnTo>
                        <a:pt x="566" y="139"/>
                      </a:lnTo>
                      <a:lnTo>
                        <a:pt x="558" y="139"/>
                      </a:lnTo>
                      <a:lnTo>
                        <a:pt x="566" y="157"/>
                      </a:lnTo>
                      <a:lnTo>
                        <a:pt x="558" y="174"/>
                      </a:lnTo>
                      <a:lnTo>
                        <a:pt x="514" y="183"/>
                      </a:lnTo>
                      <a:lnTo>
                        <a:pt x="540" y="165"/>
                      </a:lnTo>
                      <a:lnTo>
                        <a:pt x="549" y="139"/>
                      </a:lnTo>
                      <a:lnTo>
                        <a:pt x="523" y="139"/>
                      </a:lnTo>
                      <a:lnTo>
                        <a:pt x="514" y="113"/>
                      </a:lnTo>
                      <a:lnTo>
                        <a:pt x="497" y="104"/>
                      </a:lnTo>
                      <a:lnTo>
                        <a:pt x="497" y="78"/>
                      </a:lnTo>
                      <a:lnTo>
                        <a:pt x="479" y="78"/>
                      </a:lnTo>
                      <a:lnTo>
                        <a:pt x="470" y="69"/>
                      </a:lnTo>
                      <a:lnTo>
                        <a:pt x="453" y="69"/>
                      </a:lnTo>
                      <a:lnTo>
                        <a:pt x="453" y="78"/>
                      </a:lnTo>
                      <a:lnTo>
                        <a:pt x="453" y="96"/>
                      </a:lnTo>
                      <a:lnTo>
                        <a:pt x="444" y="96"/>
                      </a:lnTo>
                      <a:lnTo>
                        <a:pt x="453" y="122"/>
                      </a:lnTo>
                      <a:lnTo>
                        <a:pt x="488" y="139"/>
                      </a:lnTo>
                      <a:lnTo>
                        <a:pt x="488" y="148"/>
                      </a:lnTo>
                      <a:lnTo>
                        <a:pt x="427" y="130"/>
                      </a:lnTo>
                      <a:lnTo>
                        <a:pt x="348" y="113"/>
                      </a:lnTo>
                      <a:lnTo>
                        <a:pt x="348" y="122"/>
                      </a:lnTo>
                      <a:lnTo>
                        <a:pt x="383" y="139"/>
                      </a:lnTo>
                      <a:lnTo>
                        <a:pt x="357" y="139"/>
                      </a:lnTo>
                      <a:lnTo>
                        <a:pt x="305" y="148"/>
                      </a:lnTo>
                      <a:lnTo>
                        <a:pt x="305" y="139"/>
                      </a:lnTo>
                      <a:lnTo>
                        <a:pt x="296" y="139"/>
                      </a:lnTo>
                      <a:lnTo>
                        <a:pt x="270" y="139"/>
                      </a:lnTo>
                      <a:lnTo>
                        <a:pt x="244" y="157"/>
                      </a:lnTo>
                      <a:lnTo>
                        <a:pt x="235" y="174"/>
                      </a:lnTo>
                      <a:lnTo>
                        <a:pt x="218" y="174"/>
                      </a:lnTo>
                      <a:lnTo>
                        <a:pt x="209" y="157"/>
                      </a:lnTo>
                      <a:lnTo>
                        <a:pt x="218" y="148"/>
                      </a:lnTo>
                      <a:lnTo>
                        <a:pt x="209" y="139"/>
                      </a:lnTo>
                      <a:lnTo>
                        <a:pt x="174" y="139"/>
                      </a:lnTo>
                      <a:lnTo>
                        <a:pt x="183" y="157"/>
                      </a:lnTo>
                      <a:lnTo>
                        <a:pt x="191" y="165"/>
                      </a:lnTo>
                      <a:lnTo>
                        <a:pt x="200" y="183"/>
                      </a:lnTo>
                      <a:lnTo>
                        <a:pt x="174" y="174"/>
                      </a:lnTo>
                      <a:lnTo>
                        <a:pt x="148" y="191"/>
                      </a:lnTo>
                      <a:lnTo>
                        <a:pt x="165" y="209"/>
                      </a:lnTo>
                      <a:lnTo>
                        <a:pt x="139" y="209"/>
                      </a:lnTo>
                      <a:lnTo>
                        <a:pt x="130" y="191"/>
                      </a:lnTo>
                      <a:lnTo>
                        <a:pt x="113" y="191"/>
                      </a:lnTo>
                      <a:lnTo>
                        <a:pt x="104" y="200"/>
                      </a:lnTo>
                      <a:lnTo>
                        <a:pt x="122" y="209"/>
                      </a:lnTo>
                      <a:lnTo>
                        <a:pt x="130" y="218"/>
                      </a:lnTo>
                      <a:lnTo>
                        <a:pt x="95" y="209"/>
                      </a:lnTo>
                      <a:lnTo>
                        <a:pt x="87" y="191"/>
                      </a:lnTo>
                      <a:lnTo>
                        <a:pt x="43" y="174"/>
                      </a:lnTo>
                      <a:lnTo>
                        <a:pt x="43" y="165"/>
                      </a:lnTo>
                      <a:lnTo>
                        <a:pt x="130" y="183"/>
                      </a:lnTo>
                      <a:lnTo>
                        <a:pt x="165" y="165"/>
                      </a:lnTo>
                      <a:lnTo>
                        <a:pt x="139" y="148"/>
                      </a:lnTo>
                      <a:lnTo>
                        <a:pt x="104" y="139"/>
                      </a:lnTo>
                      <a:lnTo>
                        <a:pt x="61" y="130"/>
                      </a:lnTo>
                      <a:lnTo>
                        <a:pt x="43" y="130"/>
                      </a:lnTo>
                      <a:lnTo>
                        <a:pt x="43" y="122"/>
                      </a:lnTo>
                      <a:lnTo>
                        <a:pt x="17" y="122"/>
                      </a:lnTo>
                      <a:lnTo>
                        <a:pt x="8" y="139"/>
                      </a:lnTo>
                      <a:lnTo>
                        <a:pt x="0" y="148"/>
                      </a:lnTo>
                      <a:lnTo>
                        <a:pt x="17" y="157"/>
                      </a:lnTo>
                      <a:lnTo>
                        <a:pt x="17" y="174"/>
                      </a:lnTo>
                      <a:lnTo>
                        <a:pt x="61" y="235"/>
                      </a:lnTo>
                      <a:lnTo>
                        <a:pt x="17" y="270"/>
                      </a:lnTo>
                      <a:lnTo>
                        <a:pt x="34" y="287"/>
                      </a:lnTo>
                      <a:lnTo>
                        <a:pt x="26" y="296"/>
                      </a:lnTo>
                      <a:lnTo>
                        <a:pt x="26" y="322"/>
                      </a:lnTo>
                      <a:lnTo>
                        <a:pt x="43" y="340"/>
                      </a:lnTo>
                      <a:lnTo>
                        <a:pt x="61" y="348"/>
                      </a:lnTo>
                      <a:lnTo>
                        <a:pt x="69" y="366"/>
                      </a:lnTo>
                      <a:lnTo>
                        <a:pt x="78" y="348"/>
                      </a:lnTo>
                      <a:lnTo>
                        <a:pt x="95" y="357"/>
                      </a:lnTo>
                      <a:lnTo>
                        <a:pt x="95" y="383"/>
                      </a:lnTo>
                      <a:lnTo>
                        <a:pt x="113" y="401"/>
                      </a:lnTo>
                      <a:lnTo>
                        <a:pt x="104" y="418"/>
                      </a:lnTo>
                      <a:lnTo>
                        <a:pt x="139" y="409"/>
                      </a:lnTo>
                      <a:lnTo>
                        <a:pt x="148" y="418"/>
                      </a:lnTo>
                      <a:lnTo>
                        <a:pt x="148" y="435"/>
                      </a:lnTo>
                      <a:lnTo>
                        <a:pt x="157" y="435"/>
                      </a:lnTo>
                      <a:lnTo>
                        <a:pt x="165" y="444"/>
                      </a:lnTo>
                      <a:lnTo>
                        <a:pt x="174" y="444"/>
                      </a:lnTo>
                      <a:lnTo>
                        <a:pt x="183" y="453"/>
                      </a:lnTo>
                      <a:lnTo>
                        <a:pt x="191" y="444"/>
                      </a:lnTo>
                      <a:lnTo>
                        <a:pt x="235" y="462"/>
                      </a:lnTo>
                      <a:lnTo>
                        <a:pt x="235" y="488"/>
                      </a:lnTo>
                      <a:lnTo>
                        <a:pt x="218" y="496"/>
                      </a:lnTo>
                      <a:lnTo>
                        <a:pt x="209" y="505"/>
                      </a:lnTo>
                      <a:lnTo>
                        <a:pt x="209" y="514"/>
                      </a:lnTo>
                      <a:lnTo>
                        <a:pt x="218" y="514"/>
                      </a:lnTo>
                      <a:lnTo>
                        <a:pt x="200" y="531"/>
                      </a:lnTo>
                      <a:lnTo>
                        <a:pt x="218" y="549"/>
                      </a:lnTo>
                      <a:lnTo>
                        <a:pt x="252" y="566"/>
                      </a:lnTo>
                      <a:lnTo>
                        <a:pt x="270" y="575"/>
                      </a:lnTo>
                      <a:lnTo>
                        <a:pt x="287" y="575"/>
                      </a:lnTo>
                      <a:lnTo>
                        <a:pt x="296" y="566"/>
                      </a:lnTo>
                      <a:lnTo>
                        <a:pt x="322" y="584"/>
                      </a:lnTo>
                      <a:lnTo>
                        <a:pt x="331" y="584"/>
                      </a:lnTo>
                      <a:lnTo>
                        <a:pt x="348" y="592"/>
                      </a:lnTo>
                      <a:lnTo>
                        <a:pt x="383" y="610"/>
                      </a:lnTo>
                      <a:lnTo>
                        <a:pt x="392" y="592"/>
                      </a:lnTo>
                      <a:lnTo>
                        <a:pt x="383" y="592"/>
                      </a:lnTo>
                      <a:lnTo>
                        <a:pt x="366" y="575"/>
                      </a:lnTo>
                      <a:lnTo>
                        <a:pt x="366" y="557"/>
                      </a:lnTo>
                      <a:lnTo>
                        <a:pt x="348" y="557"/>
                      </a:lnTo>
                      <a:lnTo>
                        <a:pt x="348" y="540"/>
                      </a:lnTo>
                      <a:lnTo>
                        <a:pt x="357" y="531"/>
                      </a:lnTo>
                      <a:lnTo>
                        <a:pt x="375" y="514"/>
                      </a:lnTo>
                      <a:lnTo>
                        <a:pt x="366" y="496"/>
                      </a:lnTo>
                      <a:lnTo>
                        <a:pt x="348" y="496"/>
                      </a:lnTo>
                      <a:lnTo>
                        <a:pt x="348" y="488"/>
                      </a:lnTo>
                      <a:lnTo>
                        <a:pt x="340" y="488"/>
                      </a:lnTo>
                      <a:lnTo>
                        <a:pt x="340" y="462"/>
                      </a:lnTo>
                      <a:lnTo>
                        <a:pt x="348" y="444"/>
                      </a:lnTo>
                      <a:lnTo>
                        <a:pt x="366" y="462"/>
                      </a:lnTo>
                      <a:lnTo>
                        <a:pt x="375" y="453"/>
                      </a:lnTo>
                      <a:lnTo>
                        <a:pt x="366" y="444"/>
                      </a:lnTo>
                      <a:lnTo>
                        <a:pt x="383" y="435"/>
                      </a:lnTo>
                      <a:lnTo>
                        <a:pt x="409" y="427"/>
                      </a:lnTo>
                      <a:lnTo>
                        <a:pt x="444" y="435"/>
                      </a:lnTo>
                      <a:lnTo>
                        <a:pt x="453" y="444"/>
                      </a:lnTo>
                      <a:lnTo>
                        <a:pt x="479" y="435"/>
                      </a:lnTo>
                      <a:lnTo>
                        <a:pt x="497" y="435"/>
                      </a:lnTo>
                      <a:lnTo>
                        <a:pt x="523" y="444"/>
                      </a:lnTo>
                      <a:lnTo>
                        <a:pt x="558" y="435"/>
                      </a:lnTo>
                      <a:lnTo>
                        <a:pt x="558" y="427"/>
                      </a:lnTo>
                      <a:lnTo>
                        <a:pt x="523" y="418"/>
                      </a:lnTo>
                      <a:lnTo>
                        <a:pt x="531" y="409"/>
                      </a:lnTo>
                      <a:lnTo>
                        <a:pt x="549" y="409"/>
                      </a:lnTo>
                      <a:lnTo>
                        <a:pt x="531" y="392"/>
                      </a:lnTo>
                      <a:lnTo>
                        <a:pt x="575" y="383"/>
                      </a:lnTo>
                      <a:lnTo>
                        <a:pt x="592" y="374"/>
                      </a:lnTo>
                      <a:lnTo>
                        <a:pt x="619" y="366"/>
                      </a:lnTo>
                      <a:lnTo>
                        <a:pt x="627" y="357"/>
                      </a:lnTo>
                      <a:lnTo>
                        <a:pt x="662" y="366"/>
                      </a:lnTo>
                      <a:lnTo>
                        <a:pt x="671" y="383"/>
                      </a:lnTo>
                      <a:lnTo>
                        <a:pt x="706" y="392"/>
                      </a:lnTo>
                      <a:lnTo>
                        <a:pt x="715" y="401"/>
                      </a:lnTo>
                      <a:lnTo>
                        <a:pt x="758" y="383"/>
                      </a:lnTo>
                      <a:lnTo>
                        <a:pt x="776" y="401"/>
                      </a:lnTo>
                      <a:lnTo>
                        <a:pt x="819" y="444"/>
                      </a:lnTo>
                      <a:lnTo>
                        <a:pt x="872" y="444"/>
                      </a:lnTo>
                      <a:lnTo>
                        <a:pt x="924" y="462"/>
                      </a:lnTo>
                      <a:lnTo>
                        <a:pt x="941" y="462"/>
                      </a:lnTo>
                      <a:lnTo>
                        <a:pt x="985" y="444"/>
                      </a:lnTo>
                      <a:lnTo>
                        <a:pt x="1020" y="444"/>
                      </a:lnTo>
                      <a:lnTo>
                        <a:pt x="1037" y="453"/>
                      </a:lnTo>
                      <a:lnTo>
                        <a:pt x="1089" y="453"/>
                      </a:lnTo>
                      <a:lnTo>
                        <a:pt x="1072" y="418"/>
                      </a:lnTo>
                      <a:lnTo>
                        <a:pt x="1133" y="427"/>
                      </a:lnTo>
                      <a:lnTo>
                        <a:pt x="1159" y="444"/>
                      </a:lnTo>
                      <a:lnTo>
                        <a:pt x="1203" y="444"/>
                      </a:lnTo>
                      <a:lnTo>
                        <a:pt x="1238" y="462"/>
                      </a:lnTo>
                      <a:lnTo>
                        <a:pt x="1307" y="462"/>
                      </a:lnTo>
                      <a:lnTo>
                        <a:pt x="1316" y="453"/>
                      </a:lnTo>
                      <a:lnTo>
                        <a:pt x="1369" y="453"/>
                      </a:lnTo>
                      <a:lnTo>
                        <a:pt x="1395" y="444"/>
                      </a:lnTo>
                      <a:lnTo>
                        <a:pt x="1377" y="435"/>
                      </a:lnTo>
                      <a:lnTo>
                        <a:pt x="1395" y="418"/>
                      </a:lnTo>
                      <a:lnTo>
                        <a:pt x="1377" y="401"/>
                      </a:lnTo>
                      <a:lnTo>
                        <a:pt x="1377" y="392"/>
                      </a:lnTo>
                      <a:lnTo>
                        <a:pt x="1412" y="383"/>
                      </a:lnTo>
                      <a:lnTo>
                        <a:pt x="1499" y="418"/>
                      </a:lnTo>
                      <a:lnTo>
                        <a:pt x="1508" y="444"/>
                      </a:lnTo>
                      <a:lnTo>
                        <a:pt x="1552" y="462"/>
                      </a:lnTo>
                      <a:lnTo>
                        <a:pt x="1595" y="488"/>
                      </a:lnTo>
                      <a:lnTo>
                        <a:pt x="1639" y="470"/>
                      </a:lnTo>
                      <a:lnTo>
                        <a:pt x="1665" y="531"/>
                      </a:lnTo>
                      <a:lnTo>
                        <a:pt x="1639" y="540"/>
                      </a:lnTo>
                      <a:lnTo>
                        <a:pt x="1656" y="575"/>
                      </a:lnTo>
                      <a:lnTo>
                        <a:pt x="1691" y="566"/>
                      </a:lnTo>
                      <a:lnTo>
                        <a:pt x="1717" y="523"/>
                      </a:lnTo>
                      <a:lnTo>
                        <a:pt x="1709" y="479"/>
                      </a:lnTo>
                      <a:lnTo>
                        <a:pt x="1717" y="479"/>
                      </a:lnTo>
                      <a:lnTo>
                        <a:pt x="1665" y="401"/>
                      </a:lnTo>
                      <a:lnTo>
                        <a:pt x="1648" y="383"/>
                      </a:lnTo>
                      <a:lnTo>
                        <a:pt x="1613" y="374"/>
                      </a:lnTo>
                      <a:lnTo>
                        <a:pt x="1604" y="383"/>
                      </a:lnTo>
                      <a:lnTo>
                        <a:pt x="1586" y="374"/>
                      </a:lnTo>
                      <a:lnTo>
                        <a:pt x="1569" y="366"/>
                      </a:lnTo>
                      <a:lnTo>
                        <a:pt x="1543" y="357"/>
                      </a:lnTo>
                      <a:lnTo>
                        <a:pt x="1560" y="340"/>
                      </a:lnTo>
                      <a:lnTo>
                        <a:pt x="1569" y="313"/>
                      </a:lnTo>
                      <a:lnTo>
                        <a:pt x="1569" y="287"/>
                      </a:lnTo>
                      <a:lnTo>
                        <a:pt x="1656" y="296"/>
                      </a:lnTo>
                      <a:lnTo>
                        <a:pt x="1656" y="279"/>
                      </a:lnTo>
                      <a:lnTo>
                        <a:pt x="1700" y="287"/>
                      </a:lnTo>
                      <a:lnTo>
                        <a:pt x="1717" y="296"/>
                      </a:lnTo>
                      <a:lnTo>
                        <a:pt x="1735" y="287"/>
                      </a:lnTo>
                      <a:lnTo>
                        <a:pt x="1743" y="287"/>
                      </a:lnTo>
                      <a:lnTo>
                        <a:pt x="1726" y="270"/>
                      </a:lnTo>
                      <a:lnTo>
                        <a:pt x="1726" y="244"/>
                      </a:lnTo>
                      <a:lnTo>
                        <a:pt x="1770" y="244"/>
                      </a:lnTo>
                      <a:lnTo>
                        <a:pt x="1778" y="261"/>
                      </a:lnTo>
                      <a:lnTo>
                        <a:pt x="1796" y="244"/>
                      </a:lnTo>
                      <a:lnTo>
                        <a:pt x="1787" y="235"/>
                      </a:lnTo>
                      <a:lnTo>
                        <a:pt x="1796" y="226"/>
                      </a:lnTo>
                      <a:lnTo>
                        <a:pt x="1813" y="235"/>
                      </a:lnTo>
                      <a:lnTo>
                        <a:pt x="1804" y="235"/>
                      </a:lnTo>
                      <a:lnTo>
                        <a:pt x="1822" y="252"/>
                      </a:lnTo>
                      <a:lnTo>
                        <a:pt x="1813" y="287"/>
                      </a:lnTo>
                      <a:lnTo>
                        <a:pt x="1813" y="305"/>
                      </a:lnTo>
                      <a:lnTo>
                        <a:pt x="1804" y="313"/>
                      </a:lnTo>
                      <a:lnTo>
                        <a:pt x="1813" y="348"/>
                      </a:lnTo>
                      <a:lnTo>
                        <a:pt x="1857" y="374"/>
                      </a:lnTo>
                      <a:lnTo>
                        <a:pt x="1874" y="401"/>
                      </a:lnTo>
                      <a:lnTo>
                        <a:pt x="1892" y="401"/>
                      </a:lnTo>
                      <a:lnTo>
                        <a:pt x="1909" y="427"/>
                      </a:lnTo>
                      <a:lnTo>
                        <a:pt x="1918" y="427"/>
                      </a:lnTo>
                      <a:lnTo>
                        <a:pt x="1927" y="409"/>
                      </a:lnTo>
                      <a:lnTo>
                        <a:pt x="1909" y="401"/>
                      </a:lnTo>
                      <a:lnTo>
                        <a:pt x="1918" y="383"/>
                      </a:lnTo>
                      <a:lnTo>
                        <a:pt x="1909" y="366"/>
                      </a:lnTo>
                      <a:lnTo>
                        <a:pt x="1918" y="366"/>
                      </a:lnTo>
                      <a:lnTo>
                        <a:pt x="1909" y="340"/>
                      </a:lnTo>
                      <a:lnTo>
                        <a:pt x="1918" y="340"/>
                      </a:lnTo>
                      <a:lnTo>
                        <a:pt x="1874" y="313"/>
                      </a:lnTo>
                      <a:lnTo>
                        <a:pt x="1857" y="305"/>
                      </a:lnTo>
                      <a:lnTo>
                        <a:pt x="1857" y="296"/>
                      </a:lnTo>
                      <a:lnTo>
                        <a:pt x="1874" y="305"/>
                      </a:lnTo>
                      <a:lnTo>
                        <a:pt x="1874" y="287"/>
                      </a:lnTo>
                      <a:lnTo>
                        <a:pt x="1848" y="287"/>
                      </a:lnTo>
                      <a:lnTo>
                        <a:pt x="1848" y="279"/>
                      </a:lnTo>
                      <a:lnTo>
                        <a:pt x="1865" y="261"/>
                      </a:lnTo>
                      <a:lnTo>
                        <a:pt x="1874" y="270"/>
                      </a:lnTo>
                      <a:lnTo>
                        <a:pt x="1909" y="261"/>
                      </a:lnTo>
                      <a:lnTo>
                        <a:pt x="1927" y="270"/>
                      </a:lnTo>
                      <a:lnTo>
                        <a:pt x="1944" y="244"/>
                      </a:lnTo>
                      <a:lnTo>
                        <a:pt x="1961" y="235"/>
                      </a:lnTo>
                      <a:lnTo>
                        <a:pt x="1961" y="226"/>
                      </a:lnTo>
                      <a:lnTo>
                        <a:pt x="1988" y="235"/>
                      </a:lnTo>
                      <a:lnTo>
                        <a:pt x="1996" y="218"/>
                      </a:lnTo>
                      <a:lnTo>
                        <a:pt x="1909" y="191"/>
                      </a:lnTo>
                      <a:lnTo>
                        <a:pt x="1944" y="191"/>
                      </a:lnTo>
                      <a:lnTo>
                        <a:pt x="1918" y="174"/>
                      </a:lnTo>
                      <a:lnTo>
                        <a:pt x="1927" y="165"/>
                      </a:lnTo>
                      <a:lnTo>
                        <a:pt x="1944" y="183"/>
                      </a:lnTo>
                      <a:lnTo>
                        <a:pt x="1970" y="183"/>
                      </a:lnTo>
                      <a:lnTo>
                        <a:pt x="1996" y="191"/>
                      </a:lnTo>
                      <a:lnTo>
                        <a:pt x="2031" y="191"/>
                      </a:lnTo>
                      <a:lnTo>
                        <a:pt x="2040" y="209"/>
                      </a:lnTo>
                      <a:lnTo>
                        <a:pt x="2066" y="200"/>
                      </a:lnTo>
                      <a:lnTo>
                        <a:pt x="2040" y="191"/>
                      </a:lnTo>
                      <a:lnTo>
                        <a:pt x="2040" y="174"/>
                      </a:lnTo>
                      <a:lnTo>
                        <a:pt x="1988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4" name="Freeform 168"/>
                <p:cNvSpPr>
                  <a:spLocks/>
                </p:cNvSpPr>
                <p:nvPr/>
              </p:nvSpPr>
              <p:spPr bwMode="auto">
                <a:xfrm>
                  <a:off x="6472464" y="1727373"/>
                  <a:ext cx="149980" cy="158488"/>
                </a:xfrm>
                <a:custGeom>
                  <a:avLst/>
                  <a:gdLst>
                    <a:gd name="T0" fmla="*/ 2147483647 w 140"/>
                    <a:gd name="T1" fmla="*/ 2147483647 h 148"/>
                    <a:gd name="T2" fmla="*/ 2147483647 w 140"/>
                    <a:gd name="T3" fmla="*/ 2147483647 h 148"/>
                    <a:gd name="T4" fmla="*/ 2147483647 w 140"/>
                    <a:gd name="T5" fmla="*/ 2147483647 h 148"/>
                    <a:gd name="T6" fmla="*/ 2147483647 w 140"/>
                    <a:gd name="T7" fmla="*/ 2147483647 h 148"/>
                    <a:gd name="T8" fmla="*/ 2147483647 w 140"/>
                    <a:gd name="T9" fmla="*/ 2147483647 h 148"/>
                    <a:gd name="T10" fmla="*/ 2147483647 w 140"/>
                    <a:gd name="T11" fmla="*/ 2147483647 h 148"/>
                    <a:gd name="T12" fmla="*/ 2147483647 w 140"/>
                    <a:gd name="T13" fmla="*/ 2147483647 h 148"/>
                    <a:gd name="T14" fmla="*/ 2147483647 w 140"/>
                    <a:gd name="T15" fmla="*/ 2147483647 h 148"/>
                    <a:gd name="T16" fmla="*/ 2147483647 w 140"/>
                    <a:gd name="T17" fmla="*/ 2147483647 h 148"/>
                    <a:gd name="T18" fmla="*/ 2147483647 w 140"/>
                    <a:gd name="T19" fmla="*/ 2147483647 h 148"/>
                    <a:gd name="T20" fmla="*/ 2147483647 w 140"/>
                    <a:gd name="T21" fmla="*/ 2147483647 h 148"/>
                    <a:gd name="T22" fmla="*/ 2147483647 w 140"/>
                    <a:gd name="T23" fmla="*/ 2147483647 h 148"/>
                    <a:gd name="T24" fmla="*/ 2147483647 w 140"/>
                    <a:gd name="T25" fmla="*/ 2147483647 h 148"/>
                    <a:gd name="T26" fmla="*/ 2147483647 w 140"/>
                    <a:gd name="T27" fmla="*/ 2147483647 h 148"/>
                    <a:gd name="T28" fmla="*/ 2147483647 w 140"/>
                    <a:gd name="T29" fmla="*/ 2147483647 h 148"/>
                    <a:gd name="T30" fmla="*/ 2147483647 w 140"/>
                    <a:gd name="T31" fmla="*/ 2147483647 h 148"/>
                    <a:gd name="T32" fmla="*/ 2147483647 w 140"/>
                    <a:gd name="T33" fmla="*/ 0 h 148"/>
                    <a:gd name="T34" fmla="*/ 0 w 140"/>
                    <a:gd name="T35" fmla="*/ 0 h 148"/>
                    <a:gd name="T36" fmla="*/ 2147483647 w 140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0"/>
                    <a:gd name="T58" fmla="*/ 0 h 148"/>
                    <a:gd name="T59" fmla="*/ 140 w 140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0" h="148">
                      <a:moveTo>
                        <a:pt x="26" y="43"/>
                      </a:moveTo>
                      <a:lnTo>
                        <a:pt x="44" y="52"/>
                      </a:lnTo>
                      <a:lnTo>
                        <a:pt x="61" y="78"/>
                      </a:lnTo>
                      <a:lnTo>
                        <a:pt x="79" y="87"/>
                      </a:lnTo>
                      <a:lnTo>
                        <a:pt x="79" y="113"/>
                      </a:lnTo>
                      <a:lnTo>
                        <a:pt x="96" y="122"/>
                      </a:lnTo>
                      <a:lnTo>
                        <a:pt x="105" y="139"/>
                      </a:lnTo>
                      <a:lnTo>
                        <a:pt x="114" y="148"/>
                      </a:lnTo>
                      <a:lnTo>
                        <a:pt x="114" y="139"/>
                      </a:lnTo>
                      <a:lnTo>
                        <a:pt x="140" y="148"/>
                      </a:lnTo>
                      <a:lnTo>
                        <a:pt x="122" y="130"/>
                      </a:lnTo>
                      <a:lnTo>
                        <a:pt x="96" y="113"/>
                      </a:lnTo>
                      <a:lnTo>
                        <a:pt x="96" y="96"/>
                      </a:lnTo>
                      <a:lnTo>
                        <a:pt x="114" y="96"/>
                      </a:lnTo>
                      <a:lnTo>
                        <a:pt x="105" y="87"/>
                      </a:lnTo>
                      <a:lnTo>
                        <a:pt x="79" y="69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2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5" name="Freeform 169"/>
                <p:cNvSpPr>
                  <a:spLocks/>
                </p:cNvSpPr>
                <p:nvPr/>
              </p:nvSpPr>
              <p:spPr bwMode="auto">
                <a:xfrm>
                  <a:off x="6472464" y="1727373"/>
                  <a:ext cx="149980" cy="158488"/>
                </a:xfrm>
                <a:custGeom>
                  <a:avLst/>
                  <a:gdLst>
                    <a:gd name="T0" fmla="*/ 2147483647 w 140"/>
                    <a:gd name="T1" fmla="*/ 2147483647 h 148"/>
                    <a:gd name="T2" fmla="*/ 2147483647 w 140"/>
                    <a:gd name="T3" fmla="*/ 2147483647 h 148"/>
                    <a:gd name="T4" fmla="*/ 2147483647 w 140"/>
                    <a:gd name="T5" fmla="*/ 2147483647 h 148"/>
                    <a:gd name="T6" fmla="*/ 2147483647 w 140"/>
                    <a:gd name="T7" fmla="*/ 2147483647 h 148"/>
                    <a:gd name="T8" fmla="*/ 2147483647 w 140"/>
                    <a:gd name="T9" fmla="*/ 2147483647 h 148"/>
                    <a:gd name="T10" fmla="*/ 2147483647 w 140"/>
                    <a:gd name="T11" fmla="*/ 2147483647 h 148"/>
                    <a:gd name="T12" fmla="*/ 2147483647 w 140"/>
                    <a:gd name="T13" fmla="*/ 2147483647 h 148"/>
                    <a:gd name="T14" fmla="*/ 2147483647 w 140"/>
                    <a:gd name="T15" fmla="*/ 2147483647 h 148"/>
                    <a:gd name="T16" fmla="*/ 2147483647 w 140"/>
                    <a:gd name="T17" fmla="*/ 2147483647 h 148"/>
                    <a:gd name="T18" fmla="*/ 2147483647 w 140"/>
                    <a:gd name="T19" fmla="*/ 2147483647 h 148"/>
                    <a:gd name="T20" fmla="*/ 2147483647 w 140"/>
                    <a:gd name="T21" fmla="*/ 2147483647 h 148"/>
                    <a:gd name="T22" fmla="*/ 2147483647 w 140"/>
                    <a:gd name="T23" fmla="*/ 2147483647 h 148"/>
                    <a:gd name="T24" fmla="*/ 2147483647 w 140"/>
                    <a:gd name="T25" fmla="*/ 2147483647 h 148"/>
                    <a:gd name="T26" fmla="*/ 2147483647 w 140"/>
                    <a:gd name="T27" fmla="*/ 2147483647 h 148"/>
                    <a:gd name="T28" fmla="*/ 2147483647 w 140"/>
                    <a:gd name="T29" fmla="*/ 2147483647 h 148"/>
                    <a:gd name="T30" fmla="*/ 2147483647 w 140"/>
                    <a:gd name="T31" fmla="*/ 2147483647 h 148"/>
                    <a:gd name="T32" fmla="*/ 2147483647 w 140"/>
                    <a:gd name="T33" fmla="*/ 0 h 148"/>
                    <a:gd name="T34" fmla="*/ 0 w 140"/>
                    <a:gd name="T35" fmla="*/ 0 h 148"/>
                    <a:gd name="T36" fmla="*/ 2147483647 w 140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0"/>
                    <a:gd name="T58" fmla="*/ 0 h 148"/>
                    <a:gd name="T59" fmla="*/ 140 w 140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0" h="148">
                      <a:moveTo>
                        <a:pt x="26" y="43"/>
                      </a:moveTo>
                      <a:lnTo>
                        <a:pt x="44" y="52"/>
                      </a:lnTo>
                      <a:lnTo>
                        <a:pt x="61" y="78"/>
                      </a:lnTo>
                      <a:lnTo>
                        <a:pt x="79" y="87"/>
                      </a:lnTo>
                      <a:lnTo>
                        <a:pt x="79" y="113"/>
                      </a:lnTo>
                      <a:lnTo>
                        <a:pt x="96" y="122"/>
                      </a:lnTo>
                      <a:lnTo>
                        <a:pt x="105" y="139"/>
                      </a:lnTo>
                      <a:lnTo>
                        <a:pt x="114" y="148"/>
                      </a:lnTo>
                      <a:lnTo>
                        <a:pt x="114" y="139"/>
                      </a:lnTo>
                      <a:lnTo>
                        <a:pt x="140" y="148"/>
                      </a:lnTo>
                      <a:lnTo>
                        <a:pt x="122" y="130"/>
                      </a:lnTo>
                      <a:lnTo>
                        <a:pt x="96" y="113"/>
                      </a:lnTo>
                      <a:lnTo>
                        <a:pt x="96" y="96"/>
                      </a:lnTo>
                      <a:lnTo>
                        <a:pt x="114" y="96"/>
                      </a:lnTo>
                      <a:lnTo>
                        <a:pt x="105" y="87"/>
                      </a:lnTo>
                      <a:lnTo>
                        <a:pt x="79" y="69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2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6" name="Freeform 170"/>
                <p:cNvSpPr>
                  <a:spLocks/>
                </p:cNvSpPr>
                <p:nvPr/>
              </p:nvSpPr>
              <p:spPr bwMode="auto">
                <a:xfrm>
                  <a:off x="6808848" y="170809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0 w 26"/>
                    <a:gd name="T3" fmla="*/ 0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8"/>
                    <a:gd name="T20" fmla="*/ 26 w 26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8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26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7" name="Freeform 171"/>
                <p:cNvSpPr>
                  <a:spLocks/>
                </p:cNvSpPr>
                <p:nvPr/>
              </p:nvSpPr>
              <p:spPr bwMode="auto">
                <a:xfrm>
                  <a:off x="6808848" y="170809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0 w 26"/>
                    <a:gd name="T3" fmla="*/ 0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8"/>
                    <a:gd name="T20" fmla="*/ 26 w 26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8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26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8" name="Freeform 172"/>
                <p:cNvSpPr>
                  <a:spLocks/>
                </p:cNvSpPr>
                <p:nvPr/>
              </p:nvSpPr>
              <p:spPr bwMode="auto">
                <a:xfrm>
                  <a:off x="6743499" y="1801263"/>
                  <a:ext cx="9642" cy="19276"/>
                </a:xfrm>
                <a:custGeom>
                  <a:avLst/>
                  <a:gdLst>
                    <a:gd name="T0" fmla="*/ 2147483647 w 9"/>
                    <a:gd name="T1" fmla="*/ 2147483647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8"/>
                    <a:gd name="T14" fmla="*/ 9 w 9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8">
                      <a:moveTo>
                        <a:pt x="9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9" name="Freeform 173"/>
                <p:cNvSpPr>
                  <a:spLocks/>
                </p:cNvSpPr>
                <p:nvPr/>
              </p:nvSpPr>
              <p:spPr bwMode="auto">
                <a:xfrm>
                  <a:off x="6743499" y="1801263"/>
                  <a:ext cx="9642" cy="19276"/>
                </a:xfrm>
                <a:custGeom>
                  <a:avLst/>
                  <a:gdLst>
                    <a:gd name="T0" fmla="*/ 2147483647 w 9"/>
                    <a:gd name="T1" fmla="*/ 2147483647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8"/>
                    <a:gd name="T14" fmla="*/ 9 w 9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8">
                      <a:moveTo>
                        <a:pt x="9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0" name="Freeform 174"/>
                <p:cNvSpPr>
                  <a:spLocks/>
                </p:cNvSpPr>
                <p:nvPr/>
              </p:nvSpPr>
              <p:spPr bwMode="auto">
                <a:xfrm>
                  <a:off x="6836702" y="1717735"/>
                  <a:ext cx="27853" cy="9638"/>
                </a:xfrm>
                <a:custGeom>
                  <a:avLst/>
                  <a:gdLst>
                    <a:gd name="T0" fmla="*/ 0 w 26"/>
                    <a:gd name="T1" fmla="*/ 0 h 9"/>
                    <a:gd name="T2" fmla="*/ 0 w 26"/>
                    <a:gd name="T3" fmla="*/ 2147483647 h 9"/>
                    <a:gd name="T4" fmla="*/ 2147483647 w 26"/>
                    <a:gd name="T5" fmla="*/ 2147483647 h 9"/>
                    <a:gd name="T6" fmla="*/ 2147483647 w 26"/>
                    <a:gd name="T7" fmla="*/ 2147483647 h 9"/>
                    <a:gd name="T8" fmla="*/ 0 w 26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8" y="9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1" name="Freeform 175"/>
                <p:cNvSpPr>
                  <a:spLocks/>
                </p:cNvSpPr>
                <p:nvPr/>
              </p:nvSpPr>
              <p:spPr bwMode="auto">
                <a:xfrm>
                  <a:off x="6836702" y="1717735"/>
                  <a:ext cx="27853" cy="9638"/>
                </a:xfrm>
                <a:custGeom>
                  <a:avLst/>
                  <a:gdLst>
                    <a:gd name="T0" fmla="*/ 0 w 26"/>
                    <a:gd name="T1" fmla="*/ 0 h 9"/>
                    <a:gd name="T2" fmla="*/ 0 w 26"/>
                    <a:gd name="T3" fmla="*/ 2147483647 h 9"/>
                    <a:gd name="T4" fmla="*/ 2147483647 w 26"/>
                    <a:gd name="T5" fmla="*/ 2147483647 h 9"/>
                    <a:gd name="T6" fmla="*/ 2147483647 w 26"/>
                    <a:gd name="T7" fmla="*/ 2147483647 h 9"/>
                    <a:gd name="T8" fmla="*/ 0 w 26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8" y="9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2" name="Freeform 176"/>
                <p:cNvSpPr>
                  <a:spLocks/>
                </p:cNvSpPr>
                <p:nvPr/>
              </p:nvSpPr>
              <p:spPr bwMode="auto">
                <a:xfrm>
                  <a:off x="5959317" y="1353641"/>
                  <a:ext cx="46066" cy="47118"/>
                </a:xfrm>
                <a:custGeom>
                  <a:avLst/>
                  <a:gdLst>
                    <a:gd name="T0" fmla="*/ 2147483647 w 43"/>
                    <a:gd name="T1" fmla="*/ 0 h 44"/>
                    <a:gd name="T2" fmla="*/ 2147483647 w 43"/>
                    <a:gd name="T3" fmla="*/ 2147483647 h 44"/>
                    <a:gd name="T4" fmla="*/ 0 w 43"/>
                    <a:gd name="T5" fmla="*/ 2147483647 h 44"/>
                    <a:gd name="T6" fmla="*/ 2147483647 w 43"/>
                    <a:gd name="T7" fmla="*/ 2147483647 h 44"/>
                    <a:gd name="T8" fmla="*/ 2147483647 w 43"/>
                    <a:gd name="T9" fmla="*/ 2147483647 h 44"/>
                    <a:gd name="T10" fmla="*/ 2147483647 w 43"/>
                    <a:gd name="T11" fmla="*/ 2147483647 h 44"/>
                    <a:gd name="T12" fmla="*/ 2147483647 w 43"/>
                    <a:gd name="T13" fmla="*/ 2147483647 h 44"/>
                    <a:gd name="T14" fmla="*/ 2147483647 w 43"/>
                    <a:gd name="T15" fmla="*/ 2147483647 h 44"/>
                    <a:gd name="T16" fmla="*/ 2147483647 w 43"/>
                    <a:gd name="T17" fmla="*/ 2147483647 h 44"/>
                    <a:gd name="T18" fmla="*/ 2147483647 w 43"/>
                    <a:gd name="T19" fmla="*/ 0 h 44"/>
                    <a:gd name="T20" fmla="*/ 2147483647 w 43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3"/>
                    <a:gd name="T34" fmla="*/ 0 h 44"/>
                    <a:gd name="T35" fmla="*/ 43 w 43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3" h="44">
                      <a:moveTo>
                        <a:pt x="8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3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3" name="Freeform 177"/>
                <p:cNvSpPr>
                  <a:spLocks/>
                </p:cNvSpPr>
                <p:nvPr/>
              </p:nvSpPr>
              <p:spPr bwMode="auto">
                <a:xfrm>
                  <a:off x="5959317" y="1353641"/>
                  <a:ext cx="46066" cy="47118"/>
                </a:xfrm>
                <a:custGeom>
                  <a:avLst/>
                  <a:gdLst>
                    <a:gd name="T0" fmla="*/ 2147483647 w 43"/>
                    <a:gd name="T1" fmla="*/ 0 h 44"/>
                    <a:gd name="T2" fmla="*/ 2147483647 w 43"/>
                    <a:gd name="T3" fmla="*/ 2147483647 h 44"/>
                    <a:gd name="T4" fmla="*/ 0 w 43"/>
                    <a:gd name="T5" fmla="*/ 2147483647 h 44"/>
                    <a:gd name="T6" fmla="*/ 2147483647 w 43"/>
                    <a:gd name="T7" fmla="*/ 2147483647 h 44"/>
                    <a:gd name="T8" fmla="*/ 2147483647 w 43"/>
                    <a:gd name="T9" fmla="*/ 2147483647 h 44"/>
                    <a:gd name="T10" fmla="*/ 2147483647 w 43"/>
                    <a:gd name="T11" fmla="*/ 2147483647 h 44"/>
                    <a:gd name="T12" fmla="*/ 2147483647 w 43"/>
                    <a:gd name="T13" fmla="*/ 2147483647 h 44"/>
                    <a:gd name="T14" fmla="*/ 2147483647 w 43"/>
                    <a:gd name="T15" fmla="*/ 2147483647 h 44"/>
                    <a:gd name="T16" fmla="*/ 2147483647 w 43"/>
                    <a:gd name="T17" fmla="*/ 2147483647 h 44"/>
                    <a:gd name="T18" fmla="*/ 2147483647 w 43"/>
                    <a:gd name="T19" fmla="*/ 0 h 44"/>
                    <a:gd name="T20" fmla="*/ 2147483647 w 43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3"/>
                    <a:gd name="T34" fmla="*/ 0 h 44"/>
                    <a:gd name="T35" fmla="*/ 43 w 43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3" h="44">
                      <a:moveTo>
                        <a:pt x="8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3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4" name="Rectangle 178"/>
                <p:cNvSpPr>
                  <a:spLocks noChangeArrowheads="1"/>
                </p:cNvSpPr>
                <p:nvPr/>
              </p:nvSpPr>
              <p:spPr bwMode="auto">
                <a:xfrm>
                  <a:off x="5940034" y="1363279"/>
                  <a:ext cx="9642" cy="18205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5" name="Rectangle 179"/>
                <p:cNvSpPr>
                  <a:spLocks noChangeArrowheads="1"/>
                </p:cNvSpPr>
                <p:nvPr/>
              </p:nvSpPr>
              <p:spPr bwMode="auto">
                <a:xfrm>
                  <a:off x="5940034" y="1363279"/>
                  <a:ext cx="9642" cy="18205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6" name="Freeform 180"/>
                <p:cNvSpPr>
                  <a:spLocks/>
                </p:cNvSpPr>
                <p:nvPr/>
              </p:nvSpPr>
              <p:spPr bwMode="auto">
                <a:xfrm>
                  <a:off x="6005383" y="1363279"/>
                  <a:ext cx="65349" cy="18205"/>
                </a:xfrm>
                <a:custGeom>
                  <a:avLst/>
                  <a:gdLst>
                    <a:gd name="T0" fmla="*/ 2147483647 w 61"/>
                    <a:gd name="T1" fmla="*/ 2147483647 h 17"/>
                    <a:gd name="T2" fmla="*/ 2147483647 w 61"/>
                    <a:gd name="T3" fmla="*/ 0 h 17"/>
                    <a:gd name="T4" fmla="*/ 0 w 61"/>
                    <a:gd name="T5" fmla="*/ 0 h 17"/>
                    <a:gd name="T6" fmla="*/ 0 w 61"/>
                    <a:gd name="T7" fmla="*/ 2147483647 h 17"/>
                    <a:gd name="T8" fmla="*/ 2147483647 w 61"/>
                    <a:gd name="T9" fmla="*/ 2147483647 h 17"/>
                    <a:gd name="T10" fmla="*/ 2147483647 w 61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17"/>
                    <a:gd name="T20" fmla="*/ 61 w 61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17">
                      <a:moveTo>
                        <a:pt x="61" y="17"/>
                      </a:moveTo>
                      <a:lnTo>
                        <a:pt x="44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61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7" name="Freeform 181"/>
                <p:cNvSpPr>
                  <a:spLocks/>
                </p:cNvSpPr>
                <p:nvPr/>
              </p:nvSpPr>
              <p:spPr bwMode="auto">
                <a:xfrm>
                  <a:off x="6005383" y="1363279"/>
                  <a:ext cx="65349" cy="18205"/>
                </a:xfrm>
                <a:custGeom>
                  <a:avLst/>
                  <a:gdLst>
                    <a:gd name="T0" fmla="*/ 2147483647 w 61"/>
                    <a:gd name="T1" fmla="*/ 2147483647 h 17"/>
                    <a:gd name="T2" fmla="*/ 2147483647 w 61"/>
                    <a:gd name="T3" fmla="*/ 0 h 17"/>
                    <a:gd name="T4" fmla="*/ 0 w 61"/>
                    <a:gd name="T5" fmla="*/ 0 h 17"/>
                    <a:gd name="T6" fmla="*/ 0 w 61"/>
                    <a:gd name="T7" fmla="*/ 2147483647 h 17"/>
                    <a:gd name="T8" fmla="*/ 2147483647 w 61"/>
                    <a:gd name="T9" fmla="*/ 2147483647 h 17"/>
                    <a:gd name="T10" fmla="*/ 2147483647 w 61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17"/>
                    <a:gd name="T20" fmla="*/ 61 w 61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17">
                      <a:moveTo>
                        <a:pt x="61" y="17"/>
                      </a:moveTo>
                      <a:lnTo>
                        <a:pt x="44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61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8" name="Freeform 182"/>
                <p:cNvSpPr>
                  <a:spLocks/>
                </p:cNvSpPr>
                <p:nvPr/>
              </p:nvSpPr>
              <p:spPr bwMode="auto">
                <a:xfrm>
                  <a:off x="6052520" y="1391122"/>
                  <a:ext cx="37495" cy="18205"/>
                </a:xfrm>
                <a:custGeom>
                  <a:avLst/>
                  <a:gdLst>
                    <a:gd name="T0" fmla="*/ 0 w 35"/>
                    <a:gd name="T1" fmla="*/ 0 h 17"/>
                    <a:gd name="T2" fmla="*/ 0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2147483647 w 35"/>
                    <a:gd name="T11" fmla="*/ 0 h 17"/>
                    <a:gd name="T12" fmla="*/ 2147483647 w 35"/>
                    <a:gd name="T13" fmla="*/ 2147483647 h 17"/>
                    <a:gd name="T14" fmla="*/ 0 w 35"/>
                    <a:gd name="T15" fmla="*/ 0 h 1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5"/>
                    <a:gd name="T25" fmla="*/ 0 h 17"/>
                    <a:gd name="T26" fmla="*/ 35 w 35"/>
                    <a:gd name="T27" fmla="*/ 17 h 1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5" h="17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17"/>
                      </a:lnTo>
                      <a:lnTo>
                        <a:pt x="35" y="17"/>
                      </a:lnTo>
                      <a:lnTo>
                        <a:pt x="35" y="9"/>
                      </a:ln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9" name="Freeform 183"/>
                <p:cNvSpPr>
                  <a:spLocks/>
                </p:cNvSpPr>
                <p:nvPr/>
              </p:nvSpPr>
              <p:spPr bwMode="auto">
                <a:xfrm>
                  <a:off x="6052520" y="1391122"/>
                  <a:ext cx="37495" cy="18205"/>
                </a:xfrm>
                <a:custGeom>
                  <a:avLst/>
                  <a:gdLst>
                    <a:gd name="T0" fmla="*/ 0 w 35"/>
                    <a:gd name="T1" fmla="*/ 0 h 17"/>
                    <a:gd name="T2" fmla="*/ 0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2147483647 w 35"/>
                    <a:gd name="T11" fmla="*/ 0 h 17"/>
                    <a:gd name="T12" fmla="*/ 2147483647 w 35"/>
                    <a:gd name="T13" fmla="*/ 2147483647 h 17"/>
                    <a:gd name="T14" fmla="*/ 0 w 35"/>
                    <a:gd name="T15" fmla="*/ 0 h 1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5"/>
                    <a:gd name="T25" fmla="*/ 0 h 17"/>
                    <a:gd name="T26" fmla="*/ 35 w 35"/>
                    <a:gd name="T27" fmla="*/ 17 h 1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5" h="17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17"/>
                      </a:lnTo>
                      <a:lnTo>
                        <a:pt x="35" y="17"/>
                      </a:lnTo>
                      <a:lnTo>
                        <a:pt x="35" y="9"/>
                      </a:ln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0" name="Freeform 184"/>
                <p:cNvSpPr>
                  <a:spLocks/>
                </p:cNvSpPr>
                <p:nvPr/>
              </p:nvSpPr>
              <p:spPr bwMode="auto">
                <a:xfrm>
                  <a:off x="6033236" y="1391122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1" name="Freeform 185"/>
                <p:cNvSpPr>
                  <a:spLocks/>
                </p:cNvSpPr>
                <p:nvPr/>
              </p:nvSpPr>
              <p:spPr bwMode="auto">
                <a:xfrm>
                  <a:off x="6033236" y="1391122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2" name="Freeform 186"/>
                <p:cNvSpPr>
                  <a:spLocks/>
                </p:cNvSpPr>
                <p:nvPr/>
              </p:nvSpPr>
              <p:spPr bwMode="auto">
                <a:xfrm>
                  <a:off x="6080373" y="1363279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0 h 26"/>
                    <a:gd name="T10" fmla="*/ 2147483647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9"/>
                      </a:move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26" y="26"/>
                      </a:lnTo>
                      <a:lnTo>
                        <a:pt x="61" y="17"/>
                      </a:lnTo>
                      <a:lnTo>
                        <a:pt x="61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3" name="Freeform 187"/>
                <p:cNvSpPr>
                  <a:spLocks/>
                </p:cNvSpPr>
                <p:nvPr/>
              </p:nvSpPr>
              <p:spPr bwMode="auto">
                <a:xfrm>
                  <a:off x="6080373" y="1363279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0 h 26"/>
                    <a:gd name="T10" fmla="*/ 2147483647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9"/>
                      </a:move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26" y="26"/>
                      </a:lnTo>
                      <a:lnTo>
                        <a:pt x="61" y="17"/>
                      </a:lnTo>
                      <a:lnTo>
                        <a:pt x="61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4" name="Freeform 188"/>
                <p:cNvSpPr>
                  <a:spLocks/>
                </p:cNvSpPr>
                <p:nvPr/>
              </p:nvSpPr>
              <p:spPr bwMode="auto">
                <a:xfrm>
                  <a:off x="6379262" y="1708098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17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5" name="Freeform 189"/>
                <p:cNvSpPr>
                  <a:spLocks/>
                </p:cNvSpPr>
                <p:nvPr/>
              </p:nvSpPr>
              <p:spPr bwMode="auto">
                <a:xfrm>
                  <a:off x="6379262" y="1708098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17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6" name="Freeform 190"/>
                <p:cNvSpPr>
                  <a:spLocks/>
                </p:cNvSpPr>
                <p:nvPr/>
              </p:nvSpPr>
              <p:spPr bwMode="auto">
                <a:xfrm>
                  <a:off x="6743499" y="1858019"/>
                  <a:ext cx="9642" cy="18205"/>
                </a:xfrm>
                <a:custGeom>
                  <a:avLst/>
                  <a:gdLst>
                    <a:gd name="T0" fmla="*/ 0 w 9"/>
                    <a:gd name="T1" fmla="*/ 2147483647 h 17"/>
                    <a:gd name="T2" fmla="*/ 2147483647 w 9"/>
                    <a:gd name="T3" fmla="*/ 2147483647 h 17"/>
                    <a:gd name="T4" fmla="*/ 0 w 9"/>
                    <a:gd name="T5" fmla="*/ 0 h 17"/>
                    <a:gd name="T6" fmla="*/ 0 w 9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7"/>
                    <a:gd name="T14" fmla="*/ 9 w 9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7">
                      <a:moveTo>
                        <a:pt x="0" y="17"/>
                      </a:moveTo>
                      <a:lnTo>
                        <a:pt x="9" y="17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7" name="Freeform 191"/>
                <p:cNvSpPr>
                  <a:spLocks/>
                </p:cNvSpPr>
                <p:nvPr/>
              </p:nvSpPr>
              <p:spPr bwMode="auto">
                <a:xfrm>
                  <a:off x="6743499" y="1858019"/>
                  <a:ext cx="9642" cy="18205"/>
                </a:xfrm>
                <a:custGeom>
                  <a:avLst/>
                  <a:gdLst>
                    <a:gd name="T0" fmla="*/ 0 w 9"/>
                    <a:gd name="T1" fmla="*/ 2147483647 h 17"/>
                    <a:gd name="T2" fmla="*/ 2147483647 w 9"/>
                    <a:gd name="T3" fmla="*/ 2147483647 h 17"/>
                    <a:gd name="T4" fmla="*/ 0 w 9"/>
                    <a:gd name="T5" fmla="*/ 0 h 17"/>
                    <a:gd name="T6" fmla="*/ 0 w 9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7"/>
                    <a:gd name="T14" fmla="*/ 9 w 9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7">
                      <a:moveTo>
                        <a:pt x="0" y="17"/>
                      </a:moveTo>
                      <a:lnTo>
                        <a:pt x="9" y="17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8" name="Freeform 192"/>
                <p:cNvSpPr>
                  <a:spLocks/>
                </p:cNvSpPr>
                <p:nvPr/>
              </p:nvSpPr>
              <p:spPr bwMode="auto">
                <a:xfrm>
                  <a:off x="5464383" y="1316161"/>
                  <a:ext cx="55707" cy="27842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0 w 52"/>
                    <a:gd name="T7" fmla="*/ 2147483647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26"/>
                    <a:gd name="T23" fmla="*/ 52 w 52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26">
                      <a:moveTo>
                        <a:pt x="52" y="18"/>
                      </a:moveTo>
                      <a:lnTo>
                        <a:pt x="52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7" y="18"/>
                      </a:lnTo>
                      <a:lnTo>
                        <a:pt x="52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9" name="Freeform 193"/>
                <p:cNvSpPr>
                  <a:spLocks/>
                </p:cNvSpPr>
                <p:nvPr/>
              </p:nvSpPr>
              <p:spPr bwMode="auto">
                <a:xfrm>
                  <a:off x="5464383" y="1316161"/>
                  <a:ext cx="55707" cy="27842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0 w 52"/>
                    <a:gd name="T7" fmla="*/ 2147483647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26"/>
                    <a:gd name="T23" fmla="*/ 52 w 52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26">
                      <a:moveTo>
                        <a:pt x="52" y="18"/>
                      </a:moveTo>
                      <a:lnTo>
                        <a:pt x="52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7" y="18"/>
                      </a:lnTo>
                      <a:lnTo>
                        <a:pt x="52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0" name="Rectangle 194"/>
                <p:cNvSpPr>
                  <a:spLocks noChangeArrowheads="1"/>
                </p:cNvSpPr>
                <p:nvPr/>
              </p:nvSpPr>
              <p:spPr bwMode="auto">
                <a:xfrm>
                  <a:off x="5174064" y="1316161"/>
                  <a:ext cx="964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1" name="Rectangle 195"/>
                <p:cNvSpPr>
                  <a:spLocks noChangeArrowheads="1"/>
                </p:cNvSpPr>
                <p:nvPr/>
              </p:nvSpPr>
              <p:spPr bwMode="auto">
                <a:xfrm>
                  <a:off x="5174064" y="1316161"/>
                  <a:ext cx="964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2" name="Rectangle 196"/>
                <p:cNvSpPr>
                  <a:spLocks noChangeArrowheads="1"/>
                </p:cNvSpPr>
                <p:nvPr/>
              </p:nvSpPr>
              <p:spPr bwMode="auto">
                <a:xfrm>
                  <a:off x="5183705" y="1297956"/>
                  <a:ext cx="1821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3" name="Rectangle 197"/>
                <p:cNvSpPr>
                  <a:spLocks noChangeArrowheads="1"/>
                </p:cNvSpPr>
                <p:nvPr/>
              </p:nvSpPr>
              <p:spPr bwMode="auto">
                <a:xfrm>
                  <a:off x="5183705" y="1297956"/>
                  <a:ext cx="1821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4" name="Freeform 198"/>
                <p:cNvSpPr>
                  <a:spLocks/>
                </p:cNvSpPr>
                <p:nvPr/>
              </p:nvSpPr>
              <p:spPr bwMode="auto">
                <a:xfrm>
                  <a:off x="5296191" y="1363279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2147483647 h 17"/>
                    <a:gd name="T4" fmla="*/ 2147483647 w 17"/>
                    <a:gd name="T5" fmla="*/ 0 h 17"/>
                    <a:gd name="T6" fmla="*/ 0 w 17"/>
                    <a:gd name="T7" fmla="*/ 0 h 17"/>
                    <a:gd name="T8" fmla="*/ 2147483647 w 17"/>
                    <a:gd name="T9" fmla="*/ 2147483647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7"/>
                    <a:gd name="T17" fmla="*/ 17 w 17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7">
                      <a:moveTo>
                        <a:pt x="8" y="17"/>
                      </a:moveTo>
                      <a:lnTo>
                        <a:pt x="17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5" name="Freeform 199"/>
                <p:cNvSpPr>
                  <a:spLocks/>
                </p:cNvSpPr>
                <p:nvPr/>
              </p:nvSpPr>
              <p:spPr bwMode="auto">
                <a:xfrm>
                  <a:off x="5296191" y="1363279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2147483647 h 17"/>
                    <a:gd name="T4" fmla="*/ 2147483647 w 17"/>
                    <a:gd name="T5" fmla="*/ 0 h 17"/>
                    <a:gd name="T6" fmla="*/ 0 w 17"/>
                    <a:gd name="T7" fmla="*/ 0 h 17"/>
                    <a:gd name="T8" fmla="*/ 2147483647 w 17"/>
                    <a:gd name="T9" fmla="*/ 2147483647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7"/>
                    <a:gd name="T17" fmla="*/ 17 w 17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7">
                      <a:moveTo>
                        <a:pt x="8" y="17"/>
                      </a:moveTo>
                      <a:lnTo>
                        <a:pt x="17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6" name="Freeform 200"/>
                <p:cNvSpPr>
                  <a:spLocks/>
                </p:cNvSpPr>
                <p:nvPr/>
              </p:nvSpPr>
              <p:spPr bwMode="auto">
                <a:xfrm>
                  <a:off x="5389393" y="1307594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0 h 26"/>
                    <a:gd name="T8" fmla="*/ 2147483647 w 61"/>
                    <a:gd name="T9" fmla="*/ 0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26"/>
                    <a:gd name="T23" fmla="*/ 61 w 61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26">
                      <a:moveTo>
                        <a:pt x="26" y="17"/>
                      </a:moveTo>
                      <a:lnTo>
                        <a:pt x="43" y="26"/>
                      </a:lnTo>
                      <a:lnTo>
                        <a:pt x="61" y="17"/>
                      </a:ln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7" name="Freeform 201"/>
                <p:cNvSpPr>
                  <a:spLocks/>
                </p:cNvSpPr>
                <p:nvPr/>
              </p:nvSpPr>
              <p:spPr bwMode="auto">
                <a:xfrm>
                  <a:off x="5389393" y="1307594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0 h 26"/>
                    <a:gd name="T8" fmla="*/ 2147483647 w 61"/>
                    <a:gd name="T9" fmla="*/ 0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26"/>
                    <a:gd name="T23" fmla="*/ 61 w 61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26">
                      <a:moveTo>
                        <a:pt x="26" y="17"/>
                      </a:moveTo>
                      <a:lnTo>
                        <a:pt x="43" y="26"/>
                      </a:lnTo>
                      <a:lnTo>
                        <a:pt x="61" y="17"/>
                      </a:ln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8" name="Freeform 202"/>
                <p:cNvSpPr>
                  <a:spLocks/>
                </p:cNvSpPr>
                <p:nvPr/>
              </p:nvSpPr>
              <p:spPr bwMode="auto">
                <a:xfrm>
                  <a:off x="5435458" y="1344004"/>
                  <a:ext cx="19283" cy="963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2147483647 h 9"/>
                    <a:gd name="T4" fmla="*/ 2147483647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18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9" name="Freeform 203"/>
                <p:cNvSpPr>
                  <a:spLocks/>
                </p:cNvSpPr>
                <p:nvPr/>
              </p:nvSpPr>
              <p:spPr bwMode="auto">
                <a:xfrm>
                  <a:off x="5435458" y="1344004"/>
                  <a:ext cx="19283" cy="963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2147483647 h 9"/>
                    <a:gd name="T4" fmla="*/ 2147483647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18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0" name="Freeform 204"/>
                <p:cNvSpPr>
                  <a:spLocks/>
                </p:cNvSpPr>
                <p:nvPr/>
              </p:nvSpPr>
              <p:spPr bwMode="auto">
                <a:xfrm>
                  <a:off x="5379751" y="1316161"/>
                  <a:ext cx="9642" cy="9638"/>
                </a:xfrm>
                <a:custGeom>
                  <a:avLst/>
                  <a:gdLst>
                    <a:gd name="T0" fmla="*/ 2147483647 w 9"/>
                    <a:gd name="T1" fmla="*/ 2147483647 h 9"/>
                    <a:gd name="T2" fmla="*/ 0 w 9"/>
                    <a:gd name="T3" fmla="*/ 0 h 9"/>
                    <a:gd name="T4" fmla="*/ 0 w 9"/>
                    <a:gd name="T5" fmla="*/ 2147483647 h 9"/>
                    <a:gd name="T6" fmla="*/ 2147483647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9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1" name="Freeform 205"/>
                <p:cNvSpPr>
                  <a:spLocks/>
                </p:cNvSpPr>
                <p:nvPr/>
              </p:nvSpPr>
              <p:spPr bwMode="auto">
                <a:xfrm>
                  <a:off x="5379751" y="1316161"/>
                  <a:ext cx="9642" cy="9638"/>
                </a:xfrm>
                <a:custGeom>
                  <a:avLst/>
                  <a:gdLst>
                    <a:gd name="T0" fmla="*/ 2147483647 w 9"/>
                    <a:gd name="T1" fmla="*/ 2147483647 h 9"/>
                    <a:gd name="T2" fmla="*/ 0 w 9"/>
                    <a:gd name="T3" fmla="*/ 0 h 9"/>
                    <a:gd name="T4" fmla="*/ 0 w 9"/>
                    <a:gd name="T5" fmla="*/ 2147483647 h 9"/>
                    <a:gd name="T6" fmla="*/ 2147483647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9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2" name="Freeform 207"/>
                <p:cNvSpPr>
                  <a:spLocks/>
                </p:cNvSpPr>
                <p:nvPr/>
              </p:nvSpPr>
              <p:spPr bwMode="auto">
                <a:xfrm>
                  <a:off x="5332614" y="1297956"/>
                  <a:ext cx="66420" cy="18205"/>
                </a:xfrm>
                <a:custGeom>
                  <a:avLst/>
                  <a:gdLst>
                    <a:gd name="T0" fmla="*/ 2147483647 w 62"/>
                    <a:gd name="T1" fmla="*/ 2147483647 h 17"/>
                    <a:gd name="T2" fmla="*/ 2147483647 w 62"/>
                    <a:gd name="T3" fmla="*/ 2147483647 h 17"/>
                    <a:gd name="T4" fmla="*/ 2147483647 w 62"/>
                    <a:gd name="T5" fmla="*/ 0 h 17"/>
                    <a:gd name="T6" fmla="*/ 2147483647 w 62"/>
                    <a:gd name="T7" fmla="*/ 0 h 17"/>
                    <a:gd name="T8" fmla="*/ 0 w 62"/>
                    <a:gd name="T9" fmla="*/ 2147483647 h 17"/>
                    <a:gd name="T10" fmla="*/ 2147483647 w 62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2"/>
                    <a:gd name="T19" fmla="*/ 0 h 17"/>
                    <a:gd name="T20" fmla="*/ 62 w 62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2" h="17">
                      <a:moveTo>
                        <a:pt x="35" y="17"/>
                      </a:moveTo>
                      <a:lnTo>
                        <a:pt x="62" y="9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9"/>
                      </a:lnTo>
                      <a:lnTo>
                        <a:pt x="35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3" name="Freeform 208"/>
                <p:cNvSpPr>
                  <a:spLocks/>
                </p:cNvSpPr>
                <p:nvPr/>
              </p:nvSpPr>
              <p:spPr bwMode="auto">
                <a:xfrm>
                  <a:off x="5332614" y="1297956"/>
                  <a:ext cx="66420" cy="18205"/>
                </a:xfrm>
                <a:custGeom>
                  <a:avLst/>
                  <a:gdLst>
                    <a:gd name="T0" fmla="*/ 2147483647 w 62"/>
                    <a:gd name="T1" fmla="*/ 2147483647 h 17"/>
                    <a:gd name="T2" fmla="*/ 2147483647 w 62"/>
                    <a:gd name="T3" fmla="*/ 2147483647 h 17"/>
                    <a:gd name="T4" fmla="*/ 2147483647 w 62"/>
                    <a:gd name="T5" fmla="*/ 0 h 17"/>
                    <a:gd name="T6" fmla="*/ 2147483647 w 62"/>
                    <a:gd name="T7" fmla="*/ 0 h 17"/>
                    <a:gd name="T8" fmla="*/ 0 w 62"/>
                    <a:gd name="T9" fmla="*/ 2147483647 h 17"/>
                    <a:gd name="T10" fmla="*/ 2147483647 w 62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2"/>
                    <a:gd name="T19" fmla="*/ 0 h 17"/>
                    <a:gd name="T20" fmla="*/ 62 w 62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2" h="17">
                      <a:moveTo>
                        <a:pt x="35" y="17"/>
                      </a:moveTo>
                      <a:lnTo>
                        <a:pt x="62" y="9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9"/>
                      </a:lnTo>
                      <a:lnTo>
                        <a:pt x="35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4" name="Freeform 209"/>
                <p:cNvSpPr>
                  <a:spLocks/>
                </p:cNvSpPr>
                <p:nvPr/>
              </p:nvSpPr>
              <p:spPr bwMode="auto">
                <a:xfrm>
                  <a:off x="4922311" y="128831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2147483647 w 26"/>
                    <a:gd name="T3" fmla="*/ 2147483647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2147483647 h 18"/>
                    <a:gd name="T12" fmla="*/ 2147483647 w 26"/>
                    <a:gd name="T13" fmla="*/ 0 h 18"/>
                    <a:gd name="T14" fmla="*/ 2147483647 w 26"/>
                    <a:gd name="T15" fmla="*/ 0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6"/>
                    <a:gd name="T25" fmla="*/ 0 h 18"/>
                    <a:gd name="T26" fmla="*/ 26 w 26"/>
                    <a:gd name="T27" fmla="*/ 18 h 1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6" h="18">
                      <a:moveTo>
                        <a:pt x="17" y="0"/>
                      </a:moveTo>
                      <a:lnTo>
                        <a:pt x="9" y="9"/>
                      </a:lnTo>
                      <a:lnTo>
                        <a:pt x="0" y="9"/>
                      </a:lnTo>
                      <a:lnTo>
                        <a:pt x="9" y="18"/>
                      </a:lnTo>
                      <a:lnTo>
                        <a:pt x="26" y="18"/>
                      </a:lnTo>
                      <a:lnTo>
                        <a:pt x="26" y="9"/>
                      </a:lnTo>
                      <a:lnTo>
                        <a:pt x="26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5" name="Freeform 210"/>
                <p:cNvSpPr>
                  <a:spLocks/>
                </p:cNvSpPr>
                <p:nvPr/>
              </p:nvSpPr>
              <p:spPr bwMode="auto">
                <a:xfrm>
                  <a:off x="4922311" y="128831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2147483647 w 26"/>
                    <a:gd name="T3" fmla="*/ 2147483647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2147483647 h 18"/>
                    <a:gd name="T12" fmla="*/ 2147483647 w 26"/>
                    <a:gd name="T13" fmla="*/ 0 h 18"/>
                    <a:gd name="T14" fmla="*/ 2147483647 w 26"/>
                    <a:gd name="T15" fmla="*/ 0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6"/>
                    <a:gd name="T25" fmla="*/ 0 h 18"/>
                    <a:gd name="T26" fmla="*/ 26 w 26"/>
                    <a:gd name="T27" fmla="*/ 18 h 1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6" h="18">
                      <a:moveTo>
                        <a:pt x="17" y="0"/>
                      </a:moveTo>
                      <a:lnTo>
                        <a:pt x="9" y="9"/>
                      </a:lnTo>
                      <a:lnTo>
                        <a:pt x="0" y="9"/>
                      </a:lnTo>
                      <a:lnTo>
                        <a:pt x="9" y="18"/>
                      </a:lnTo>
                      <a:lnTo>
                        <a:pt x="26" y="18"/>
                      </a:lnTo>
                      <a:lnTo>
                        <a:pt x="26" y="9"/>
                      </a:lnTo>
                      <a:lnTo>
                        <a:pt x="26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6" name="Freeform 211"/>
                <p:cNvSpPr>
                  <a:spLocks/>
                </p:cNvSpPr>
                <p:nvPr/>
              </p:nvSpPr>
              <p:spPr bwMode="auto">
                <a:xfrm>
                  <a:off x="4950165" y="1297956"/>
                  <a:ext cx="47137" cy="18205"/>
                </a:xfrm>
                <a:custGeom>
                  <a:avLst/>
                  <a:gdLst>
                    <a:gd name="T0" fmla="*/ 0 w 44"/>
                    <a:gd name="T1" fmla="*/ 2147483647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2147483647 w 44"/>
                    <a:gd name="T11" fmla="*/ 2147483647 h 17"/>
                    <a:gd name="T12" fmla="*/ 0 w 44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7"/>
                    <a:gd name="T23" fmla="*/ 44 w 44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7">
                      <a:moveTo>
                        <a:pt x="0" y="17"/>
                      </a:moveTo>
                      <a:lnTo>
                        <a:pt x="26" y="17"/>
                      </a:lnTo>
                      <a:lnTo>
                        <a:pt x="35" y="9"/>
                      </a:lnTo>
                      <a:lnTo>
                        <a:pt x="44" y="0"/>
                      </a:lnTo>
                      <a:lnTo>
                        <a:pt x="26" y="0"/>
                      </a:lnTo>
                      <a:lnTo>
                        <a:pt x="17" y="9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7" name="Freeform 212"/>
                <p:cNvSpPr>
                  <a:spLocks/>
                </p:cNvSpPr>
                <p:nvPr/>
              </p:nvSpPr>
              <p:spPr bwMode="auto">
                <a:xfrm>
                  <a:off x="4950165" y="1297956"/>
                  <a:ext cx="47137" cy="18205"/>
                </a:xfrm>
                <a:custGeom>
                  <a:avLst/>
                  <a:gdLst>
                    <a:gd name="T0" fmla="*/ 0 w 44"/>
                    <a:gd name="T1" fmla="*/ 2147483647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2147483647 w 44"/>
                    <a:gd name="T11" fmla="*/ 2147483647 h 17"/>
                    <a:gd name="T12" fmla="*/ 0 w 44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7"/>
                    <a:gd name="T23" fmla="*/ 44 w 44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7">
                      <a:moveTo>
                        <a:pt x="0" y="17"/>
                      </a:moveTo>
                      <a:lnTo>
                        <a:pt x="26" y="17"/>
                      </a:lnTo>
                      <a:lnTo>
                        <a:pt x="35" y="9"/>
                      </a:lnTo>
                      <a:lnTo>
                        <a:pt x="44" y="0"/>
                      </a:lnTo>
                      <a:lnTo>
                        <a:pt x="26" y="0"/>
                      </a:lnTo>
                      <a:lnTo>
                        <a:pt x="17" y="9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8" name="Freeform 213"/>
                <p:cNvSpPr>
                  <a:spLocks/>
                </p:cNvSpPr>
                <p:nvPr/>
              </p:nvSpPr>
              <p:spPr bwMode="auto">
                <a:xfrm>
                  <a:off x="4809826" y="1297956"/>
                  <a:ext cx="74990" cy="18205"/>
                </a:xfrm>
                <a:custGeom>
                  <a:avLst/>
                  <a:gdLst>
                    <a:gd name="T0" fmla="*/ 2147483647 w 70"/>
                    <a:gd name="T1" fmla="*/ 2147483647 h 17"/>
                    <a:gd name="T2" fmla="*/ 2147483647 w 70"/>
                    <a:gd name="T3" fmla="*/ 2147483647 h 17"/>
                    <a:gd name="T4" fmla="*/ 2147483647 w 70"/>
                    <a:gd name="T5" fmla="*/ 2147483647 h 17"/>
                    <a:gd name="T6" fmla="*/ 2147483647 w 70"/>
                    <a:gd name="T7" fmla="*/ 0 h 17"/>
                    <a:gd name="T8" fmla="*/ 0 w 70"/>
                    <a:gd name="T9" fmla="*/ 2147483647 h 17"/>
                    <a:gd name="T10" fmla="*/ 0 w 70"/>
                    <a:gd name="T11" fmla="*/ 2147483647 h 17"/>
                    <a:gd name="T12" fmla="*/ 2147483647 w 70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0"/>
                    <a:gd name="T22" fmla="*/ 0 h 17"/>
                    <a:gd name="T23" fmla="*/ 70 w 70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0" h="17">
                      <a:moveTo>
                        <a:pt x="18" y="9"/>
                      </a:moveTo>
                      <a:lnTo>
                        <a:pt x="18" y="17"/>
                      </a:lnTo>
                      <a:lnTo>
                        <a:pt x="70" y="9"/>
                      </a:lnTo>
                      <a:lnTo>
                        <a:pt x="35" y="0"/>
                      </a:lnTo>
                      <a:lnTo>
                        <a:pt x="0" y="9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9" name="Freeform 214"/>
                <p:cNvSpPr>
                  <a:spLocks/>
                </p:cNvSpPr>
                <p:nvPr/>
              </p:nvSpPr>
              <p:spPr bwMode="auto">
                <a:xfrm>
                  <a:off x="4809826" y="1297956"/>
                  <a:ext cx="74990" cy="18205"/>
                </a:xfrm>
                <a:custGeom>
                  <a:avLst/>
                  <a:gdLst>
                    <a:gd name="T0" fmla="*/ 2147483647 w 70"/>
                    <a:gd name="T1" fmla="*/ 2147483647 h 17"/>
                    <a:gd name="T2" fmla="*/ 2147483647 w 70"/>
                    <a:gd name="T3" fmla="*/ 2147483647 h 17"/>
                    <a:gd name="T4" fmla="*/ 2147483647 w 70"/>
                    <a:gd name="T5" fmla="*/ 2147483647 h 17"/>
                    <a:gd name="T6" fmla="*/ 2147483647 w 70"/>
                    <a:gd name="T7" fmla="*/ 0 h 17"/>
                    <a:gd name="T8" fmla="*/ 0 w 70"/>
                    <a:gd name="T9" fmla="*/ 2147483647 h 17"/>
                    <a:gd name="T10" fmla="*/ 0 w 70"/>
                    <a:gd name="T11" fmla="*/ 2147483647 h 17"/>
                    <a:gd name="T12" fmla="*/ 2147483647 w 70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0"/>
                    <a:gd name="T22" fmla="*/ 0 h 17"/>
                    <a:gd name="T23" fmla="*/ 70 w 70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0" h="17">
                      <a:moveTo>
                        <a:pt x="18" y="9"/>
                      </a:moveTo>
                      <a:lnTo>
                        <a:pt x="18" y="17"/>
                      </a:lnTo>
                      <a:lnTo>
                        <a:pt x="70" y="9"/>
                      </a:lnTo>
                      <a:lnTo>
                        <a:pt x="35" y="0"/>
                      </a:lnTo>
                      <a:lnTo>
                        <a:pt x="0" y="9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0" name="Freeform 215"/>
                <p:cNvSpPr>
                  <a:spLocks/>
                </p:cNvSpPr>
                <p:nvPr/>
              </p:nvSpPr>
              <p:spPr bwMode="auto">
                <a:xfrm>
                  <a:off x="4968376" y="1409326"/>
                  <a:ext cx="84632" cy="47118"/>
                </a:xfrm>
                <a:custGeom>
                  <a:avLst/>
                  <a:gdLst>
                    <a:gd name="T0" fmla="*/ 2147483647 w 79"/>
                    <a:gd name="T1" fmla="*/ 0 h 44"/>
                    <a:gd name="T2" fmla="*/ 0 w 79"/>
                    <a:gd name="T3" fmla="*/ 2147483647 h 44"/>
                    <a:gd name="T4" fmla="*/ 2147483647 w 79"/>
                    <a:gd name="T5" fmla="*/ 2147483647 h 44"/>
                    <a:gd name="T6" fmla="*/ 2147483647 w 79"/>
                    <a:gd name="T7" fmla="*/ 2147483647 h 44"/>
                    <a:gd name="T8" fmla="*/ 2147483647 w 79"/>
                    <a:gd name="T9" fmla="*/ 2147483647 h 44"/>
                    <a:gd name="T10" fmla="*/ 2147483647 w 79"/>
                    <a:gd name="T11" fmla="*/ 0 h 4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9"/>
                    <a:gd name="T19" fmla="*/ 0 h 44"/>
                    <a:gd name="T20" fmla="*/ 79 w 79"/>
                    <a:gd name="T21" fmla="*/ 44 h 4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9" h="44">
                      <a:moveTo>
                        <a:pt x="9" y="0"/>
                      </a:moveTo>
                      <a:lnTo>
                        <a:pt x="0" y="27"/>
                      </a:lnTo>
                      <a:lnTo>
                        <a:pt x="18" y="35"/>
                      </a:lnTo>
                      <a:lnTo>
                        <a:pt x="79" y="44"/>
                      </a:lnTo>
                      <a:lnTo>
                        <a:pt x="35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1" name="Freeform 216"/>
                <p:cNvSpPr>
                  <a:spLocks/>
                </p:cNvSpPr>
                <p:nvPr/>
              </p:nvSpPr>
              <p:spPr bwMode="auto">
                <a:xfrm>
                  <a:off x="4968376" y="1409326"/>
                  <a:ext cx="84632" cy="47118"/>
                </a:xfrm>
                <a:custGeom>
                  <a:avLst/>
                  <a:gdLst>
                    <a:gd name="T0" fmla="*/ 2147483647 w 79"/>
                    <a:gd name="T1" fmla="*/ 0 h 44"/>
                    <a:gd name="T2" fmla="*/ 0 w 79"/>
                    <a:gd name="T3" fmla="*/ 2147483647 h 44"/>
                    <a:gd name="T4" fmla="*/ 2147483647 w 79"/>
                    <a:gd name="T5" fmla="*/ 2147483647 h 44"/>
                    <a:gd name="T6" fmla="*/ 2147483647 w 79"/>
                    <a:gd name="T7" fmla="*/ 2147483647 h 44"/>
                    <a:gd name="T8" fmla="*/ 2147483647 w 79"/>
                    <a:gd name="T9" fmla="*/ 2147483647 h 44"/>
                    <a:gd name="T10" fmla="*/ 2147483647 w 79"/>
                    <a:gd name="T11" fmla="*/ 0 h 4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9"/>
                    <a:gd name="T19" fmla="*/ 0 h 44"/>
                    <a:gd name="T20" fmla="*/ 79 w 79"/>
                    <a:gd name="T21" fmla="*/ 44 h 4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9" h="44">
                      <a:moveTo>
                        <a:pt x="9" y="0"/>
                      </a:moveTo>
                      <a:lnTo>
                        <a:pt x="0" y="27"/>
                      </a:lnTo>
                      <a:lnTo>
                        <a:pt x="18" y="35"/>
                      </a:lnTo>
                      <a:lnTo>
                        <a:pt x="79" y="44"/>
                      </a:lnTo>
                      <a:lnTo>
                        <a:pt x="35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2" name="Freeform 217"/>
                <p:cNvSpPr>
                  <a:spLocks/>
                </p:cNvSpPr>
                <p:nvPr/>
              </p:nvSpPr>
              <p:spPr bwMode="auto">
                <a:xfrm>
                  <a:off x="4997302" y="1297956"/>
                  <a:ext cx="36424" cy="9638"/>
                </a:xfrm>
                <a:custGeom>
                  <a:avLst/>
                  <a:gdLst>
                    <a:gd name="T0" fmla="*/ 2147483647 w 34"/>
                    <a:gd name="T1" fmla="*/ 0 h 9"/>
                    <a:gd name="T2" fmla="*/ 2147483647 w 34"/>
                    <a:gd name="T3" fmla="*/ 0 h 9"/>
                    <a:gd name="T4" fmla="*/ 0 w 34"/>
                    <a:gd name="T5" fmla="*/ 2147483647 h 9"/>
                    <a:gd name="T6" fmla="*/ 2147483647 w 34"/>
                    <a:gd name="T7" fmla="*/ 2147483647 h 9"/>
                    <a:gd name="T8" fmla="*/ 2147483647 w 34"/>
                    <a:gd name="T9" fmla="*/ 2147483647 h 9"/>
                    <a:gd name="T10" fmla="*/ 2147483647 w 3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4"/>
                    <a:gd name="T19" fmla="*/ 0 h 9"/>
                    <a:gd name="T20" fmla="*/ 34 w 3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4" h="9">
                      <a:moveTo>
                        <a:pt x="34" y="0"/>
                      </a:move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8" y="9"/>
                      </a:lnTo>
                      <a:lnTo>
                        <a:pt x="26" y="9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3" name="Freeform 218"/>
                <p:cNvSpPr>
                  <a:spLocks/>
                </p:cNvSpPr>
                <p:nvPr/>
              </p:nvSpPr>
              <p:spPr bwMode="auto">
                <a:xfrm>
                  <a:off x="4997302" y="1297956"/>
                  <a:ext cx="36424" cy="9638"/>
                </a:xfrm>
                <a:custGeom>
                  <a:avLst/>
                  <a:gdLst>
                    <a:gd name="T0" fmla="*/ 2147483647 w 34"/>
                    <a:gd name="T1" fmla="*/ 0 h 9"/>
                    <a:gd name="T2" fmla="*/ 2147483647 w 34"/>
                    <a:gd name="T3" fmla="*/ 0 h 9"/>
                    <a:gd name="T4" fmla="*/ 0 w 34"/>
                    <a:gd name="T5" fmla="*/ 2147483647 h 9"/>
                    <a:gd name="T6" fmla="*/ 2147483647 w 34"/>
                    <a:gd name="T7" fmla="*/ 2147483647 h 9"/>
                    <a:gd name="T8" fmla="*/ 2147483647 w 34"/>
                    <a:gd name="T9" fmla="*/ 2147483647 h 9"/>
                    <a:gd name="T10" fmla="*/ 2147483647 w 3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4"/>
                    <a:gd name="T19" fmla="*/ 0 h 9"/>
                    <a:gd name="T20" fmla="*/ 34 w 3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4" h="9">
                      <a:moveTo>
                        <a:pt x="34" y="0"/>
                      </a:move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8" y="9"/>
                      </a:lnTo>
                      <a:lnTo>
                        <a:pt x="26" y="9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4" name="Freeform 219"/>
                <p:cNvSpPr>
                  <a:spLocks/>
                </p:cNvSpPr>
                <p:nvPr/>
              </p:nvSpPr>
              <p:spPr bwMode="auto">
                <a:xfrm>
                  <a:off x="4978018" y="1353641"/>
                  <a:ext cx="149980" cy="55685"/>
                </a:xfrm>
                <a:custGeom>
                  <a:avLst/>
                  <a:gdLst>
                    <a:gd name="T0" fmla="*/ 2147483647 w 140"/>
                    <a:gd name="T1" fmla="*/ 2147483647 h 52"/>
                    <a:gd name="T2" fmla="*/ 2147483647 w 140"/>
                    <a:gd name="T3" fmla="*/ 2147483647 h 52"/>
                    <a:gd name="T4" fmla="*/ 2147483647 w 140"/>
                    <a:gd name="T5" fmla="*/ 2147483647 h 52"/>
                    <a:gd name="T6" fmla="*/ 2147483647 w 140"/>
                    <a:gd name="T7" fmla="*/ 2147483647 h 52"/>
                    <a:gd name="T8" fmla="*/ 2147483647 w 140"/>
                    <a:gd name="T9" fmla="*/ 2147483647 h 52"/>
                    <a:gd name="T10" fmla="*/ 2147483647 w 140"/>
                    <a:gd name="T11" fmla="*/ 0 h 52"/>
                    <a:gd name="T12" fmla="*/ 2147483647 w 140"/>
                    <a:gd name="T13" fmla="*/ 0 h 52"/>
                    <a:gd name="T14" fmla="*/ 2147483647 w 140"/>
                    <a:gd name="T15" fmla="*/ 2147483647 h 52"/>
                    <a:gd name="T16" fmla="*/ 2147483647 w 140"/>
                    <a:gd name="T17" fmla="*/ 0 h 52"/>
                    <a:gd name="T18" fmla="*/ 2147483647 w 140"/>
                    <a:gd name="T19" fmla="*/ 2147483647 h 52"/>
                    <a:gd name="T20" fmla="*/ 2147483647 w 140"/>
                    <a:gd name="T21" fmla="*/ 2147483647 h 52"/>
                    <a:gd name="T22" fmla="*/ 0 w 140"/>
                    <a:gd name="T23" fmla="*/ 2147483647 h 52"/>
                    <a:gd name="T24" fmla="*/ 2147483647 w 140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40"/>
                    <a:gd name="T40" fmla="*/ 0 h 52"/>
                    <a:gd name="T41" fmla="*/ 140 w 140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40" h="52">
                      <a:moveTo>
                        <a:pt x="35" y="52"/>
                      </a:moveTo>
                      <a:lnTo>
                        <a:pt x="44" y="44"/>
                      </a:lnTo>
                      <a:lnTo>
                        <a:pt x="79" y="26"/>
                      </a:lnTo>
                      <a:lnTo>
                        <a:pt x="105" y="26"/>
                      </a:lnTo>
                      <a:lnTo>
                        <a:pt x="140" y="9"/>
                      </a:lnTo>
                      <a:lnTo>
                        <a:pt x="140" y="0"/>
                      </a:lnTo>
                      <a:lnTo>
                        <a:pt x="114" y="0"/>
                      </a:lnTo>
                      <a:lnTo>
                        <a:pt x="105" y="9"/>
                      </a:lnTo>
                      <a:lnTo>
                        <a:pt x="87" y="0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0" y="44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5" name="Freeform 220"/>
                <p:cNvSpPr>
                  <a:spLocks/>
                </p:cNvSpPr>
                <p:nvPr/>
              </p:nvSpPr>
              <p:spPr bwMode="auto">
                <a:xfrm>
                  <a:off x="4978018" y="1353641"/>
                  <a:ext cx="149980" cy="55685"/>
                </a:xfrm>
                <a:custGeom>
                  <a:avLst/>
                  <a:gdLst>
                    <a:gd name="T0" fmla="*/ 2147483647 w 140"/>
                    <a:gd name="T1" fmla="*/ 2147483647 h 52"/>
                    <a:gd name="T2" fmla="*/ 2147483647 w 140"/>
                    <a:gd name="T3" fmla="*/ 2147483647 h 52"/>
                    <a:gd name="T4" fmla="*/ 2147483647 w 140"/>
                    <a:gd name="T5" fmla="*/ 2147483647 h 52"/>
                    <a:gd name="T6" fmla="*/ 2147483647 w 140"/>
                    <a:gd name="T7" fmla="*/ 2147483647 h 52"/>
                    <a:gd name="T8" fmla="*/ 2147483647 w 140"/>
                    <a:gd name="T9" fmla="*/ 2147483647 h 52"/>
                    <a:gd name="T10" fmla="*/ 2147483647 w 140"/>
                    <a:gd name="T11" fmla="*/ 0 h 52"/>
                    <a:gd name="T12" fmla="*/ 2147483647 w 140"/>
                    <a:gd name="T13" fmla="*/ 0 h 52"/>
                    <a:gd name="T14" fmla="*/ 2147483647 w 140"/>
                    <a:gd name="T15" fmla="*/ 2147483647 h 52"/>
                    <a:gd name="T16" fmla="*/ 2147483647 w 140"/>
                    <a:gd name="T17" fmla="*/ 0 h 52"/>
                    <a:gd name="T18" fmla="*/ 2147483647 w 140"/>
                    <a:gd name="T19" fmla="*/ 2147483647 h 52"/>
                    <a:gd name="T20" fmla="*/ 2147483647 w 140"/>
                    <a:gd name="T21" fmla="*/ 2147483647 h 52"/>
                    <a:gd name="T22" fmla="*/ 0 w 140"/>
                    <a:gd name="T23" fmla="*/ 2147483647 h 52"/>
                    <a:gd name="T24" fmla="*/ 2147483647 w 140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40"/>
                    <a:gd name="T40" fmla="*/ 0 h 52"/>
                    <a:gd name="T41" fmla="*/ 140 w 140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40" h="52">
                      <a:moveTo>
                        <a:pt x="35" y="52"/>
                      </a:moveTo>
                      <a:lnTo>
                        <a:pt x="44" y="44"/>
                      </a:lnTo>
                      <a:lnTo>
                        <a:pt x="79" y="26"/>
                      </a:lnTo>
                      <a:lnTo>
                        <a:pt x="105" y="26"/>
                      </a:lnTo>
                      <a:lnTo>
                        <a:pt x="140" y="9"/>
                      </a:lnTo>
                      <a:lnTo>
                        <a:pt x="140" y="0"/>
                      </a:lnTo>
                      <a:lnTo>
                        <a:pt x="114" y="0"/>
                      </a:lnTo>
                      <a:lnTo>
                        <a:pt x="105" y="9"/>
                      </a:lnTo>
                      <a:lnTo>
                        <a:pt x="87" y="0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0" y="44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6" name="Freeform 221"/>
                <p:cNvSpPr>
                  <a:spLocks/>
                </p:cNvSpPr>
                <p:nvPr/>
              </p:nvSpPr>
              <p:spPr bwMode="auto">
                <a:xfrm>
                  <a:off x="4931953" y="1466082"/>
                  <a:ext cx="46066" cy="27842"/>
                </a:xfrm>
                <a:custGeom>
                  <a:avLst/>
                  <a:gdLst>
                    <a:gd name="T0" fmla="*/ 2147483647 w 43"/>
                    <a:gd name="T1" fmla="*/ 2147483647 h 26"/>
                    <a:gd name="T2" fmla="*/ 2147483647 w 43"/>
                    <a:gd name="T3" fmla="*/ 0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26"/>
                    <a:gd name="T17" fmla="*/ 43 w 43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26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26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7" name="Freeform 222"/>
                <p:cNvSpPr>
                  <a:spLocks/>
                </p:cNvSpPr>
                <p:nvPr/>
              </p:nvSpPr>
              <p:spPr bwMode="auto">
                <a:xfrm>
                  <a:off x="4931953" y="1466082"/>
                  <a:ext cx="46066" cy="27842"/>
                </a:xfrm>
                <a:custGeom>
                  <a:avLst/>
                  <a:gdLst>
                    <a:gd name="T0" fmla="*/ 2147483647 w 43"/>
                    <a:gd name="T1" fmla="*/ 2147483647 h 26"/>
                    <a:gd name="T2" fmla="*/ 2147483647 w 43"/>
                    <a:gd name="T3" fmla="*/ 0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26"/>
                    <a:gd name="T17" fmla="*/ 43 w 43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26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26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8" name="Freeform 223"/>
                <p:cNvSpPr>
                  <a:spLocks/>
                </p:cNvSpPr>
                <p:nvPr/>
              </p:nvSpPr>
              <p:spPr bwMode="auto">
                <a:xfrm>
                  <a:off x="5472953" y="1960821"/>
                  <a:ext cx="159622" cy="73890"/>
                </a:xfrm>
                <a:custGeom>
                  <a:avLst/>
                  <a:gdLst>
                    <a:gd name="T0" fmla="*/ 2147483647 w 149"/>
                    <a:gd name="T1" fmla="*/ 2147483647 h 69"/>
                    <a:gd name="T2" fmla="*/ 2147483647 w 149"/>
                    <a:gd name="T3" fmla="*/ 2147483647 h 69"/>
                    <a:gd name="T4" fmla="*/ 2147483647 w 149"/>
                    <a:gd name="T5" fmla="*/ 2147483647 h 69"/>
                    <a:gd name="T6" fmla="*/ 2147483647 w 149"/>
                    <a:gd name="T7" fmla="*/ 2147483647 h 69"/>
                    <a:gd name="T8" fmla="*/ 2147483647 w 149"/>
                    <a:gd name="T9" fmla="*/ 2147483647 h 69"/>
                    <a:gd name="T10" fmla="*/ 0 w 149"/>
                    <a:gd name="T11" fmla="*/ 2147483647 h 69"/>
                    <a:gd name="T12" fmla="*/ 2147483647 w 149"/>
                    <a:gd name="T13" fmla="*/ 2147483647 h 69"/>
                    <a:gd name="T14" fmla="*/ 2147483647 w 149"/>
                    <a:gd name="T15" fmla="*/ 2147483647 h 69"/>
                    <a:gd name="T16" fmla="*/ 2147483647 w 149"/>
                    <a:gd name="T17" fmla="*/ 2147483647 h 69"/>
                    <a:gd name="T18" fmla="*/ 2147483647 w 149"/>
                    <a:gd name="T19" fmla="*/ 2147483647 h 69"/>
                    <a:gd name="T20" fmla="*/ 2147483647 w 149"/>
                    <a:gd name="T21" fmla="*/ 2147483647 h 69"/>
                    <a:gd name="T22" fmla="*/ 2147483647 w 149"/>
                    <a:gd name="T23" fmla="*/ 2147483647 h 69"/>
                    <a:gd name="T24" fmla="*/ 2147483647 w 149"/>
                    <a:gd name="T25" fmla="*/ 2147483647 h 69"/>
                    <a:gd name="T26" fmla="*/ 2147483647 w 149"/>
                    <a:gd name="T27" fmla="*/ 2147483647 h 69"/>
                    <a:gd name="T28" fmla="*/ 2147483647 w 149"/>
                    <a:gd name="T29" fmla="*/ 0 h 69"/>
                    <a:gd name="T30" fmla="*/ 2147483647 w 149"/>
                    <a:gd name="T31" fmla="*/ 0 h 69"/>
                    <a:gd name="T32" fmla="*/ 2147483647 w 149"/>
                    <a:gd name="T33" fmla="*/ 2147483647 h 69"/>
                    <a:gd name="T34" fmla="*/ 2147483647 w 149"/>
                    <a:gd name="T35" fmla="*/ 0 h 69"/>
                    <a:gd name="T36" fmla="*/ 2147483647 w 149"/>
                    <a:gd name="T37" fmla="*/ 2147483647 h 69"/>
                    <a:gd name="T38" fmla="*/ 2147483647 w 149"/>
                    <a:gd name="T39" fmla="*/ 2147483647 h 69"/>
                    <a:gd name="T40" fmla="*/ 2147483647 w 149"/>
                    <a:gd name="T41" fmla="*/ 2147483647 h 69"/>
                    <a:gd name="T42" fmla="*/ 2147483647 w 149"/>
                    <a:gd name="T43" fmla="*/ 2147483647 h 6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49"/>
                    <a:gd name="T67" fmla="*/ 0 h 69"/>
                    <a:gd name="T68" fmla="*/ 149 w 149"/>
                    <a:gd name="T69" fmla="*/ 69 h 6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49" h="69">
                      <a:moveTo>
                        <a:pt x="18" y="26"/>
                      </a:moveTo>
                      <a:lnTo>
                        <a:pt x="35" y="26"/>
                      </a:lnTo>
                      <a:lnTo>
                        <a:pt x="53" y="43"/>
                      </a:lnTo>
                      <a:lnTo>
                        <a:pt x="35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9" y="61"/>
                      </a:lnTo>
                      <a:lnTo>
                        <a:pt x="44" y="69"/>
                      </a:lnTo>
                      <a:lnTo>
                        <a:pt x="79" y="61"/>
                      </a:lnTo>
                      <a:lnTo>
                        <a:pt x="79" y="43"/>
                      </a:lnTo>
                      <a:lnTo>
                        <a:pt x="105" y="43"/>
                      </a:lnTo>
                      <a:lnTo>
                        <a:pt x="114" y="26"/>
                      </a:lnTo>
                      <a:lnTo>
                        <a:pt x="149" y="26"/>
                      </a:lnTo>
                      <a:lnTo>
                        <a:pt x="149" y="8"/>
                      </a:lnTo>
                      <a:lnTo>
                        <a:pt x="131" y="0"/>
                      </a:lnTo>
                      <a:lnTo>
                        <a:pt x="53" y="0"/>
                      </a:lnTo>
                      <a:lnTo>
                        <a:pt x="44" y="8"/>
                      </a:lnTo>
                      <a:lnTo>
                        <a:pt x="18" y="0"/>
                      </a:lnTo>
                      <a:lnTo>
                        <a:pt x="9" y="8"/>
                      </a:lnTo>
                      <a:lnTo>
                        <a:pt x="18" y="8"/>
                      </a:lnTo>
                      <a:lnTo>
                        <a:pt x="9" y="26"/>
                      </a:lnTo>
                      <a:lnTo>
                        <a:pt x="1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9" name="Freeform 224"/>
                <p:cNvSpPr>
                  <a:spLocks/>
                </p:cNvSpPr>
                <p:nvPr/>
              </p:nvSpPr>
              <p:spPr bwMode="auto">
                <a:xfrm>
                  <a:off x="5472953" y="1960821"/>
                  <a:ext cx="159622" cy="73890"/>
                </a:xfrm>
                <a:custGeom>
                  <a:avLst/>
                  <a:gdLst>
                    <a:gd name="T0" fmla="*/ 2147483647 w 149"/>
                    <a:gd name="T1" fmla="*/ 2147483647 h 69"/>
                    <a:gd name="T2" fmla="*/ 2147483647 w 149"/>
                    <a:gd name="T3" fmla="*/ 2147483647 h 69"/>
                    <a:gd name="T4" fmla="*/ 2147483647 w 149"/>
                    <a:gd name="T5" fmla="*/ 2147483647 h 69"/>
                    <a:gd name="T6" fmla="*/ 2147483647 w 149"/>
                    <a:gd name="T7" fmla="*/ 2147483647 h 69"/>
                    <a:gd name="T8" fmla="*/ 2147483647 w 149"/>
                    <a:gd name="T9" fmla="*/ 2147483647 h 69"/>
                    <a:gd name="T10" fmla="*/ 0 w 149"/>
                    <a:gd name="T11" fmla="*/ 2147483647 h 69"/>
                    <a:gd name="T12" fmla="*/ 2147483647 w 149"/>
                    <a:gd name="T13" fmla="*/ 2147483647 h 69"/>
                    <a:gd name="T14" fmla="*/ 2147483647 w 149"/>
                    <a:gd name="T15" fmla="*/ 2147483647 h 69"/>
                    <a:gd name="T16" fmla="*/ 2147483647 w 149"/>
                    <a:gd name="T17" fmla="*/ 2147483647 h 69"/>
                    <a:gd name="T18" fmla="*/ 2147483647 w 149"/>
                    <a:gd name="T19" fmla="*/ 2147483647 h 69"/>
                    <a:gd name="T20" fmla="*/ 2147483647 w 149"/>
                    <a:gd name="T21" fmla="*/ 2147483647 h 69"/>
                    <a:gd name="T22" fmla="*/ 2147483647 w 149"/>
                    <a:gd name="T23" fmla="*/ 2147483647 h 69"/>
                    <a:gd name="T24" fmla="*/ 2147483647 w 149"/>
                    <a:gd name="T25" fmla="*/ 2147483647 h 69"/>
                    <a:gd name="T26" fmla="*/ 2147483647 w 149"/>
                    <a:gd name="T27" fmla="*/ 2147483647 h 69"/>
                    <a:gd name="T28" fmla="*/ 2147483647 w 149"/>
                    <a:gd name="T29" fmla="*/ 0 h 69"/>
                    <a:gd name="T30" fmla="*/ 2147483647 w 149"/>
                    <a:gd name="T31" fmla="*/ 0 h 69"/>
                    <a:gd name="T32" fmla="*/ 2147483647 w 149"/>
                    <a:gd name="T33" fmla="*/ 2147483647 h 69"/>
                    <a:gd name="T34" fmla="*/ 2147483647 w 149"/>
                    <a:gd name="T35" fmla="*/ 0 h 69"/>
                    <a:gd name="T36" fmla="*/ 2147483647 w 149"/>
                    <a:gd name="T37" fmla="*/ 2147483647 h 69"/>
                    <a:gd name="T38" fmla="*/ 2147483647 w 149"/>
                    <a:gd name="T39" fmla="*/ 2147483647 h 69"/>
                    <a:gd name="T40" fmla="*/ 2147483647 w 149"/>
                    <a:gd name="T41" fmla="*/ 2147483647 h 69"/>
                    <a:gd name="T42" fmla="*/ 2147483647 w 149"/>
                    <a:gd name="T43" fmla="*/ 2147483647 h 6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49"/>
                    <a:gd name="T67" fmla="*/ 0 h 69"/>
                    <a:gd name="T68" fmla="*/ 149 w 149"/>
                    <a:gd name="T69" fmla="*/ 69 h 6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49" h="69">
                      <a:moveTo>
                        <a:pt x="18" y="26"/>
                      </a:moveTo>
                      <a:lnTo>
                        <a:pt x="35" y="26"/>
                      </a:lnTo>
                      <a:lnTo>
                        <a:pt x="53" y="43"/>
                      </a:lnTo>
                      <a:lnTo>
                        <a:pt x="35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9" y="61"/>
                      </a:lnTo>
                      <a:lnTo>
                        <a:pt x="44" y="69"/>
                      </a:lnTo>
                      <a:lnTo>
                        <a:pt x="79" y="61"/>
                      </a:lnTo>
                      <a:lnTo>
                        <a:pt x="79" y="43"/>
                      </a:lnTo>
                      <a:lnTo>
                        <a:pt x="105" y="43"/>
                      </a:lnTo>
                      <a:lnTo>
                        <a:pt x="114" y="26"/>
                      </a:lnTo>
                      <a:lnTo>
                        <a:pt x="149" y="26"/>
                      </a:lnTo>
                      <a:lnTo>
                        <a:pt x="149" y="8"/>
                      </a:lnTo>
                      <a:lnTo>
                        <a:pt x="131" y="0"/>
                      </a:lnTo>
                      <a:lnTo>
                        <a:pt x="53" y="0"/>
                      </a:lnTo>
                      <a:lnTo>
                        <a:pt x="44" y="8"/>
                      </a:lnTo>
                      <a:lnTo>
                        <a:pt x="18" y="0"/>
                      </a:lnTo>
                      <a:lnTo>
                        <a:pt x="9" y="8"/>
                      </a:lnTo>
                      <a:lnTo>
                        <a:pt x="18" y="8"/>
                      </a:lnTo>
                      <a:lnTo>
                        <a:pt x="9" y="26"/>
                      </a:lnTo>
                      <a:lnTo>
                        <a:pt x="1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0" name="Freeform 225"/>
                <p:cNvSpPr>
                  <a:spLocks/>
                </p:cNvSpPr>
                <p:nvPr/>
              </p:nvSpPr>
              <p:spPr bwMode="auto">
                <a:xfrm>
                  <a:off x="5230842" y="1913703"/>
                  <a:ext cx="298889" cy="148851"/>
                </a:xfrm>
                <a:custGeom>
                  <a:avLst/>
                  <a:gdLst>
                    <a:gd name="T0" fmla="*/ 2147483647 w 279"/>
                    <a:gd name="T1" fmla="*/ 2147483647 h 139"/>
                    <a:gd name="T2" fmla="*/ 2147483647 w 279"/>
                    <a:gd name="T3" fmla="*/ 2147483647 h 139"/>
                    <a:gd name="T4" fmla="*/ 2147483647 w 279"/>
                    <a:gd name="T5" fmla="*/ 2147483647 h 139"/>
                    <a:gd name="T6" fmla="*/ 2147483647 w 279"/>
                    <a:gd name="T7" fmla="*/ 2147483647 h 139"/>
                    <a:gd name="T8" fmla="*/ 2147483647 w 279"/>
                    <a:gd name="T9" fmla="*/ 2147483647 h 139"/>
                    <a:gd name="T10" fmla="*/ 2147483647 w 279"/>
                    <a:gd name="T11" fmla="*/ 2147483647 h 139"/>
                    <a:gd name="T12" fmla="*/ 2147483647 w 279"/>
                    <a:gd name="T13" fmla="*/ 2147483647 h 139"/>
                    <a:gd name="T14" fmla="*/ 2147483647 w 279"/>
                    <a:gd name="T15" fmla="*/ 2147483647 h 139"/>
                    <a:gd name="T16" fmla="*/ 2147483647 w 279"/>
                    <a:gd name="T17" fmla="*/ 2147483647 h 139"/>
                    <a:gd name="T18" fmla="*/ 2147483647 w 279"/>
                    <a:gd name="T19" fmla="*/ 2147483647 h 139"/>
                    <a:gd name="T20" fmla="*/ 2147483647 w 279"/>
                    <a:gd name="T21" fmla="*/ 2147483647 h 139"/>
                    <a:gd name="T22" fmla="*/ 2147483647 w 279"/>
                    <a:gd name="T23" fmla="*/ 2147483647 h 139"/>
                    <a:gd name="T24" fmla="*/ 2147483647 w 279"/>
                    <a:gd name="T25" fmla="*/ 2147483647 h 139"/>
                    <a:gd name="T26" fmla="*/ 2147483647 w 279"/>
                    <a:gd name="T27" fmla="*/ 2147483647 h 139"/>
                    <a:gd name="T28" fmla="*/ 2147483647 w 279"/>
                    <a:gd name="T29" fmla="*/ 0 h 139"/>
                    <a:gd name="T30" fmla="*/ 2147483647 w 279"/>
                    <a:gd name="T31" fmla="*/ 2147483647 h 139"/>
                    <a:gd name="T32" fmla="*/ 2147483647 w 279"/>
                    <a:gd name="T33" fmla="*/ 2147483647 h 139"/>
                    <a:gd name="T34" fmla="*/ 2147483647 w 279"/>
                    <a:gd name="T35" fmla="*/ 0 h 139"/>
                    <a:gd name="T36" fmla="*/ 0 w 279"/>
                    <a:gd name="T37" fmla="*/ 0 h 139"/>
                    <a:gd name="T38" fmla="*/ 2147483647 w 279"/>
                    <a:gd name="T39" fmla="*/ 2147483647 h 139"/>
                    <a:gd name="T40" fmla="*/ 2147483647 w 279"/>
                    <a:gd name="T41" fmla="*/ 2147483647 h 139"/>
                    <a:gd name="T42" fmla="*/ 2147483647 w 279"/>
                    <a:gd name="T43" fmla="*/ 2147483647 h 139"/>
                    <a:gd name="T44" fmla="*/ 2147483647 w 279"/>
                    <a:gd name="T45" fmla="*/ 2147483647 h 139"/>
                    <a:gd name="T46" fmla="*/ 2147483647 w 279"/>
                    <a:gd name="T47" fmla="*/ 2147483647 h 139"/>
                    <a:gd name="T48" fmla="*/ 2147483647 w 279"/>
                    <a:gd name="T49" fmla="*/ 2147483647 h 139"/>
                    <a:gd name="T50" fmla="*/ 2147483647 w 279"/>
                    <a:gd name="T51" fmla="*/ 2147483647 h 139"/>
                    <a:gd name="T52" fmla="*/ 2147483647 w 279"/>
                    <a:gd name="T53" fmla="*/ 2147483647 h 139"/>
                    <a:gd name="T54" fmla="*/ 2147483647 w 279"/>
                    <a:gd name="T55" fmla="*/ 2147483647 h 139"/>
                    <a:gd name="T56" fmla="*/ 2147483647 w 279"/>
                    <a:gd name="T57" fmla="*/ 2147483647 h 139"/>
                    <a:gd name="T58" fmla="*/ 2147483647 w 279"/>
                    <a:gd name="T59" fmla="*/ 2147483647 h 139"/>
                    <a:gd name="T60" fmla="*/ 2147483647 w 279"/>
                    <a:gd name="T61" fmla="*/ 2147483647 h 139"/>
                    <a:gd name="T62" fmla="*/ 2147483647 w 279"/>
                    <a:gd name="T63" fmla="*/ 2147483647 h 139"/>
                    <a:gd name="T64" fmla="*/ 2147483647 w 279"/>
                    <a:gd name="T65" fmla="*/ 2147483647 h 139"/>
                    <a:gd name="T66" fmla="*/ 2147483647 w 279"/>
                    <a:gd name="T67" fmla="*/ 2147483647 h 139"/>
                    <a:gd name="T68" fmla="*/ 2147483647 w 279"/>
                    <a:gd name="T69" fmla="*/ 2147483647 h 139"/>
                    <a:gd name="T70" fmla="*/ 2147483647 w 279"/>
                    <a:gd name="T71" fmla="*/ 2147483647 h 139"/>
                    <a:gd name="T72" fmla="*/ 2147483647 w 279"/>
                    <a:gd name="T73" fmla="*/ 2147483647 h 139"/>
                    <a:gd name="T74" fmla="*/ 2147483647 w 279"/>
                    <a:gd name="T75" fmla="*/ 2147483647 h 139"/>
                    <a:gd name="T76" fmla="*/ 2147483647 w 279"/>
                    <a:gd name="T77" fmla="*/ 2147483647 h 139"/>
                    <a:gd name="T78" fmla="*/ 2147483647 w 279"/>
                    <a:gd name="T79" fmla="*/ 2147483647 h 139"/>
                    <a:gd name="T80" fmla="*/ 2147483647 w 279"/>
                    <a:gd name="T81" fmla="*/ 2147483647 h 139"/>
                    <a:gd name="T82" fmla="*/ 2147483647 w 279"/>
                    <a:gd name="T83" fmla="*/ 2147483647 h 139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79"/>
                    <a:gd name="T127" fmla="*/ 0 h 139"/>
                    <a:gd name="T128" fmla="*/ 279 w 279"/>
                    <a:gd name="T129" fmla="*/ 139 h 139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79" h="139">
                      <a:moveTo>
                        <a:pt x="261" y="70"/>
                      </a:moveTo>
                      <a:lnTo>
                        <a:pt x="244" y="70"/>
                      </a:lnTo>
                      <a:lnTo>
                        <a:pt x="235" y="70"/>
                      </a:lnTo>
                      <a:lnTo>
                        <a:pt x="244" y="52"/>
                      </a:lnTo>
                      <a:lnTo>
                        <a:pt x="235" y="52"/>
                      </a:lnTo>
                      <a:lnTo>
                        <a:pt x="218" y="61"/>
                      </a:lnTo>
                      <a:lnTo>
                        <a:pt x="209" y="78"/>
                      </a:lnTo>
                      <a:lnTo>
                        <a:pt x="191" y="70"/>
                      </a:lnTo>
                      <a:lnTo>
                        <a:pt x="174" y="70"/>
                      </a:lnTo>
                      <a:lnTo>
                        <a:pt x="165" y="44"/>
                      </a:lnTo>
                      <a:lnTo>
                        <a:pt x="139" y="26"/>
                      </a:lnTo>
                      <a:lnTo>
                        <a:pt x="130" y="35"/>
                      </a:lnTo>
                      <a:lnTo>
                        <a:pt x="113" y="26"/>
                      </a:lnTo>
                      <a:lnTo>
                        <a:pt x="95" y="26"/>
                      </a:lnTo>
                      <a:lnTo>
                        <a:pt x="43" y="0"/>
                      </a:lnTo>
                      <a:lnTo>
                        <a:pt x="34" y="17"/>
                      </a:lnTo>
                      <a:lnTo>
                        <a:pt x="26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70"/>
                      </a:lnTo>
                      <a:lnTo>
                        <a:pt x="26" y="70"/>
                      </a:lnTo>
                      <a:lnTo>
                        <a:pt x="26" y="61"/>
                      </a:lnTo>
                      <a:lnTo>
                        <a:pt x="43" y="52"/>
                      </a:lnTo>
                      <a:lnTo>
                        <a:pt x="52" y="44"/>
                      </a:lnTo>
                      <a:lnTo>
                        <a:pt x="69" y="61"/>
                      </a:lnTo>
                      <a:lnTo>
                        <a:pt x="78" y="70"/>
                      </a:lnTo>
                      <a:lnTo>
                        <a:pt x="104" y="78"/>
                      </a:lnTo>
                      <a:lnTo>
                        <a:pt x="130" y="113"/>
                      </a:lnTo>
                      <a:lnTo>
                        <a:pt x="165" y="122"/>
                      </a:lnTo>
                      <a:lnTo>
                        <a:pt x="183" y="139"/>
                      </a:lnTo>
                      <a:lnTo>
                        <a:pt x="209" y="139"/>
                      </a:lnTo>
                      <a:lnTo>
                        <a:pt x="218" y="131"/>
                      </a:lnTo>
                      <a:lnTo>
                        <a:pt x="209" y="113"/>
                      </a:lnTo>
                      <a:lnTo>
                        <a:pt x="200" y="105"/>
                      </a:lnTo>
                      <a:lnTo>
                        <a:pt x="209" y="96"/>
                      </a:lnTo>
                      <a:lnTo>
                        <a:pt x="218" y="96"/>
                      </a:lnTo>
                      <a:lnTo>
                        <a:pt x="218" y="78"/>
                      </a:lnTo>
                      <a:lnTo>
                        <a:pt x="235" y="78"/>
                      </a:lnTo>
                      <a:lnTo>
                        <a:pt x="244" y="87"/>
                      </a:lnTo>
                      <a:lnTo>
                        <a:pt x="261" y="96"/>
                      </a:lnTo>
                      <a:lnTo>
                        <a:pt x="279" y="87"/>
                      </a:lnTo>
                      <a:lnTo>
                        <a:pt x="261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1" name="Freeform 226"/>
                <p:cNvSpPr>
                  <a:spLocks/>
                </p:cNvSpPr>
                <p:nvPr/>
              </p:nvSpPr>
              <p:spPr bwMode="auto">
                <a:xfrm>
                  <a:off x="5230842" y="1913703"/>
                  <a:ext cx="298889" cy="148851"/>
                </a:xfrm>
                <a:custGeom>
                  <a:avLst/>
                  <a:gdLst>
                    <a:gd name="T0" fmla="*/ 2147483647 w 279"/>
                    <a:gd name="T1" fmla="*/ 2147483647 h 139"/>
                    <a:gd name="T2" fmla="*/ 2147483647 w 279"/>
                    <a:gd name="T3" fmla="*/ 2147483647 h 139"/>
                    <a:gd name="T4" fmla="*/ 2147483647 w 279"/>
                    <a:gd name="T5" fmla="*/ 2147483647 h 139"/>
                    <a:gd name="T6" fmla="*/ 2147483647 w 279"/>
                    <a:gd name="T7" fmla="*/ 2147483647 h 139"/>
                    <a:gd name="T8" fmla="*/ 2147483647 w 279"/>
                    <a:gd name="T9" fmla="*/ 2147483647 h 139"/>
                    <a:gd name="T10" fmla="*/ 2147483647 w 279"/>
                    <a:gd name="T11" fmla="*/ 2147483647 h 139"/>
                    <a:gd name="T12" fmla="*/ 2147483647 w 279"/>
                    <a:gd name="T13" fmla="*/ 2147483647 h 139"/>
                    <a:gd name="T14" fmla="*/ 2147483647 w 279"/>
                    <a:gd name="T15" fmla="*/ 2147483647 h 139"/>
                    <a:gd name="T16" fmla="*/ 2147483647 w 279"/>
                    <a:gd name="T17" fmla="*/ 2147483647 h 139"/>
                    <a:gd name="T18" fmla="*/ 2147483647 w 279"/>
                    <a:gd name="T19" fmla="*/ 2147483647 h 139"/>
                    <a:gd name="T20" fmla="*/ 2147483647 w 279"/>
                    <a:gd name="T21" fmla="*/ 2147483647 h 139"/>
                    <a:gd name="T22" fmla="*/ 2147483647 w 279"/>
                    <a:gd name="T23" fmla="*/ 2147483647 h 139"/>
                    <a:gd name="T24" fmla="*/ 2147483647 w 279"/>
                    <a:gd name="T25" fmla="*/ 2147483647 h 139"/>
                    <a:gd name="T26" fmla="*/ 2147483647 w 279"/>
                    <a:gd name="T27" fmla="*/ 2147483647 h 139"/>
                    <a:gd name="T28" fmla="*/ 2147483647 w 279"/>
                    <a:gd name="T29" fmla="*/ 0 h 139"/>
                    <a:gd name="T30" fmla="*/ 2147483647 w 279"/>
                    <a:gd name="T31" fmla="*/ 2147483647 h 139"/>
                    <a:gd name="T32" fmla="*/ 2147483647 w 279"/>
                    <a:gd name="T33" fmla="*/ 2147483647 h 139"/>
                    <a:gd name="T34" fmla="*/ 2147483647 w 279"/>
                    <a:gd name="T35" fmla="*/ 0 h 139"/>
                    <a:gd name="T36" fmla="*/ 0 w 279"/>
                    <a:gd name="T37" fmla="*/ 0 h 139"/>
                    <a:gd name="T38" fmla="*/ 2147483647 w 279"/>
                    <a:gd name="T39" fmla="*/ 2147483647 h 139"/>
                    <a:gd name="T40" fmla="*/ 2147483647 w 279"/>
                    <a:gd name="T41" fmla="*/ 2147483647 h 139"/>
                    <a:gd name="T42" fmla="*/ 2147483647 w 279"/>
                    <a:gd name="T43" fmla="*/ 2147483647 h 139"/>
                    <a:gd name="T44" fmla="*/ 2147483647 w 279"/>
                    <a:gd name="T45" fmla="*/ 2147483647 h 139"/>
                    <a:gd name="T46" fmla="*/ 2147483647 w 279"/>
                    <a:gd name="T47" fmla="*/ 2147483647 h 139"/>
                    <a:gd name="T48" fmla="*/ 2147483647 w 279"/>
                    <a:gd name="T49" fmla="*/ 2147483647 h 139"/>
                    <a:gd name="T50" fmla="*/ 2147483647 w 279"/>
                    <a:gd name="T51" fmla="*/ 2147483647 h 139"/>
                    <a:gd name="T52" fmla="*/ 2147483647 w 279"/>
                    <a:gd name="T53" fmla="*/ 2147483647 h 139"/>
                    <a:gd name="T54" fmla="*/ 2147483647 w 279"/>
                    <a:gd name="T55" fmla="*/ 2147483647 h 139"/>
                    <a:gd name="T56" fmla="*/ 2147483647 w 279"/>
                    <a:gd name="T57" fmla="*/ 2147483647 h 139"/>
                    <a:gd name="T58" fmla="*/ 2147483647 w 279"/>
                    <a:gd name="T59" fmla="*/ 2147483647 h 139"/>
                    <a:gd name="T60" fmla="*/ 2147483647 w 279"/>
                    <a:gd name="T61" fmla="*/ 2147483647 h 139"/>
                    <a:gd name="T62" fmla="*/ 2147483647 w 279"/>
                    <a:gd name="T63" fmla="*/ 2147483647 h 139"/>
                    <a:gd name="T64" fmla="*/ 2147483647 w 279"/>
                    <a:gd name="T65" fmla="*/ 2147483647 h 139"/>
                    <a:gd name="T66" fmla="*/ 2147483647 w 279"/>
                    <a:gd name="T67" fmla="*/ 2147483647 h 139"/>
                    <a:gd name="T68" fmla="*/ 2147483647 w 279"/>
                    <a:gd name="T69" fmla="*/ 2147483647 h 139"/>
                    <a:gd name="T70" fmla="*/ 2147483647 w 279"/>
                    <a:gd name="T71" fmla="*/ 2147483647 h 139"/>
                    <a:gd name="T72" fmla="*/ 2147483647 w 279"/>
                    <a:gd name="T73" fmla="*/ 2147483647 h 139"/>
                    <a:gd name="T74" fmla="*/ 2147483647 w 279"/>
                    <a:gd name="T75" fmla="*/ 2147483647 h 139"/>
                    <a:gd name="T76" fmla="*/ 2147483647 w 279"/>
                    <a:gd name="T77" fmla="*/ 2147483647 h 139"/>
                    <a:gd name="T78" fmla="*/ 2147483647 w 279"/>
                    <a:gd name="T79" fmla="*/ 2147483647 h 139"/>
                    <a:gd name="T80" fmla="*/ 2147483647 w 279"/>
                    <a:gd name="T81" fmla="*/ 2147483647 h 139"/>
                    <a:gd name="T82" fmla="*/ 2147483647 w 279"/>
                    <a:gd name="T83" fmla="*/ 2147483647 h 139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79"/>
                    <a:gd name="T127" fmla="*/ 0 h 139"/>
                    <a:gd name="T128" fmla="*/ 279 w 279"/>
                    <a:gd name="T129" fmla="*/ 139 h 139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79" h="139">
                      <a:moveTo>
                        <a:pt x="261" y="70"/>
                      </a:moveTo>
                      <a:lnTo>
                        <a:pt x="244" y="70"/>
                      </a:lnTo>
                      <a:lnTo>
                        <a:pt x="235" y="70"/>
                      </a:lnTo>
                      <a:lnTo>
                        <a:pt x="244" y="52"/>
                      </a:lnTo>
                      <a:lnTo>
                        <a:pt x="235" y="52"/>
                      </a:lnTo>
                      <a:lnTo>
                        <a:pt x="218" y="61"/>
                      </a:lnTo>
                      <a:lnTo>
                        <a:pt x="209" y="78"/>
                      </a:lnTo>
                      <a:lnTo>
                        <a:pt x="191" y="70"/>
                      </a:lnTo>
                      <a:lnTo>
                        <a:pt x="174" y="70"/>
                      </a:lnTo>
                      <a:lnTo>
                        <a:pt x="165" y="44"/>
                      </a:lnTo>
                      <a:lnTo>
                        <a:pt x="139" y="26"/>
                      </a:lnTo>
                      <a:lnTo>
                        <a:pt x="130" y="35"/>
                      </a:lnTo>
                      <a:lnTo>
                        <a:pt x="113" y="26"/>
                      </a:lnTo>
                      <a:lnTo>
                        <a:pt x="95" y="26"/>
                      </a:lnTo>
                      <a:lnTo>
                        <a:pt x="43" y="0"/>
                      </a:lnTo>
                      <a:lnTo>
                        <a:pt x="34" y="17"/>
                      </a:lnTo>
                      <a:lnTo>
                        <a:pt x="26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70"/>
                      </a:lnTo>
                      <a:lnTo>
                        <a:pt x="26" y="70"/>
                      </a:lnTo>
                      <a:lnTo>
                        <a:pt x="26" y="61"/>
                      </a:lnTo>
                      <a:lnTo>
                        <a:pt x="43" y="52"/>
                      </a:lnTo>
                      <a:lnTo>
                        <a:pt x="52" y="44"/>
                      </a:lnTo>
                      <a:lnTo>
                        <a:pt x="69" y="61"/>
                      </a:lnTo>
                      <a:lnTo>
                        <a:pt x="78" y="70"/>
                      </a:lnTo>
                      <a:lnTo>
                        <a:pt x="104" y="78"/>
                      </a:lnTo>
                      <a:lnTo>
                        <a:pt x="130" y="113"/>
                      </a:lnTo>
                      <a:lnTo>
                        <a:pt x="165" y="122"/>
                      </a:lnTo>
                      <a:lnTo>
                        <a:pt x="183" y="139"/>
                      </a:lnTo>
                      <a:lnTo>
                        <a:pt x="209" y="139"/>
                      </a:lnTo>
                      <a:lnTo>
                        <a:pt x="218" y="131"/>
                      </a:lnTo>
                      <a:lnTo>
                        <a:pt x="209" y="113"/>
                      </a:lnTo>
                      <a:lnTo>
                        <a:pt x="200" y="105"/>
                      </a:lnTo>
                      <a:lnTo>
                        <a:pt x="209" y="96"/>
                      </a:lnTo>
                      <a:lnTo>
                        <a:pt x="218" y="96"/>
                      </a:lnTo>
                      <a:lnTo>
                        <a:pt x="218" y="78"/>
                      </a:lnTo>
                      <a:lnTo>
                        <a:pt x="235" y="78"/>
                      </a:lnTo>
                      <a:lnTo>
                        <a:pt x="244" y="87"/>
                      </a:lnTo>
                      <a:lnTo>
                        <a:pt x="261" y="96"/>
                      </a:lnTo>
                      <a:lnTo>
                        <a:pt x="279" y="87"/>
                      </a:lnTo>
                      <a:lnTo>
                        <a:pt x="261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2" name="Freeform 227"/>
                <p:cNvSpPr>
                  <a:spLocks/>
                </p:cNvSpPr>
                <p:nvPr/>
              </p:nvSpPr>
              <p:spPr bwMode="auto">
                <a:xfrm>
                  <a:off x="5183705" y="1960821"/>
                  <a:ext cx="243182" cy="139212"/>
                </a:xfrm>
                <a:custGeom>
                  <a:avLst/>
                  <a:gdLst>
                    <a:gd name="T0" fmla="*/ 2147483647 w 227"/>
                    <a:gd name="T1" fmla="*/ 2147483647 h 130"/>
                    <a:gd name="T2" fmla="*/ 2147483647 w 227"/>
                    <a:gd name="T3" fmla="*/ 2147483647 h 130"/>
                    <a:gd name="T4" fmla="*/ 2147483647 w 227"/>
                    <a:gd name="T5" fmla="*/ 2147483647 h 130"/>
                    <a:gd name="T6" fmla="*/ 2147483647 w 227"/>
                    <a:gd name="T7" fmla="*/ 2147483647 h 130"/>
                    <a:gd name="T8" fmla="*/ 2147483647 w 227"/>
                    <a:gd name="T9" fmla="*/ 2147483647 h 130"/>
                    <a:gd name="T10" fmla="*/ 2147483647 w 227"/>
                    <a:gd name="T11" fmla="*/ 2147483647 h 130"/>
                    <a:gd name="T12" fmla="*/ 2147483647 w 227"/>
                    <a:gd name="T13" fmla="*/ 0 h 130"/>
                    <a:gd name="T14" fmla="*/ 2147483647 w 227"/>
                    <a:gd name="T15" fmla="*/ 2147483647 h 130"/>
                    <a:gd name="T16" fmla="*/ 2147483647 w 227"/>
                    <a:gd name="T17" fmla="*/ 2147483647 h 130"/>
                    <a:gd name="T18" fmla="*/ 2147483647 w 227"/>
                    <a:gd name="T19" fmla="*/ 2147483647 h 130"/>
                    <a:gd name="T20" fmla="*/ 2147483647 w 227"/>
                    <a:gd name="T21" fmla="*/ 2147483647 h 130"/>
                    <a:gd name="T22" fmla="*/ 2147483647 w 227"/>
                    <a:gd name="T23" fmla="*/ 2147483647 h 130"/>
                    <a:gd name="T24" fmla="*/ 2147483647 w 227"/>
                    <a:gd name="T25" fmla="*/ 2147483647 h 130"/>
                    <a:gd name="T26" fmla="*/ 0 w 227"/>
                    <a:gd name="T27" fmla="*/ 2147483647 h 130"/>
                    <a:gd name="T28" fmla="*/ 2147483647 w 227"/>
                    <a:gd name="T29" fmla="*/ 2147483647 h 130"/>
                    <a:gd name="T30" fmla="*/ 2147483647 w 227"/>
                    <a:gd name="T31" fmla="*/ 2147483647 h 130"/>
                    <a:gd name="T32" fmla="*/ 2147483647 w 227"/>
                    <a:gd name="T33" fmla="*/ 2147483647 h 130"/>
                    <a:gd name="T34" fmla="*/ 2147483647 w 227"/>
                    <a:gd name="T35" fmla="*/ 2147483647 h 130"/>
                    <a:gd name="T36" fmla="*/ 2147483647 w 227"/>
                    <a:gd name="T37" fmla="*/ 2147483647 h 130"/>
                    <a:gd name="T38" fmla="*/ 2147483647 w 227"/>
                    <a:gd name="T39" fmla="*/ 2147483647 h 130"/>
                    <a:gd name="T40" fmla="*/ 2147483647 w 227"/>
                    <a:gd name="T41" fmla="*/ 2147483647 h 130"/>
                    <a:gd name="T42" fmla="*/ 2147483647 w 227"/>
                    <a:gd name="T43" fmla="*/ 2147483647 h 130"/>
                    <a:gd name="T44" fmla="*/ 2147483647 w 227"/>
                    <a:gd name="T45" fmla="*/ 2147483647 h 130"/>
                    <a:gd name="T46" fmla="*/ 2147483647 w 227"/>
                    <a:gd name="T47" fmla="*/ 2147483647 h 130"/>
                    <a:gd name="T48" fmla="*/ 2147483647 w 227"/>
                    <a:gd name="T49" fmla="*/ 2147483647 h 130"/>
                    <a:gd name="T50" fmla="*/ 2147483647 w 227"/>
                    <a:gd name="T51" fmla="*/ 2147483647 h 13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27"/>
                    <a:gd name="T79" fmla="*/ 0 h 130"/>
                    <a:gd name="T80" fmla="*/ 227 w 227"/>
                    <a:gd name="T81" fmla="*/ 130 h 130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27" h="130">
                      <a:moveTo>
                        <a:pt x="227" y="95"/>
                      </a:moveTo>
                      <a:lnTo>
                        <a:pt x="209" y="78"/>
                      </a:lnTo>
                      <a:lnTo>
                        <a:pt x="174" y="69"/>
                      </a:lnTo>
                      <a:lnTo>
                        <a:pt x="148" y="34"/>
                      </a:lnTo>
                      <a:lnTo>
                        <a:pt x="122" y="26"/>
                      </a:lnTo>
                      <a:lnTo>
                        <a:pt x="113" y="17"/>
                      </a:lnTo>
                      <a:lnTo>
                        <a:pt x="96" y="0"/>
                      </a:lnTo>
                      <a:lnTo>
                        <a:pt x="87" y="8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35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0" y="34"/>
                      </a:lnTo>
                      <a:lnTo>
                        <a:pt x="17" y="43"/>
                      </a:lnTo>
                      <a:lnTo>
                        <a:pt x="9" y="69"/>
                      </a:lnTo>
                      <a:lnTo>
                        <a:pt x="26" y="61"/>
                      </a:lnTo>
                      <a:lnTo>
                        <a:pt x="26" y="78"/>
                      </a:lnTo>
                      <a:lnTo>
                        <a:pt x="44" y="95"/>
                      </a:lnTo>
                      <a:lnTo>
                        <a:pt x="70" y="78"/>
                      </a:lnTo>
                      <a:lnTo>
                        <a:pt x="113" y="78"/>
                      </a:lnTo>
                      <a:lnTo>
                        <a:pt x="166" y="113"/>
                      </a:lnTo>
                      <a:lnTo>
                        <a:pt x="174" y="130"/>
                      </a:lnTo>
                      <a:lnTo>
                        <a:pt x="192" y="130"/>
                      </a:lnTo>
                      <a:lnTo>
                        <a:pt x="209" y="122"/>
                      </a:lnTo>
                      <a:lnTo>
                        <a:pt x="227" y="9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3" name="Freeform 228"/>
                <p:cNvSpPr>
                  <a:spLocks/>
                </p:cNvSpPr>
                <p:nvPr/>
              </p:nvSpPr>
              <p:spPr bwMode="auto">
                <a:xfrm>
                  <a:off x="5183705" y="1960821"/>
                  <a:ext cx="243182" cy="139212"/>
                </a:xfrm>
                <a:custGeom>
                  <a:avLst/>
                  <a:gdLst>
                    <a:gd name="T0" fmla="*/ 2147483647 w 227"/>
                    <a:gd name="T1" fmla="*/ 2147483647 h 130"/>
                    <a:gd name="T2" fmla="*/ 2147483647 w 227"/>
                    <a:gd name="T3" fmla="*/ 2147483647 h 130"/>
                    <a:gd name="T4" fmla="*/ 2147483647 w 227"/>
                    <a:gd name="T5" fmla="*/ 2147483647 h 130"/>
                    <a:gd name="T6" fmla="*/ 2147483647 w 227"/>
                    <a:gd name="T7" fmla="*/ 2147483647 h 130"/>
                    <a:gd name="T8" fmla="*/ 2147483647 w 227"/>
                    <a:gd name="T9" fmla="*/ 2147483647 h 130"/>
                    <a:gd name="T10" fmla="*/ 2147483647 w 227"/>
                    <a:gd name="T11" fmla="*/ 2147483647 h 130"/>
                    <a:gd name="T12" fmla="*/ 2147483647 w 227"/>
                    <a:gd name="T13" fmla="*/ 0 h 130"/>
                    <a:gd name="T14" fmla="*/ 2147483647 w 227"/>
                    <a:gd name="T15" fmla="*/ 2147483647 h 130"/>
                    <a:gd name="T16" fmla="*/ 2147483647 w 227"/>
                    <a:gd name="T17" fmla="*/ 2147483647 h 130"/>
                    <a:gd name="T18" fmla="*/ 2147483647 w 227"/>
                    <a:gd name="T19" fmla="*/ 2147483647 h 130"/>
                    <a:gd name="T20" fmla="*/ 2147483647 w 227"/>
                    <a:gd name="T21" fmla="*/ 2147483647 h 130"/>
                    <a:gd name="T22" fmla="*/ 2147483647 w 227"/>
                    <a:gd name="T23" fmla="*/ 2147483647 h 130"/>
                    <a:gd name="T24" fmla="*/ 2147483647 w 227"/>
                    <a:gd name="T25" fmla="*/ 2147483647 h 130"/>
                    <a:gd name="T26" fmla="*/ 0 w 227"/>
                    <a:gd name="T27" fmla="*/ 2147483647 h 130"/>
                    <a:gd name="T28" fmla="*/ 2147483647 w 227"/>
                    <a:gd name="T29" fmla="*/ 2147483647 h 130"/>
                    <a:gd name="T30" fmla="*/ 2147483647 w 227"/>
                    <a:gd name="T31" fmla="*/ 2147483647 h 130"/>
                    <a:gd name="T32" fmla="*/ 2147483647 w 227"/>
                    <a:gd name="T33" fmla="*/ 2147483647 h 130"/>
                    <a:gd name="T34" fmla="*/ 2147483647 w 227"/>
                    <a:gd name="T35" fmla="*/ 2147483647 h 130"/>
                    <a:gd name="T36" fmla="*/ 2147483647 w 227"/>
                    <a:gd name="T37" fmla="*/ 2147483647 h 130"/>
                    <a:gd name="T38" fmla="*/ 2147483647 w 227"/>
                    <a:gd name="T39" fmla="*/ 2147483647 h 130"/>
                    <a:gd name="T40" fmla="*/ 2147483647 w 227"/>
                    <a:gd name="T41" fmla="*/ 2147483647 h 130"/>
                    <a:gd name="T42" fmla="*/ 2147483647 w 227"/>
                    <a:gd name="T43" fmla="*/ 2147483647 h 130"/>
                    <a:gd name="T44" fmla="*/ 2147483647 w 227"/>
                    <a:gd name="T45" fmla="*/ 2147483647 h 130"/>
                    <a:gd name="T46" fmla="*/ 2147483647 w 227"/>
                    <a:gd name="T47" fmla="*/ 2147483647 h 130"/>
                    <a:gd name="T48" fmla="*/ 2147483647 w 227"/>
                    <a:gd name="T49" fmla="*/ 2147483647 h 130"/>
                    <a:gd name="T50" fmla="*/ 2147483647 w 227"/>
                    <a:gd name="T51" fmla="*/ 2147483647 h 13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27"/>
                    <a:gd name="T79" fmla="*/ 0 h 130"/>
                    <a:gd name="T80" fmla="*/ 227 w 227"/>
                    <a:gd name="T81" fmla="*/ 130 h 130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27" h="130">
                      <a:moveTo>
                        <a:pt x="227" y="95"/>
                      </a:moveTo>
                      <a:lnTo>
                        <a:pt x="209" y="78"/>
                      </a:lnTo>
                      <a:lnTo>
                        <a:pt x="174" y="69"/>
                      </a:lnTo>
                      <a:lnTo>
                        <a:pt x="148" y="34"/>
                      </a:lnTo>
                      <a:lnTo>
                        <a:pt x="122" y="26"/>
                      </a:lnTo>
                      <a:lnTo>
                        <a:pt x="113" y="17"/>
                      </a:lnTo>
                      <a:lnTo>
                        <a:pt x="96" y="0"/>
                      </a:lnTo>
                      <a:lnTo>
                        <a:pt x="87" y="8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35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0" y="34"/>
                      </a:lnTo>
                      <a:lnTo>
                        <a:pt x="17" y="43"/>
                      </a:lnTo>
                      <a:lnTo>
                        <a:pt x="9" y="69"/>
                      </a:lnTo>
                      <a:lnTo>
                        <a:pt x="26" y="61"/>
                      </a:lnTo>
                      <a:lnTo>
                        <a:pt x="26" y="78"/>
                      </a:lnTo>
                      <a:lnTo>
                        <a:pt x="44" y="95"/>
                      </a:lnTo>
                      <a:lnTo>
                        <a:pt x="70" y="78"/>
                      </a:lnTo>
                      <a:lnTo>
                        <a:pt x="113" y="78"/>
                      </a:lnTo>
                      <a:lnTo>
                        <a:pt x="166" y="113"/>
                      </a:lnTo>
                      <a:lnTo>
                        <a:pt x="174" y="130"/>
                      </a:lnTo>
                      <a:lnTo>
                        <a:pt x="192" y="130"/>
                      </a:lnTo>
                      <a:lnTo>
                        <a:pt x="209" y="122"/>
                      </a:lnTo>
                      <a:lnTo>
                        <a:pt x="227" y="9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4" name="Freeform 229"/>
                <p:cNvSpPr>
                  <a:spLocks/>
                </p:cNvSpPr>
                <p:nvPr/>
              </p:nvSpPr>
              <p:spPr bwMode="auto">
                <a:xfrm>
                  <a:off x="5062650" y="1969388"/>
                  <a:ext cx="83560" cy="65323"/>
                </a:xfrm>
                <a:custGeom>
                  <a:avLst/>
                  <a:gdLst>
                    <a:gd name="T0" fmla="*/ 2147483647 w 78"/>
                    <a:gd name="T1" fmla="*/ 2147483647 h 61"/>
                    <a:gd name="T2" fmla="*/ 2147483647 w 78"/>
                    <a:gd name="T3" fmla="*/ 2147483647 h 61"/>
                    <a:gd name="T4" fmla="*/ 2147483647 w 78"/>
                    <a:gd name="T5" fmla="*/ 0 h 61"/>
                    <a:gd name="T6" fmla="*/ 2147483647 w 78"/>
                    <a:gd name="T7" fmla="*/ 2147483647 h 61"/>
                    <a:gd name="T8" fmla="*/ 2147483647 w 78"/>
                    <a:gd name="T9" fmla="*/ 0 h 61"/>
                    <a:gd name="T10" fmla="*/ 2147483647 w 78"/>
                    <a:gd name="T11" fmla="*/ 2147483647 h 61"/>
                    <a:gd name="T12" fmla="*/ 0 w 78"/>
                    <a:gd name="T13" fmla="*/ 2147483647 h 61"/>
                    <a:gd name="T14" fmla="*/ 2147483647 w 78"/>
                    <a:gd name="T15" fmla="*/ 2147483647 h 61"/>
                    <a:gd name="T16" fmla="*/ 2147483647 w 78"/>
                    <a:gd name="T17" fmla="*/ 2147483647 h 61"/>
                    <a:gd name="T18" fmla="*/ 2147483647 w 78"/>
                    <a:gd name="T19" fmla="*/ 2147483647 h 61"/>
                    <a:gd name="T20" fmla="*/ 2147483647 w 78"/>
                    <a:gd name="T21" fmla="*/ 2147483647 h 61"/>
                    <a:gd name="T22" fmla="*/ 2147483647 w 78"/>
                    <a:gd name="T23" fmla="*/ 2147483647 h 61"/>
                    <a:gd name="T24" fmla="*/ 2147483647 w 78"/>
                    <a:gd name="T25" fmla="*/ 2147483647 h 6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8"/>
                    <a:gd name="T40" fmla="*/ 0 h 61"/>
                    <a:gd name="T41" fmla="*/ 78 w 78"/>
                    <a:gd name="T42" fmla="*/ 61 h 6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8" h="61">
                      <a:moveTo>
                        <a:pt x="69" y="35"/>
                      </a:moveTo>
                      <a:lnTo>
                        <a:pt x="78" y="35"/>
                      </a:lnTo>
                      <a:lnTo>
                        <a:pt x="52" y="0"/>
                      </a:lnTo>
                      <a:lnTo>
                        <a:pt x="43" y="18"/>
                      </a:lnTo>
                      <a:lnTo>
                        <a:pt x="8" y="0"/>
                      </a:lnTo>
                      <a:lnTo>
                        <a:pt x="17" y="18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17" y="53"/>
                      </a:lnTo>
                      <a:lnTo>
                        <a:pt x="35" y="61"/>
                      </a:lnTo>
                      <a:lnTo>
                        <a:pt x="43" y="44"/>
                      </a:lnTo>
                      <a:lnTo>
                        <a:pt x="69" y="44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5" name="Freeform 230"/>
                <p:cNvSpPr>
                  <a:spLocks/>
                </p:cNvSpPr>
                <p:nvPr/>
              </p:nvSpPr>
              <p:spPr bwMode="auto">
                <a:xfrm>
                  <a:off x="5062650" y="1969388"/>
                  <a:ext cx="83560" cy="65323"/>
                </a:xfrm>
                <a:custGeom>
                  <a:avLst/>
                  <a:gdLst>
                    <a:gd name="T0" fmla="*/ 2147483647 w 78"/>
                    <a:gd name="T1" fmla="*/ 2147483647 h 61"/>
                    <a:gd name="T2" fmla="*/ 2147483647 w 78"/>
                    <a:gd name="T3" fmla="*/ 2147483647 h 61"/>
                    <a:gd name="T4" fmla="*/ 2147483647 w 78"/>
                    <a:gd name="T5" fmla="*/ 0 h 61"/>
                    <a:gd name="T6" fmla="*/ 2147483647 w 78"/>
                    <a:gd name="T7" fmla="*/ 2147483647 h 61"/>
                    <a:gd name="T8" fmla="*/ 2147483647 w 78"/>
                    <a:gd name="T9" fmla="*/ 0 h 61"/>
                    <a:gd name="T10" fmla="*/ 2147483647 w 78"/>
                    <a:gd name="T11" fmla="*/ 2147483647 h 61"/>
                    <a:gd name="T12" fmla="*/ 0 w 78"/>
                    <a:gd name="T13" fmla="*/ 2147483647 h 61"/>
                    <a:gd name="T14" fmla="*/ 2147483647 w 78"/>
                    <a:gd name="T15" fmla="*/ 2147483647 h 61"/>
                    <a:gd name="T16" fmla="*/ 2147483647 w 78"/>
                    <a:gd name="T17" fmla="*/ 2147483647 h 61"/>
                    <a:gd name="T18" fmla="*/ 2147483647 w 78"/>
                    <a:gd name="T19" fmla="*/ 2147483647 h 61"/>
                    <a:gd name="T20" fmla="*/ 2147483647 w 78"/>
                    <a:gd name="T21" fmla="*/ 2147483647 h 61"/>
                    <a:gd name="T22" fmla="*/ 2147483647 w 78"/>
                    <a:gd name="T23" fmla="*/ 2147483647 h 61"/>
                    <a:gd name="T24" fmla="*/ 2147483647 w 78"/>
                    <a:gd name="T25" fmla="*/ 2147483647 h 6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8"/>
                    <a:gd name="T40" fmla="*/ 0 h 61"/>
                    <a:gd name="T41" fmla="*/ 78 w 78"/>
                    <a:gd name="T42" fmla="*/ 61 h 6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8" h="61">
                      <a:moveTo>
                        <a:pt x="69" y="35"/>
                      </a:moveTo>
                      <a:lnTo>
                        <a:pt x="78" y="35"/>
                      </a:lnTo>
                      <a:lnTo>
                        <a:pt x="52" y="0"/>
                      </a:lnTo>
                      <a:lnTo>
                        <a:pt x="43" y="18"/>
                      </a:lnTo>
                      <a:lnTo>
                        <a:pt x="8" y="0"/>
                      </a:lnTo>
                      <a:lnTo>
                        <a:pt x="17" y="18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17" y="53"/>
                      </a:lnTo>
                      <a:lnTo>
                        <a:pt x="35" y="61"/>
                      </a:lnTo>
                      <a:lnTo>
                        <a:pt x="43" y="44"/>
                      </a:lnTo>
                      <a:lnTo>
                        <a:pt x="69" y="44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6" name="Freeform 231"/>
                <p:cNvSpPr>
                  <a:spLocks/>
                </p:cNvSpPr>
                <p:nvPr/>
              </p:nvSpPr>
              <p:spPr bwMode="auto">
                <a:xfrm>
                  <a:off x="4987660" y="1941546"/>
                  <a:ext cx="93202" cy="47118"/>
                </a:xfrm>
                <a:custGeom>
                  <a:avLst/>
                  <a:gdLst>
                    <a:gd name="T0" fmla="*/ 2147483647 w 87"/>
                    <a:gd name="T1" fmla="*/ 0 h 44"/>
                    <a:gd name="T2" fmla="*/ 2147483647 w 87"/>
                    <a:gd name="T3" fmla="*/ 2147483647 h 44"/>
                    <a:gd name="T4" fmla="*/ 0 w 87"/>
                    <a:gd name="T5" fmla="*/ 2147483647 h 44"/>
                    <a:gd name="T6" fmla="*/ 2147483647 w 87"/>
                    <a:gd name="T7" fmla="*/ 2147483647 h 44"/>
                    <a:gd name="T8" fmla="*/ 2147483647 w 87"/>
                    <a:gd name="T9" fmla="*/ 2147483647 h 44"/>
                    <a:gd name="T10" fmla="*/ 2147483647 w 87"/>
                    <a:gd name="T11" fmla="*/ 2147483647 h 44"/>
                    <a:gd name="T12" fmla="*/ 2147483647 w 87"/>
                    <a:gd name="T13" fmla="*/ 2147483647 h 44"/>
                    <a:gd name="T14" fmla="*/ 2147483647 w 87"/>
                    <a:gd name="T15" fmla="*/ 2147483647 h 44"/>
                    <a:gd name="T16" fmla="*/ 2147483647 w 87"/>
                    <a:gd name="T17" fmla="*/ 2147483647 h 44"/>
                    <a:gd name="T18" fmla="*/ 2147483647 w 87"/>
                    <a:gd name="T19" fmla="*/ 2147483647 h 44"/>
                    <a:gd name="T20" fmla="*/ 2147483647 w 87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7"/>
                    <a:gd name="T34" fmla="*/ 0 h 44"/>
                    <a:gd name="T35" fmla="*/ 87 w 87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7" h="44">
                      <a:moveTo>
                        <a:pt x="26" y="0"/>
                      </a:move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35"/>
                      </a:lnTo>
                      <a:lnTo>
                        <a:pt x="61" y="44"/>
                      </a:lnTo>
                      <a:lnTo>
                        <a:pt x="70" y="44"/>
                      </a:lnTo>
                      <a:lnTo>
                        <a:pt x="87" y="44"/>
                      </a:lnTo>
                      <a:lnTo>
                        <a:pt x="78" y="26"/>
                      </a:lnTo>
                      <a:lnTo>
                        <a:pt x="61" y="18"/>
                      </a:lnTo>
                      <a:lnTo>
                        <a:pt x="52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7" name="Freeform 232"/>
                <p:cNvSpPr>
                  <a:spLocks/>
                </p:cNvSpPr>
                <p:nvPr/>
              </p:nvSpPr>
              <p:spPr bwMode="auto">
                <a:xfrm>
                  <a:off x="4987660" y="1941546"/>
                  <a:ext cx="93202" cy="47118"/>
                </a:xfrm>
                <a:custGeom>
                  <a:avLst/>
                  <a:gdLst>
                    <a:gd name="T0" fmla="*/ 2147483647 w 87"/>
                    <a:gd name="T1" fmla="*/ 0 h 44"/>
                    <a:gd name="T2" fmla="*/ 2147483647 w 87"/>
                    <a:gd name="T3" fmla="*/ 2147483647 h 44"/>
                    <a:gd name="T4" fmla="*/ 0 w 87"/>
                    <a:gd name="T5" fmla="*/ 2147483647 h 44"/>
                    <a:gd name="T6" fmla="*/ 2147483647 w 87"/>
                    <a:gd name="T7" fmla="*/ 2147483647 h 44"/>
                    <a:gd name="T8" fmla="*/ 2147483647 w 87"/>
                    <a:gd name="T9" fmla="*/ 2147483647 h 44"/>
                    <a:gd name="T10" fmla="*/ 2147483647 w 87"/>
                    <a:gd name="T11" fmla="*/ 2147483647 h 44"/>
                    <a:gd name="T12" fmla="*/ 2147483647 w 87"/>
                    <a:gd name="T13" fmla="*/ 2147483647 h 44"/>
                    <a:gd name="T14" fmla="*/ 2147483647 w 87"/>
                    <a:gd name="T15" fmla="*/ 2147483647 h 44"/>
                    <a:gd name="T16" fmla="*/ 2147483647 w 87"/>
                    <a:gd name="T17" fmla="*/ 2147483647 h 44"/>
                    <a:gd name="T18" fmla="*/ 2147483647 w 87"/>
                    <a:gd name="T19" fmla="*/ 2147483647 h 44"/>
                    <a:gd name="T20" fmla="*/ 2147483647 w 87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7"/>
                    <a:gd name="T34" fmla="*/ 0 h 44"/>
                    <a:gd name="T35" fmla="*/ 87 w 87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7" h="44">
                      <a:moveTo>
                        <a:pt x="26" y="0"/>
                      </a:move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35"/>
                      </a:lnTo>
                      <a:lnTo>
                        <a:pt x="61" y="44"/>
                      </a:lnTo>
                      <a:lnTo>
                        <a:pt x="70" y="44"/>
                      </a:lnTo>
                      <a:lnTo>
                        <a:pt x="87" y="44"/>
                      </a:lnTo>
                      <a:lnTo>
                        <a:pt x="78" y="26"/>
                      </a:lnTo>
                      <a:lnTo>
                        <a:pt x="61" y="18"/>
                      </a:lnTo>
                      <a:lnTo>
                        <a:pt x="52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8" name="Freeform 233"/>
                <p:cNvSpPr>
                  <a:spLocks/>
                </p:cNvSpPr>
                <p:nvPr/>
              </p:nvSpPr>
              <p:spPr bwMode="auto">
                <a:xfrm>
                  <a:off x="5053008" y="1988664"/>
                  <a:ext cx="27853" cy="37481"/>
                </a:xfrm>
                <a:custGeom>
                  <a:avLst/>
                  <a:gdLst>
                    <a:gd name="T0" fmla="*/ 2147483647 w 26"/>
                    <a:gd name="T1" fmla="*/ 0 h 35"/>
                    <a:gd name="T2" fmla="*/ 0 w 26"/>
                    <a:gd name="T3" fmla="*/ 0 h 35"/>
                    <a:gd name="T4" fmla="*/ 0 w 26"/>
                    <a:gd name="T5" fmla="*/ 2147483647 h 35"/>
                    <a:gd name="T6" fmla="*/ 2147483647 w 26"/>
                    <a:gd name="T7" fmla="*/ 2147483647 h 35"/>
                    <a:gd name="T8" fmla="*/ 2147483647 w 26"/>
                    <a:gd name="T9" fmla="*/ 2147483647 h 35"/>
                    <a:gd name="T10" fmla="*/ 2147483647 w 26"/>
                    <a:gd name="T11" fmla="*/ 2147483647 h 35"/>
                    <a:gd name="T12" fmla="*/ 2147483647 w 26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35"/>
                    <a:gd name="T23" fmla="*/ 26 w 26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35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26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9" name="Freeform 234"/>
                <p:cNvSpPr>
                  <a:spLocks/>
                </p:cNvSpPr>
                <p:nvPr/>
              </p:nvSpPr>
              <p:spPr bwMode="auto">
                <a:xfrm>
                  <a:off x="5053008" y="1988664"/>
                  <a:ext cx="27853" cy="37481"/>
                </a:xfrm>
                <a:custGeom>
                  <a:avLst/>
                  <a:gdLst>
                    <a:gd name="T0" fmla="*/ 2147483647 w 26"/>
                    <a:gd name="T1" fmla="*/ 0 h 35"/>
                    <a:gd name="T2" fmla="*/ 0 w 26"/>
                    <a:gd name="T3" fmla="*/ 0 h 35"/>
                    <a:gd name="T4" fmla="*/ 0 w 26"/>
                    <a:gd name="T5" fmla="*/ 2147483647 h 35"/>
                    <a:gd name="T6" fmla="*/ 2147483647 w 26"/>
                    <a:gd name="T7" fmla="*/ 2147483647 h 35"/>
                    <a:gd name="T8" fmla="*/ 2147483647 w 26"/>
                    <a:gd name="T9" fmla="*/ 2147483647 h 35"/>
                    <a:gd name="T10" fmla="*/ 2147483647 w 26"/>
                    <a:gd name="T11" fmla="*/ 2147483647 h 35"/>
                    <a:gd name="T12" fmla="*/ 2147483647 w 26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35"/>
                    <a:gd name="T23" fmla="*/ 26 w 26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35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26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0" name="Freeform 235"/>
                <p:cNvSpPr>
                  <a:spLocks/>
                </p:cNvSpPr>
                <p:nvPr/>
              </p:nvSpPr>
              <p:spPr bwMode="auto">
                <a:xfrm>
                  <a:off x="4744478" y="1969388"/>
                  <a:ext cx="336384" cy="122079"/>
                </a:xfrm>
                <a:custGeom>
                  <a:avLst/>
                  <a:gdLst>
                    <a:gd name="T0" fmla="*/ 2147483647 w 314"/>
                    <a:gd name="T1" fmla="*/ 2147483647 h 114"/>
                    <a:gd name="T2" fmla="*/ 2147483647 w 314"/>
                    <a:gd name="T3" fmla="*/ 2147483647 h 114"/>
                    <a:gd name="T4" fmla="*/ 2147483647 w 314"/>
                    <a:gd name="T5" fmla="*/ 2147483647 h 114"/>
                    <a:gd name="T6" fmla="*/ 2147483647 w 314"/>
                    <a:gd name="T7" fmla="*/ 2147483647 h 114"/>
                    <a:gd name="T8" fmla="*/ 2147483647 w 314"/>
                    <a:gd name="T9" fmla="*/ 2147483647 h 114"/>
                    <a:gd name="T10" fmla="*/ 2147483647 w 314"/>
                    <a:gd name="T11" fmla="*/ 2147483647 h 114"/>
                    <a:gd name="T12" fmla="*/ 2147483647 w 314"/>
                    <a:gd name="T13" fmla="*/ 0 h 114"/>
                    <a:gd name="T14" fmla="*/ 2147483647 w 314"/>
                    <a:gd name="T15" fmla="*/ 0 h 114"/>
                    <a:gd name="T16" fmla="*/ 2147483647 w 314"/>
                    <a:gd name="T17" fmla="*/ 2147483647 h 114"/>
                    <a:gd name="T18" fmla="*/ 2147483647 w 314"/>
                    <a:gd name="T19" fmla="*/ 2147483647 h 114"/>
                    <a:gd name="T20" fmla="*/ 2147483647 w 314"/>
                    <a:gd name="T21" fmla="*/ 2147483647 h 114"/>
                    <a:gd name="T22" fmla="*/ 0 w 314"/>
                    <a:gd name="T23" fmla="*/ 2147483647 h 114"/>
                    <a:gd name="T24" fmla="*/ 0 w 314"/>
                    <a:gd name="T25" fmla="*/ 2147483647 h 114"/>
                    <a:gd name="T26" fmla="*/ 2147483647 w 314"/>
                    <a:gd name="T27" fmla="*/ 2147483647 h 114"/>
                    <a:gd name="T28" fmla="*/ 0 w 314"/>
                    <a:gd name="T29" fmla="*/ 2147483647 h 114"/>
                    <a:gd name="T30" fmla="*/ 2147483647 w 314"/>
                    <a:gd name="T31" fmla="*/ 2147483647 h 114"/>
                    <a:gd name="T32" fmla="*/ 2147483647 w 314"/>
                    <a:gd name="T33" fmla="*/ 2147483647 h 114"/>
                    <a:gd name="T34" fmla="*/ 2147483647 w 314"/>
                    <a:gd name="T35" fmla="*/ 2147483647 h 114"/>
                    <a:gd name="T36" fmla="*/ 2147483647 w 314"/>
                    <a:gd name="T37" fmla="*/ 2147483647 h 114"/>
                    <a:gd name="T38" fmla="*/ 2147483647 w 314"/>
                    <a:gd name="T39" fmla="*/ 2147483647 h 114"/>
                    <a:gd name="T40" fmla="*/ 2147483647 w 314"/>
                    <a:gd name="T41" fmla="*/ 2147483647 h 114"/>
                    <a:gd name="T42" fmla="*/ 2147483647 w 314"/>
                    <a:gd name="T43" fmla="*/ 2147483647 h 114"/>
                    <a:gd name="T44" fmla="*/ 2147483647 w 314"/>
                    <a:gd name="T45" fmla="*/ 2147483647 h 114"/>
                    <a:gd name="T46" fmla="*/ 2147483647 w 314"/>
                    <a:gd name="T47" fmla="*/ 2147483647 h 114"/>
                    <a:gd name="T48" fmla="*/ 2147483647 w 314"/>
                    <a:gd name="T49" fmla="*/ 2147483647 h 114"/>
                    <a:gd name="T50" fmla="*/ 2147483647 w 314"/>
                    <a:gd name="T51" fmla="*/ 2147483647 h 114"/>
                    <a:gd name="T52" fmla="*/ 2147483647 w 314"/>
                    <a:gd name="T53" fmla="*/ 2147483647 h 114"/>
                    <a:gd name="T54" fmla="*/ 2147483647 w 314"/>
                    <a:gd name="T55" fmla="*/ 2147483647 h 114"/>
                    <a:gd name="T56" fmla="*/ 2147483647 w 314"/>
                    <a:gd name="T57" fmla="*/ 2147483647 h 114"/>
                    <a:gd name="T58" fmla="*/ 2147483647 w 314"/>
                    <a:gd name="T59" fmla="*/ 2147483647 h 11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314"/>
                    <a:gd name="T91" fmla="*/ 0 h 114"/>
                    <a:gd name="T92" fmla="*/ 314 w 314"/>
                    <a:gd name="T93" fmla="*/ 114 h 11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314" h="114">
                      <a:moveTo>
                        <a:pt x="297" y="44"/>
                      </a:moveTo>
                      <a:lnTo>
                        <a:pt x="288" y="35"/>
                      </a:lnTo>
                      <a:lnTo>
                        <a:pt x="288" y="18"/>
                      </a:lnTo>
                      <a:lnTo>
                        <a:pt x="244" y="9"/>
                      </a:lnTo>
                      <a:lnTo>
                        <a:pt x="183" y="26"/>
                      </a:lnTo>
                      <a:lnTo>
                        <a:pt x="175" y="18"/>
                      </a:lnTo>
                      <a:lnTo>
                        <a:pt x="131" y="0"/>
                      </a:lnTo>
                      <a:lnTo>
                        <a:pt x="96" y="0"/>
                      </a:lnTo>
                      <a:lnTo>
                        <a:pt x="70" y="18"/>
                      </a:lnTo>
                      <a:lnTo>
                        <a:pt x="44" y="18"/>
                      </a:lnTo>
                      <a:lnTo>
                        <a:pt x="44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70" y="114"/>
                      </a:lnTo>
                      <a:lnTo>
                        <a:pt x="87" y="105"/>
                      </a:lnTo>
                      <a:lnTo>
                        <a:pt x="79" y="105"/>
                      </a:lnTo>
                      <a:lnTo>
                        <a:pt x="96" y="105"/>
                      </a:lnTo>
                      <a:lnTo>
                        <a:pt x="114" y="114"/>
                      </a:lnTo>
                      <a:lnTo>
                        <a:pt x="166" y="105"/>
                      </a:lnTo>
                      <a:lnTo>
                        <a:pt x="166" y="114"/>
                      </a:lnTo>
                      <a:lnTo>
                        <a:pt x="192" y="105"/>
                      </a:lnTo>
                      <a:lnTo>
                        <a:pt x="279" y="87"/>
                      </a:lnTo>
                      <a:lnTo>
                        <a:pt x="314" y="96"/>
                      </a:lnTo>
                      <a:lnTo>
                        <a:pt x="297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1" name="Freeform 236"/>
                <p:cNvSpPr>
                  <a:spLocks/>
                </p:cNvSpPr>
                <p:nvPr/>
              </p:nvSpPr>
              <p:spPr bwMode="auto">
                <a:xfrm>
                  <a:off x="4744478" y="1969388"/>
                  <a:ext cx="336384" cy="122079"/>
                </a:xfrm>
                <a:custGeom>
                  <a:avLst/>
                  <a:gdLst>
                    <a:gd name="T0" fmla="*/ 2147483647 w 314"/>
                    <a:gd name="T1" fmla="*/ 2147483647 h 114"/>
                    <a:gd name="T2" fmla="*/ 2147483647 w 314"/>
                    <a:gd name="T3" fmla="*/ 2147483647 h 114"/>
                    <a:gd name="T4" fmla="*/ 2147483647 w 314"/>
                    <a:gd name="T5" fmla="*/ 2147483647 h 114"/>
                    <a:gd name="T6" fmla="*/ 2147483647 w 314"/>
                    <a:gd name="T7" fmla="*/ 2147483647 h 114"/>
                    <a:gd name="T8" fmla="*/ 2147483647 w 314"/>
                    <a:gd name="T9" fmla="*/ 2147483647 h 114"/>
                    <a:gd name="T10" fmla="*/ 2147483647 w 314"/>
                    <a:gd name="T11" fmla="*/ 2147483647 h 114"/>
                    <a:gd name="T12" fmla="*/ 2147483647 w 314"/>
                    <a:gd name="T13" fmla="*/ 0 h 114"/>
                    <a:gd name="T14" fmla="*/ 2147483647 w 314"/>
                    <a:gd name="T15" fmla="*/ 0 h 114"/>
                    <a:gd name="T16" fmla="*/ 2147483647 w 314"/>
                    <a:gd name="T17" fmla="*/ 2147483647 h 114"/>
                    <a:gd name="T18" fmla="*/ 2147483647 w 314"/>
                    <a:gd name="T19" fmla="*/ 2147483647 h 114"/>
                    <a:gd name="T20" fmla="*/ 2147483647 w 314"/>
                    <a:gd name="T21" fmla="*/ 2147483647 h 114"/>
                    <a:gd name="T22" fmla="*/ 0 w 314"/>
                    <a:gd name="T23" fmla="*/ 2147483647 h 114"/>
                    <a:gd name="T24" fmla="*/ 0 w 314"/>
                    <a:gd name="T25" fmla="*/ 2147483647 h 114"/>
                    <a:gd name="T26" fmla="*/ 2147483647 w 314"/>
                    <a:gd name="T27" fmla="*/ 2147483647 h 114"/>
                    <a:gd name="T28" fmla="*/ 0 w 314"/>
                    <a:gd name="T29" fmla="*/ 2147483647 h 114"/>
                    <a:gd name="T30" fmla="*/ 2147483647 w 314"/>
                    <a:gd name="T31" fmla="*/ 2147483647 h 114"/>
                    <a:gd name="T32" fmla="*/ 2147483647 w 314"/>
                    <a:gd name="T33" fmla="*/ 2147483647 h 114"/>
                    <a:gd name="T34" fmla="*/ 2147483647 w 314"/>
                    <a:gd name="T35" fmla="*/ 2147483647 h 114"/>
                    <a:gd name="T36" fmla="*/ 2147483647 w 314"/>
                    <a:gd name="T37" fmla="*/ 2147483647 h 114"/>
                    <a:gd name="T38" fmla="*/ 2147483647 w 314"/>
                    <a:gd name="T39" fmla="*/ 2147483647 h 114"/>
                    <a:gd name="T40" fmla="*/ 2147483647 w 314"/>
                    <a:gd name="T41" fmla="*/ 2147483647 h 114"/>
                    <a:gd name="T42" fmla="*/ 2147483647 w 314"/>
                    <a:gd name="T43" fmla="*/ 2147483647 h 114"/>
                    <a:gd name="T44" fmla="*/ 2147483647 w 314"/>
                    <a:gd name="T45" fmla="*/ 2147483647 h 114"/>
                    <a:gd name="T46" fmla="*/ 2147483647 w 314"/>
                    <a:gd name="T47" fmla="*/ 2147483647 h 114"/>
                    <a:gd name="T48" fmla="*/ 2147483647 w 314"/>
                    <a:gd name="T49" fmla="*/ 2147483647 h 114"/>
                    <a:gd name="T50" fmla="*/ 2147483647 w 314"/>
                    <a:gd name="T51" fmla="*/ 2147483647 h 114"/>
                    <a:gd name="T52" fmla="*/ 2147483647 w 314"/>
                    <a:gd name="T53" fmla="*/ 2147483647 h 114"/>
                    <a:gd name="T54" fmla="*/ 2147483647 w 314"/>
                    <a:gd name="T55" fmla="*/ 2147483647 h 114"/>
                    <a:gd name="T56" fmla="*/ 2147483647 w 314"/>
                    <a:gd name="T57" fmla="*/ 2147483647 h 114"/>
                    <a:gd name="T58" fmla="*/ 2147483647 w 314"/>
                    <a:gd name="T59" fmla="*/ 2147483647 h 11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314"/>
                    <a:gd name="T91" fmla="*/ 0 h 114"/>
                    <a:gd name="T92" fmla="*/ 314 w 314"/>
                    <a:gd name="T93" fmla="*/ 114 h 11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314" h="114">
                      <a:moveTo>
                        <a:pt x="297" y="44"/>
                      </a:moveTo>
                      <a:lnTo>
                        <a:pt x="288" y="35"/>
                      </a:lnTo>
                      <a:lnTo>
                        <a:pt x="288" y="18"/>
                      </a:lnTo>
                      <a:lnTo>
                        <a:pt x="244" y="9"/>
                      </a:lnTo>
                      <a:lnTo>
                        <a:pt x="183" y="26"/>
                      </a:lnTo>
                      <a:lnTo>
                        <a:pt x="175" y="18"/>
                      </a:lnTo>
                      <a:lnTo>
                        <a:pt x="131" y="0"/>
                      </a:lnTo>
                      <a:lnTo>
                        <a:pt x="96" y="0"/>
                      </a:lnTo>
                      <a:lnTo>
                        <a:pt x="70" y="18"/>
                      </a:lnTo>
                      <a:lnTo>
                        <a:pt x="44" y="18"/>
                      </a:lnTo>
                      <a:lnTo>
                        <a:pt x="44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70" y="114"/>
                      </a:lnTo>
                      <a:lnTo>
                        <a:pt x="87" y="105"/>
                      </a:lnTo>
                      <a:lnTo>
                        <a:pt x="79" y="105"/>
                      </a:lnTo>
                      <a:lnTo>
                        <a:pt x="96" y="105"/>
                      </a:lnTo>
                      <a:lnTo>
                        <a:pt x="114" y="114"/>
                      </a:lnTo>
                      <a:lnTo>
                        <a:pt x="166" y="105"/>
                      </a:lnTo>
                      <a:lnTo>
                        <a:pt x="166" y="114"/>
                      </a:lnTo>
                      <a:lnTo>
                        <a:pt x="192" y="105"/>
                      </a:lnTo>
                      <a:lnTo>
                        <a:pt x="279" y="87"/>
                      </a:lnTo>
                      <a:lnTo>
                        <a:pt x="314" y="96"/>
                      </a:lnTo>
                      <a:lnTo>
                        <a:pt x="297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2" name="Freeform 237"/>
                <p:cNvSpPr>
                  <a:spLocks/>
                </p:cNvSpPr>
                <p:nvPr/>
              </p:nvSpPr>
              <p:spPr bwMode="auto">
                <a:xfrm>
                  <a:off x="4726266" y="1969388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0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2147483647 h 26"/>
                    <a:gd name="T8" fmla="*/ 2147483647 w 61"/>
                    <a:gd name="T9" fmla="*/ 0 h 26"/>
                    <a:gd name="T10" fmla="*/ 2147483647 w 61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26"/>
                    <a:gd name="T20" fmla="*/ 61 w 61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26">
                      <a:moveTo>
                        <a:pt x="8" y="18"/>
                      </a:move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3" name="Freeform 238"/>
                <p:cNvSpPr>
                  <a:spLocks/>
                </p:cNvSpPr>
                <p:nvPr/>
              </p:nvSpPr>
              <p:spPr bwMode="auto">
                <a:xfrm>
                  <a:off x="4726266" y="1969388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0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2147483647 h 26"/>
                    <a:gd name="T8" fmla="*/ 2147483647 w 61"/>
                    <a:gd name="T9" fmla="*/ 0 h 26"/>
                    <a:gd name="T10" fmla="*/ 2147483647 w 61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26"/>
                    <a:gd name="T20" fmla="*/ 61 w 61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26">
                      <a:moveTo>
                        <a:pt x="8" y="18"/>
                      </a:move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4" name="Freeform 239"/>
                <p:cNvSpPr>
                  <a:spLocks/>
                </p:cNvSpPr>
                <p:nvPr/>
              </p:nvSpPr>
              <p:spPr bwMode="auto">
                <a:xfrm>
                  <a:off x="4604139" y="1466082"/>
                  <a:ext cx="159622" cy="168126"/>
                </a:xfrm>
                <a:custGeom>
                  <a:avLst/>
                  <a:gdLst>
                    <a:gd name="T0" fmla="*/ 2147483647 w 149"/>
                    <a:gd name="T1" fmla="*/ 0 h 157"/>
                    <a:gd name="T2" fmla="*/ 2147483647 w 149"/>
                    <a:gd name="T3" fmla="*/ 0 h 157"/>
                    <a:gd name="T4" fmla="*/ 2147483647 w 149"/>
                    <a:gd name="T5" fmla="*/ 2147483647 h 157"/>
                    <a:gd name="T6" fmla="*/ 2147483647 w 149"/>
                    <a:gd name="T7" fmla="*/ 2147483647 h 157"/>
                    <a:gd name="T8" fmla="*/ 2147483647 w 149"/>
                    <a:gd name="T9" fmla="*/ 2147483647 h 157"/>
                    <a:gd name="T10" fmla="*/ 2147483647 w 149"/>
                    <a:gd name="T11" fmla="*/ 2147483647 h 157"/>
                    <a:gd name="T12" fmla="*/ 0 w 149"/>
                    <a:gd name="T13" fmla="*/ 2147483647 h 157"/>
                    <a:gd name="T14" fmla="*/ 2147483647 w 149"/>
                    <a:gd name="T15" fmla="*/ 2147483647 h 157"/>
                    <a:gd name="T16" fmla="*/ 2147483647 w 149"/>
                    <a:gd name="T17" fmla="*/ 2147483647 h 157"/>
                    <a:gd name="T18" fmla="*/ 2147483647 w 149"/>
                    <a:gd name="T19" fmla="*/ 2147483647 h 157"/>
                    <a:gd name="T20" fmla="*/ 2147483647 w 149"/>
                    <a:gd name="T21" fmla="*/ 2147483647 h 157"/>
                    <a:gd name="T22" fmla="*/ 2147483647 w 149"/>
                    <a:gd name="T23" fmla="*/ 2147483647 h 157"/>
                    <a:gd name="T24" fmla="*/ 2147483647 w 149"/>
                    <a:gd name="T25" fmla="*/ 2147483647 h 157"/>
                    <a:gd name="T26" fmla="*/ 2147483647 w 149"/>
                    <a:gd name="T27" fmla="*/ 2147483647 h 157"/>
                    <a:gd name="T28" fmla="*/ 2147483647 w 149"/>
                    <a:gd name="T29" fmla="*/ 2147483647 h 157"/>
                    <a:gd name="T30" fmla="*/ 2147483647 w 149"/>
                    <a:gd name="T31" fmla="*/ 2147483647 h 157"/>
                    <a:gd name="T32" fmla="*/ 2147483647 w 149"/>
                    <a:gd name="T33" fmla="*/ 2147483647 h 157"/>
                    <a:gd name="T34" fmla="*/ 2147483647 w 149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49"/>
                    <a:gd name="T55" fmla="*/ 0 h 157"/>
                    <a:gd name="T56" fmla="*/ 149 w 149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49" h="157">
                      <a:moveTo>
                        <a:pt x="70" y="0"/>
                      </a:moveTo>
                      <a:lnTo>
                        <a:pt x="53" y="0"/>
                      </a:lnTo>
                      <a:lnTo>
                        <a:pt x="53" y="17"/>
                      </a:lnTo>
                      <a:lnTo>
                        <a:pt x="18" y="26"/>
                      </a:lnTo>
                      <a:lnTo>
                        <a:pt x="35" y="69"/>
                      </a:lnTo>
                      <a:lnTo>
                        <a:pt x="35" y="87"/>
                      </a:lnTo>
                      <a:lnTo>
                        <a:pt x="0" y="122"/>
                      </a:lnTo>
                      <a:lnTo>
                        <a:pt x="18" y="139"/>
                      </a:lnTo>
                      <a:lnTo>
                        <a:pt x="9" y="148"/>
                      </a:lnTo>
                      <a:lnTo>
                        <a:pt x="79" y="157"/>
                      </a:lnTo>
                      <a:lnTo>
                        <a:pt x="79" y="148"/>
                      </a:lnTo>
                      <a:lnTo>
                        <a:pt x="105" y="148"/>
                      </a:lnTo>
                      <a:lnTo>
                        <a:pt x="149" y="113"/>
                      </a:lnTo>
                      <a:lnTo>
                        <a:pt x="105" y="52"/>
                      </a:lnTo>
                      <a:lnTo>
                        <a:pt x="105" y="35"/>
                      </a:lnTo>
                      <a:lnTo>
                        <a:pt x="88" y="26"/>
                      </a:lnTo>
                      <a:lnTo>
                        <a:pt x="96" y="17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5" name="Freeform 240"/>
                <p:cNvSpPr>
                  <a:spLocks/>
                </p:cNvSpPr>
                <p:nvPr/>
              </p:nvSpPr>
              <p:spPr bwMode="auto">
                <a:xfrm>
                  <a:off x="4604139" y="1466082"/>
                  <a:ext cx="159622" cy="168126"/>
                </a:xfrm>
                <a:custGeom>
                  <a:avLst/>
                  <a:gdLst>
                    <a:gd name="T0" fmla="*/ 2147483647 w 149"/>
                    <a:gd name="T1" fmla="*/ 0 h 157"/>
                    <a:gd name="T2" fmla="*/ 2147483647 w 149"/>
                    <a:gd name="T3" fmla="*/ 0 h 157"/>
                    <a:gd name="T4" fmla="*/ 2147483647 w 149"/>
                    <a:gd name="T5" fmla="*/ 2147483647 h 157"/>
                    <a:gd name="T6" fmla="*/ 2147483647 w 149"/>
                    <a:gd name="T7" fmla="*/ 2147483647 h 157"/>
                    <a:gd name="T8" fmla="*/ 2147483647 w 149"/>
                    <a:gd name="T9" fmla="*/ 2147483647 h 157"/>
                    <a:gd name="T10" fmla="*/ 2147483647 w 149"/>
                    <a:gd name="T11" fmla="*/ 2147483647 h 157"/>
                    <a:gd name="T12" fmla="*/ 0 w 149"/>
                    <a:gd name="T13" fmla="*/ 2147483647 h 157"/>
                    <a:gd name="T14" fmla="*/ 2147483647 w 149"/>
                    <a:gd name="T15" fmla="*/ 2147483647 h 157"/>
                    <a:gd name="T16" fmla="*/ 2147483647 w 149"/>
                    <a:gd name="T17" fmla="*/ 2147483647 h 157"/>
                    <a:gd name="T18" fmla="*/ 2147483647 w 149"/>
                    <a:gd name="T19" fmla="*/ 2147483647 h 157"/>
                    <a:gd name="T20" fmla="*/ 2147483647 w 149"/>
                    <a:gd name="T21" fmla="*/ 2147483647 h 157"/>
                    <a:gd name="T22" fmla="*/ 2147483647 w 149"/>
                    <a:gd name="T23" fmla="*/ 2147483647 h 157"/>
                    <a:gd name="T24" fmla="*/ 2147483647 w 149"/>
                    <a:gd name="T25" fmla="*/ 2147483647 h 157"/>
                    <a:gd name="T26" fmla="*/ 2147483647 w 149"/>
                    <a:gd name="T27" fmla="*/ 2147483647 h 157"/>
                    <a:gd name="T28" fmla="*/ 2147483647 w 149"/>
                    <a:gd name="T29" fmla="*/ 2147483647 h 157"/>
                    <a:gd name="T30" fmla="*/ 2147483647 w 149"/>
                    <a:gd name="T31" fmla="*/ 2147483647 h 157"/>
                    <a:gd name="T32" fmla="*/ 2147483647 w 149"/>
                    <a:gd name="T33" fmla="*/ 2147483647 h 157"/>
                    <a:gd name="T34" fmla="*/ 2147483647 w 149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49"/>
                    <a:gd name="T55" fmla="*/ 0 h 157"/>
                    <a:gd name="T56" fmla="*/ 149 w 149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49" h="157">
                      <a:moveTo>
                        <a:pt x="70" y="0"/>
                      </a:moveTo>
                      <a:lnTo>
                        <a:pt x="53" y="0"/>
                      </a:lnTo>
                      <a:lnTo>
                        <a:pt x="53" y="17"/>
                      </a:lnTo>
                      <a:lnTo>
                        <a:pt x="18" y="26"/>
                      </a:lnTo>
                      <a:lnTo>
                        <a:pt x="35" y="69"/>
                      </a:lnTo>
                      <a:lnTo>
                        <a:pt x="35" y="87"/>
                      </a:lnTo>
                      <a:lnTo>
                        <a:pt x="0" y="122"/>
                      </a:lnTo>
                      <a:lnTo>
                        <a:pt x="18" y="139"/>
                      </a:lnTo>
                      <a:lnTo>
                        <a:pt x="9" y="148"/>
                      </a:lnTo>
                      <a:lnTo>
                        <a:pt x="79" y="157"/>
                      </a:lnTo>
                      <a:lnTo>
                        <a:pt x="79" y="148"/>
                      </a:lnTo>
                      <a:lnTo>
                        <a:pt x="105" y="148"/>
                      </a:lnTo>
                      <a:lnTo>
                        <a:pt x="149" y="113"/>
                      </a:lnTo>
                      <a:lnTo>
                        <a:pt x="105" y="52"/>
                      </a:lnTo>
                      <a:lnTo>
                        <a:pt x="105" y="35"/>
                      </a:lnTo>
                      <a:lnTo>
                        <a:pt x="88" y="26"/>
                      </a:lnTo>
                      <a:lnTo>
                        <a:pt x="96" y="17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6" name="Freeform 241"/>
                <p:cNvSpPr>
                  <a:spLocks/>
                </p:cNvSpPr>
                <p:nvPr/>
              </p:nvSpPr>
              <p:spPr bwMode="auto">
                <a:xfrm>
                  <a:off x="4483084" y="1484287"/>
                  <a:ext cx="158550" cy="243087"/>
                </a:xfrm>
                <a:custGeom>
                  <a:avLst/>
                  <a:gdLst>
                    <a:gd name="T0" fmla="*/ 2147483647 w 148"/>
                    <a:gd name="T1" fmla="*/ 2147483647 h 227"/>
                    <a:gd name="T2" fmla="*/ 2147483647 w 148"/>
                    <a:gd name="T3" fmla="*/ 2147483647 h 227"/>
                    <a:gd name="T4" fmla="*/ 2147483647 w 148"/>
                    <a:gd name="T5" fmla="*/ 2147483647 h 227"/>
                    <a:gd name="T6" fmla="*/ 2147483647 w 148"/>
                    <a:gd name="T7" fmla="*/ 2147483647 h 227"/>
                    <a:gd name="T8" fmla="*/ 2147483647 w 148"/>
                    <a:gd name="T9" fmla="*/ 0 h 227"/>
                    <a:gd name="T10" fmla="*/ 2147483647 w 148"/>
                    <a:gd name="T11" fmla="*/ 2147483647 h 227"/>
                    <a:gd name="T12" fmla="*/ 2147483647 w 148"/>
                    <a:gd name="T13" fmla="*/ 2147483647 h 227"/>
                    <a:gd name="T14" fmla="*/ 2147483647 w 148"/>
                    <a:gd name="T15" fmla="*/ 2147483647 h 227"/>
                    <a:gd name="T16" fmla="*/ 2147483647 w 148"/>
                    <a:gd name="T17" fmla="*/ 2147483647 h 227"/>
                    <a:gd name="T18" fmla="*/ 2147483647 w 148"/>
                    <a:gd name="T19" fmla="*/ 2147483647 h 227"/>
                    <a:gd name="T20" fmla="*/ 2147483647 w 148"/>
                    <a:gd name="T21" fmla="*/ 2147483647 h 227"/>
                    <a:gd name="T22" fmla="*/ 2147483647 w 148"/>
                    <a:gd name="T23" fmla="*/ 2147483647 h 227"/>
                    <a:gd name="T24" fmla="*/ 0 w 148"/>
                    <a:gd name="T25" fmla="*/ 2147483647 h 227"/>
                    <a:gd name="T26" fmla="*/ 2147483647 w 148"/>
                    <a:gd name="T27" fmla="*/ 2147483647 h 227"/>
                    <a:gd name="T28" fmla="*/ 2147483647 w 148"/>
                    <a:gd name="T29" fmla="*/ 2147483647 h 227"/>
                    <a:gd name="T30" fmla="*/ 2147483647 w 148"/>
                    <a:gd name="T31" fmla="*/ 2147483647 h 227"/>
                    <a:gd name="T32" fmla="*/ 2147483647 w 148"/>
                    <a:gd name="T33" fmla="*/ 2147483647 h 227"/>
                    <a:gd name="T34" fmla="*/ 2147483647 w 148"/>
                    <a:gd name="T35" fmla="*/ 2147483647 h 227"/>
                    <a:gd name="T36" fmla="*/ 2147483647 w 148"/>
                    <a:gd name="T37" fmla="*/ 2147483647 h 227"/>
                    <a:gd name="T38" fmla="*/ 2147483647 w 148"/>
                    <a:gd name="T39" fmla="*/ 2147483647 h 227"/>
                    <a:gd name="T40" fmla="*/ 2147483647 w 148"/>
                    <a:gd name="T41" fmla="*/ 2147483647 h 227"/>
                    <a:gd name="T42" fmla="*/ 2147483647 w 148"/>
                    <a:gd name="T43" fmla="*/ 2147483647 h 227"/>
                    <a:gd name="T44" fmla="*/ 2147483647 w 148"/>
                    <a:gd name="T45" fmla="*/ 2147483647 h 227"/>
                    <a:gd name="T46" fmla="*/ 2147483647 w 148"/>
                    <a:gd name="T47" fmla="*/ 2147483647 h 227"/>
                    <a:gd name="T48" fmla="*/ 2147483647 w 148"/>
                    <a:gd name="T49" fmla="*/ 2147483647 h 22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8"/>
                    <a:gd name="T76" fmla="*/ 0 h 227"/>
                    <a:gd name="T77" fmla="*/ 148 w 148"/>
                    <a:gd name="T78" fmla="*/ 227 h 22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8" h="227">
                      <a:moveTo>
                        <a:pt x="113" y="70"/>
                      </a:moveTo>
                      <a:lnTo>
                        <a:pt x="122" y="52"/>
                      </a:lnTo>
                      <a:lnTo>
                        <a:pt x="148" y="52"/>
                      </a:lnTo>
                      <a:lnTo>
                        <a:pt x="131" y="9"/>
                      </a:lnTo>
                      <a:lnTo>
                        <a:pt x="113" y="0"/>
                      </a:lnTo>
                      <a:lnTo>
                        <a:pt x="70" y="9"/>
                      </a:lnTo>
                      <a:lnTo>
                        <a:pt x="35" y="52"/>
                      </a:lnTo>
                      <a:lnTo>
                        <a:pt x="35" y="79"/>
                      </a:lnTo>
                      <a:lnTo>
                        <a:pt x="17" y="79"/>
                      </a:lnTo>
                      <a:lnTo>
                        <a:pt x="9" y="105"/>
                      </a:lnTo>
                      <a:lnTo>
                        <a:pt x="17" y="122"/>
                      </a:lnTo>
                      <a:lnTo>
                        <a:pt x="9" y="148"/>
                      </a:lnTo>
                      <a:lnTo>
                        <a:pt x="0" y="166"/>
                      </a:lnTo>
                      <a:lnTo>
                        <a:pt x="9" y="174"/>
                      </a:lnTo>
                      <a:lnTo>
                        <a:pt x="17" y="218"/>
                      </a:lnTo>
                      <a:lnTo>
                        <a:pt x="44" y="227"/>
                      </a:lnTo>
                      <a:lnTo>
                        <a:pt x="44" y="209"/>
                      </a:lnTo>
                      <a:lnTo>
                        <a:pt x="61" y="209"/>
                      </a:lnTo>
                      <a:lnTo>
                        <a:pt x="79" y="183"/>
                      </a:lnTo>
                      <a:lnTo>
                        <a:pt x="79" y="166"/>
                      </a:lnTo>
                      <a:lnTo>
                        <a:pt x="87" y="157"/>
                      </a:lnTo>
                      <a:lnTo>
                        <a:pt x="87" y="140"/>
                      </a:lnTo>
                      <a:lnTo>
                        <a:pt x="70" y="131"/>
                      </a:lnTo>
                      <a:lnTo>
                        <a:pt x="61" y="105"/>
                      </a:lnTo>
                      <a:lnTo>
                        <a:pt x="113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7" name="Freeform 242"/>
                <p:cNvSpPr>
                  <a:spLocks/>
                </p:cNvSpPr>
                <p:nvPr/>
              </p:nvSpPr>
              <p:spPr bwMode="auto">
                <a:xfrm>
                  <a:off x="4483084" y="1484287"/>
                  <a:ext cx="158550" cy="243087"/>
                </a:xfrm>
                <a:custGeom>
                  <a:avLst/>
                  <a:gdLst>
                    <a:gd name="T0" fmla="*/ 2147483647 w 148"/>
                    <a:gd name="T1" fmla="*/ 2147483647 h 227"/>
                    <a:gd name="T2" fmla="*/ 2147483647 w 148"/>
                    <a:gd name="T3" fmla="*/ 2147483647 h 227"/>
                    <a:gd name="T4" fmla="*/ 2147483647 w 148"/>
                    <a:gd name="T5" fmla="*/ 2147483647 h 227"/>
                    <a:gd name="T6" fmla="*/ 2147483647 w 148"/>
                    <a:gd name="T7" fmla="*/ 2147483647 h 227"/>
                    <a:gd name="T8" fmla="*/ 2147483647 w 148"/>
                    <a:gd name="T9" fmla="*/ 0 h 227"/>
                    <a:gd name="T10" fmla="*/ 2147483647 w 148"/>
                    <a:gd name="T11" fmla="*/ 2147483647 h 227"/>
                    <a:gd name="T12" fmla="*/ 2147483647 w 148"/>
                    <a:gd name="T13" fmla="*/ 2147483647 h 227"/>
                    <a:gd name="T14" fmla="*/ 2147483647 w 148"/>
                    <a:gd name="T15" fmla="*/ 2147483647 h 227"/>
                    <a:gd name="T16" fmla="*/ 2147483647 w 148"/>
                    <a:gd name="T17" fmla="*/ 2147483647 h 227"/>
                    <a:gd name="T18" fmla="*/ 2147483647 w 148"/>
                    <a:gd name="T19" fmla="*/ 2147483647 h 227"/>
                    <a:gd name="T20" fmla="*/ 2147483647 w 148"/>
                    <a:gd name="T21" fmla="*/ 2147483647 h 227"/>
                    <a:gd name="T22" fmla="*/ 2147483647 w 148"/>
                    <a:gd name="T23" fmla="*/ 2147483647 h 227"/>
                    <a:gd name="T24" fmla="*/ 0 w 148"/>
                    <a:gd name="T25" fmla="*/ 2147483647 h 227"/>
                    <a:gd name="T26" fmla="*/ 2147483647 w 148"/>
                    <a:gd name="T27" fmla="*/ 2147483647 h 227"/>
                    <a:gd name="T28" fmla="*/ 2147483647 w 148"/>
                    <a:gd name="T29" fmla="*/ 2147483647 h 227"/>
                    <a:gd name="T30" fmla="*/ 2147483647 w 148"/>
                    <a:gd name="T31" fmla="*/ 2147483647 h 227"/>
                    <a:gd name="T32" fmla="*/ 2147483647 w 148"/>
                    <a:gd name="T33" fmla="*/ 2147483647 h 227"/>
                    <a:gd name="T34" fmla="*/ 2147483647 w 148"/>
                    <a:gd name="T35" fmla="*/ 2147483647 h 227"/>
                    <a:gd name="T36" fmla="*/ 2147483647 w 148"/>
                    <a:gd name="T37" fmla="*/ 2147483647 h 227"/>
                    <a:gd name="T38" fmla="*/ 2147483647 w 148"/>
                    <a:gd name="T39" fmla="*/ 2147483647 h 227"/>
                    <a:gd name="T40" fmla="*/ 2147483647 w 148"/>
                    <a:gd name="T41" fmla="*/ 2147483647 h 227"/>
                    <a:gd name="T42" fmla="*/ 2147483647 w 148"/>
                    <a:gd name="T43" fmla="*/ 2147483647 h 227"/>
                    <a:gd name="T44" fmla="*/ 2147483647 w 148"/>
                    <a:gd name="T45" fmla="*/ 2147483647 h 227"/>
                    <a:gd name="T46" fmla="*/ 2147483647 w 148"/>
                    <a:gd name="T47" fmla="*/ 2147483647 h 227"/>
                    <a:gd name="T48" fmla="*/ 2147483647 w 148"/>
                    <a:gd name="T49" fmla="*/ 2147483647 h 22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8"/>
                    <a:gd name="T76" fmla="*/ 0 h 227"/>
                    <a:gd name="T77" fmla="*/ 148 w 148"/>
                    <a:gd name="T78" fmla="*/ 227 h 22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8" h="227">
                      <a:moveTo>
                        <a:pt x="113" y="70"/>
                      </a:moveTo>
                      <a:lnTo>
                        <a:pt x="122" y="52"/>
                      </a:lnTo>
                      <a:lnTo>
                        <a:pt x="148" y="52"/>
                      </a:lnTo>
                      <a:lnTo>
                        <a:pt x="131" y="9"/>
                      </a:lnTo>
                      <a:lnTo>
                        <a:pt x="113" y="0"/>
                      </a:lnTo>
                      <a:lnTo>
                        <a:pt x="70" y="9"/>
                      </a:lnTo>
                      <a:lnTo>
                        <a:pt x="35" y="52"/>
                      </a:lnTo>
                      <a:lnTo>
                        <a:pt x="35" y="79"/>
                      </a:lnTo>
                      <a:lnTo>
                        <a:pt x="17" y="79"/>
                      </a:lnTo>
                      <a:lnTo>
                        <a:pt x="9" y="105"/>
                      </a:lnTo>
                      <a:lnTo>
                        <a:pt x="17" y="122"/>
                      </a:lnTo>
                      <a:lnTo>
                        <a:pt x="9" y="148"/>
                      </a:lnTo>
                      <a:lnTo>
                        <a:pt x="0" y="166"/>
                      </a:lnTo>
                      <a:lnTo>
                        <a:pt x="9" y="174"/>
                      </a:lnTo>
                      <a:lnTo>
                        <a:pt x="17" y="218"/>
                      </a:lnTo>
                      <a:lnTo>
                        <a:pt x="44" y="227"/>
                      </a:lnTo>
                      <a:lnTo>
                        <a:pt x="44" y="209"/>
                      </a:lnTo>
                      <a:lnTo>
                        <a:pt x="61" y="209"/>
                      </a:lnTo>
                      <a:lnTo>
                        <a:pt x="79" y="183"/>
                      </a:lnTo>
                      <a:lnTo>
                        <a:pt x="79" y="166"/>
                      </a:lnTo>
                      <a:lnTo>
                        <a:pt x="87" y="157"/>
                      </a:lnTo>
                      <a:lnTo>
                        <a:pt x="87" y="140"/>
                      </a:lnTo>
                      <a:lnTo>
                        <a:pt x="70" y="131"/>
                      </a:lnTo>
                      <a:lnTo>
                        <a:pt x="61" y="105"/>
                      </a:lnTo>
                      <a:lnTo>
                        <a:pt x="113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8" name="Freeform 243"/>
                <p:cNvSpPr>
                  <a:spLocks/>
                </p:cNvSpPr>
                <p:nvPr/>
              </p:nvSpPr>
              <p:spPr bwMode="auto">
                <a:xfrm>
                  <a:off x="4576285" y="1670617"/>
                  <a:ext cx="9642" cy="19276"/>
                </a:xfrm>
                <a:custGeom>
                  <a:avLst/>
                  <a:gdLst>
                    <a:gd name="T0" fmla="*/ 2147483647 w 9"/>
                    <a:gd name="T1" fmla="*/ 0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2147483647 w 9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8"/>
                    <a:gd name="T17" fmla="*/ 9 w 9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8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9" name="Freeform 244"/>
                <p:cNvSpPr>
                  <a:spLocks/>
                </p:cNvSpPr>
                <p:nvPr/>
              </p:nvSpPr>
              <p:spPr bwMode="auto">
                <a:xfrm>
                  <a:off x="4576285" y="1670617"/>
                  <a:ext cx="9642" cy="19276"/>
                </a:xfrm>
                <a:custGeom>
                  <a:avLst/>
                  <a:gdLst>
                    <a:gd name="T0" fmla="*/ 2147483647 w 9"/>
                    <a:gd name="T1" fmla="*/ 0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2147483647 w 9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8"/>
                    <a:gd name="T17" fmla="*/ 9 w 9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8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0" name="Freeform 245"/>
                <p:cNvSpPr>
                  <a:spLocks/>
                </p:cNvSpPr>
                <p:nvPr/>
              </p:nvSpPr>
              <p:spPr bwMode="auto">
                <a:xfrm>
                  <a:off x="4641634" y="1642775"/>
                  <a:ext cx="84632" cy="37481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0 w 79"/>
                    <a:gd name="T7" fmla="*/ 2147483647 h 35"/>
                    <a:gd name="T8" fmla="*/ 2147483647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9"/>
                    <a:gd name="T22" fmla="*/ 0 h 35"/>
                    <a:gd name="T23" fmla="*/ 79 w 79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9" h="35">
                      <a:moveTo>
                        <a:pt x="79" y="9"/>
                      </a:moveTo>
                      <a:lnTo>
                        <a:pt x="61" y="0"/>
                      </a:lnTo>
                      <a:lnTo>
                        <a:pt x="18" y="0"/>
                      </a:lnTo>
                      <a:lnTo>
                        <a:pt x="0" y="18"/>
                      </a:lnTo>
                      <a:lnTo>
                        <a:pt x="26" y="26"/>
                      </a:lnTo>
                      <a:lnTo>
                        <a:pt x="79" y="35"/>
                      </a:lnTo>
                      <a:lnTo>
                        <a:pt x="7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1" name="Freeform 246"/>
                <p:cNvSpPr>
                  <a:spLocks/>
                </p:cNvSpPr>
                <p:nvPr/>
              </p:nvSpPr>
              <p:spPr bwMode="auto">
                <a:xfrm>
                  <a:off x="4641634" y="1642775"/>
                  <a:ext cx="84632" cy="37481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0 w 79"/>
                    <a:gd name="T7" fmla="*/ 2147483647 h 35"/>
                    <a:gd name="T8" fmla="*/ 2147483647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9"/>
                    <a:gd name="T22" fmla="*/ 0 h 35"/>
                    <a:gd name="T23" fmla="*/ 79 w 79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9" h="35">
                      <a:moveTo>
                        <a:pt x="79" y="9"/>
                      </a:moveTo>
                      <a:lnTo>
                        <a:pt x="61" y="0"/>
                      </a:lnTo>
                      <a:lnTo>
                        <a:pt x="18" y="0"/>
                      </a:lnTo>
                      <a:lnTo>
                        <a:pt x="0" y="18"/>
                      </a:lnTo>
                      <a:lnTo>
                        <a:pt x="26" y="26"/>
                      </a:lnTo>
                      <a:lnTo>
                        <a:pt x="79" y="35"/>
                      </a:lnTo>
                      <a:lnTo>
                        <a:pt x="7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2" name="Freeform 247"/>
                <p:cNvSpPr>
                  <a:spLocks/>
                </p:cNvSpPr>
                <p:nvPr/>
              </p:nvSpPr>
              <p:spPr bwMode="auto">
                <a:xfrm>
                  <a:off x="4633064" y="1670617"/>
                  <a:ext cx="111414" cy="37481"/>
                </a:xfrm>
                <a:custGeom>
                  <a:avLst/>
                  <a:gdLst>
                    <a:gd name="T0" fmla="*/ 0 w 104"/>
                    <a:gd name="T1" fmla="*/ 2147483647 h 35"/>
                    <a:gd name="T2" fmla="*/ 0 w 104"/>
                    <a:gd name="T3" fmla="*/ 2147483647 h 35"/>
                    <a:gd name="T4" fmla="*/ 2147483647 w 104"/>
                    <a:gd name="T5" fmla="*/ 2147483647 h 35"/>
                    <a:gd name="T6" fmla="*/ 2147483647 w 104"/>
                    <a:gd name="T7" fmla="*/ 2147483647 h 35"/>
                    <a:gd name="T8" fmla="*/ 2147483647 w 104"/>
                    <a:gd name="T9" fmla="*/ 2147483647 h 35"/>
                    <a:gd name="T10" fmla="*/ 2147483647 w 104"/>
                    <a:gd name="T11" fmla="*/ 2147483647 h 35"/>
                    <a:gd name="T12" fmla="*/ 2147483647 w 104"/>
                    <a:gd name="T13" fmla="*/ 0 h 35"/>
                    <a:gd name="T14" fmla="*/ 2147483647 w 104"/>
                    <a:gd name="T15" fmla="*/ 2147483647 h 35"/>
                    <a:gd name="T16" fmla="*/ 2147483647 w 104"/>
                    <a:gd name="T17" fmla="*/ 0 h 35"/>
                    <a:gd name="T18" fmla="*/ 0 w 104"/>
                    <a:gd name="T19" fmla="*/ 2147483647 h 3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04"/>
                    <a:gd name="T31" fmla="*/ 0 h 35"/>
                    <a:gd name="T32" fmla="*/ 104 w 104"/>
                    <a:gd name="T33" fmla="*/ 35 h 3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04" h="35">
                      <a:moveTo>
                        <a:pt x="0" y="18"/>
                      </a:moveTo>
                      <a:lnTo>
                        <a:pt x="0" y="35"/>
                      </a:lnTo>
                      <a:lnTo>
                        <a:pt x="34" y="27"/>
                      </a:lnTo>
                      <a:lnTo>
                        <a:pt x="87" y="35"/>
                      </a:lnTo>
                      <a:lnTo>
                        <a:pt x="104" y="27"/>
                      </a:lnTo>
                      <a:lnTo>
                        <a:pt x="87" y="9"/>
                      </a:lnTo>
                      <a:lnTo>
                        <a:pt x="34" y="0"/>
                      </a:lnTo>
                      <a:lnTo>
                        <a:pt x="26" y="18"/>
                      </a:lnTo>
                      <a:lnTo>
                        <a:pt x="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3" name="Freeform 248"/>
                <p:cNvSpPr>
                  <a:spLocks/>
                </p:cNvSpPr>
                <p:nvPr/>
              </p:nvSpPr>
              <p:spPr bwMode="auto">
                <a:xfrm>
                  <a:off x="4633064" y="1670617"/>
                  <a:ext cx="111414" cy="37481"/>
                </a:xfrm>
                <a:custGeom>
                  <a:avLst/>
                  <a:gdLst>
                    <a:gd name="T0" fmla="*/ 0 w 104"/>
                    <a:gd name="T1" fmla="*/ 2147483647 h 35"/>
                    <a:gd name="T2" fmla="*/ 0 w 104"/>
                    <a:gd name="T3" fmla="*/ 2147483647 h 35"/>
                    <a:gd name="T4" fmla="*/ 2147483647 w 104"/>
                    <a:gd name="T5" fmla="*/ 2147483647 h 35"/>
                    <a:gd name="T6" fmla="*/ 2147483647 w 104"/>
                    <a:gd name="T7" fmla="*/ 2147483647 h 35"/>
                    <a:gd name="T8" fmla="*/ 2147483647 w 104"/>
                    <a:gd name="T9" fmla="*/ 2147483647 h 35"/>
                    <a:gd name="T10" fmla="*/ 2147483647 w 104"/>
                    <a:gd name="T11" fmla="*/ 2147483647 h 35"/>
                    <a:gd name="T12" fmla="*/ 2147483647 w 104"/>
                    <a:gd name="T13" fmla="*/ 0 h 35"/>
                    <a:gd name="T14" fmla="*/ 2147483647 w 104"/>
                    <a:gd name="T15" fmla="*/ 2147483647 h 35"/>
                    <a:gd name="T16" fmla="*/ 2147483647 w 104"/>
                    <a:gd name="T17" fmla="*/ 0 h 35"/>
                    <a:gd name="T18" fmla="*/ 0 w 104"/>
                    <a:gd name="T19" fmla="*/ 2147483647 h 3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04"/>
                    <a:gd name="T31" fmla="*/ 0 h 35"/>
                    <a:gd name="T32" fmla="*/ 104 w 104"/>
                    <a:gd name="T33" fmla="*/ 35 h 3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04" h="35">
                      <a:moveTo>
                        <a:pt x="0" y="18"/>
                      </a:moveTo>
                      <a:lnTo>
                        <a:pt x="0" y="35"/>
                      </a:lnTo>
                      <a:lnTo>
                        <a:pt x="34" y="27"/>
                      </a:lnTo>
                      <a:lnTo>
                        <a:pt x="87" y="35"/>
                      </a:lnTo>
                      <a:lnTo>
                        <a:pt x="104" y="27"/>
                      </a:lnTo>
                      <a:lnTo>
                        <a:pt x="87" y="9"/>
                      </a:lnTo>
                      <a:lnTo>
                        <a:pt x="34" y="0"/>
                      </a:lnTo>
                      <a:lnTo>
                        <a:pt x="26" y="18"/>
                      </a:lnTo>
                      <a:lnTo>
                        <a:pt x="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4" name="Freeform 249"/>
                <p:cNvSpPr>
                  <a:spLocks/>
                </p:cNvSpPr>
                <p:nvPr/>
              </p:nvSpPr>
              <p:spPr bwMode="auto">
                <a:xfrm>
                  <a:off x="4633064" y="1699530"/>
                  <a:ext cx="93202" cy="46048"/>
                </a:xfrm>
                <a:custGeom>
                  <a:avLst/>
                  <a:gdLst>
                    <a:gd name="T0" fmla="*/ 0 w 87"/>
                    <a:gd name="T1" fmla="*/ 2147483647 h 43"/>
                    <a:gd name="T2" fmla="*/ 0 w 87"/>
                    <a:gd name="T3" fmla="*/ 2147483647 h 43"/>
                    <a:gd name="T4" fmla="*/ 2147483647 w 87"/>
                    <a:gd name="T5" fmla="*/ 2147483647 h 43"/>
                    <a:gd name="T6" fmla="*/ 2147483647 w 87"/>
                    <a:gd name="T7" fmla="*/ 2147483647 h 43"/>
                    <a:gd name="T8" fmla="*/ 2147483647 w 87"/>
                    <a:gd name="T9" fmla="*/ 2147483647 h 43"/>
                    <a:gd name="T10" fmla="*/ 2147483647 w 87"/>
                    <a:gd name="T11" fmla="*/ 2147483647 h 43"/>
                    <a:gd name="T12" fmla="*/ 2147483647 w 87"/>
                    <a:gd name="T13" fmla="*/ 2147483647 h 43"/>
                    <a:gd name="T14" fmla="*/ 2147483647 w 87"/>
                    <a:gd name="T15" fmla="*/ 0 h 43"/>
                    <a:gd name="T16" fmla="*/ 0 w 87"/>
                    <a:gd name="T17" fmla="*/ 2147483647 h 4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43"/>
                    <a:gd name="T29" fmla="*/ 87 w 87"/>
                    <a:gd name="T30" fmla="*/ 43 h 4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43">
                      <a:moveTo>
                        <a:pt x="0" y="8"/>
                      </a:move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8" y="43"/>
                      </a:lnTo>
                      <a:lnTo>
                        <a:pt x="43" y="43"/>
                      </a:lnTo>
                      <a:lnTo>
                        <a:pt x="69" y="43"/>
                      </a:lnTo>
                      <a:lnTo>
                        <a:pt x="87" y="8"/>
                      </a:lnTo>
                      <a:lnTo>
                        <a:pt x="34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5" name="Freeform 250"/>
                <p:cNvSpPr>
                  <a:spLocks/>
                </p:cNvSpPr>
                <p:nvPr/>
              </p:nvSpPr>
              <p:spPr bwMode="auto">
                <a:xfrm>
                  <a:off x="4633064" y="1699530"/>
                  <a:ext cx="93202" cy="46048"/>
                </a:xfrm>
                <a:custGeom>
                  <a:avLst/>
                  <a:gdLst>
                    <a:gd name="T0" fmla="*/ 0 w 87"/>
                    <a:gd name="T1" fmla="*/ 2147483647 h 43"/>
                    <a:gd name="T2" fmla="*/ 0 w 87"/>
                    <a:gd name="T3" fmla="*/ 2147483647 h 43"/>
                    <a:gd name="T4" fmla="*/ 2147483647 w 87"/>
                    <a:gd name="T5" fmla="*/ 2147483647 h 43"/>
                    <a:gd name="T6" fmla="*/ 2147483647 w 87"/>
                    <a:gd name="T7" fmla="*/ 2147483647 h 43"/>
                    <a:gd name="T8" fmla="*/ 2147483647 w 87"/>
                    <a:gd name="T9" fmla="*/ 2147483647 h 43"/>
                    <a:gd name="T10" fmla="*/ 2147483647 w 87"/>
                    <a:gd name="T11" fmla="*/ 2147483647 h 43"/>
                    <a:gd name="T12" fmla="*/ 2147483647 w 87"/>
                    <a:gd name="T13" fmla="*/ 2147483647 h 43"/>
                    <a:gd name="T14" fmla="*/ 2147483647 w 87"/>
                    <a:gd name="T15" fmla="*/ 0 h 43"/>
                    <a:gd name="T16" fmla="*/ 0 w 87"/>
                    <a:gd name="T17" fmla="*/ 2147483647 h 4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43"/>
                    <a:gd name="T29" fmla="*/ 87 w 87"/>
                    <a:gd name="T30" fmla="*/ 43 h 4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43">
                      <a:moveTo>
                        <a:pt x="0" y="8"/>
                      </a:move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8" y="43"/>
                      </a:lnTo>
                      <a:lnTo>
                        <a:pt x="43" y="43"/>
                      </a:lnTo>
                      <a:lnTo>
                        <a:pt x="69" y="43"/>
                      </a:lnTo>
                      <a:lnTo>
                        <a:pt x="87" y="8"/>
                      </a:lnTo>
                      <a:lnTo>
                        <a:pt x="34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6" name="Freeform 251"/>
                <p:cNvSpPr>
                  <a:spLocks/>
                </p:cNvSpPr>
                <p:nvPr/>
              </p:nvSpPr>
              <p:spPr bwMode="auto">
                <a:xfrm>
                  <a:off x="4669488" y="1699530"/>
                  <a:ext cx="149980" cy="101733"/>
                </a:xfrm>
                <a:custGeom>
                  <a:avLst/>
                  <a:gdLst>
                    <a:gd name="T0" fmla="*/ 2147483647 w 140"/>
                    <a:gd name="T1" fmla="*/ 2147483647 h 95"/>
                    <a:gd name="T2" fmla="*/ 2147483647 w 140"/>
                    <a:gd name="T3" fmla="*/ 2147483647 h 95"/>
                    <a:gd name="T4" fmla="*/ 2147483647 w 140"/>
                    <a:gd name="T5" fmla="*/ 0 h 95"/>
                    <a:gd name="T6" fmla="*/ 2147483647 w 140"/>
                    <a:gd name="T7" fmla="*/ 2147483647 h 95"/>
                    <a:gd name="T8" fmla="*/ 2147483647 w 140"/>
                    <a:gd name="T9" fmla="*/ 2147483647 h 95"/>
                    <a:gd name="T10" fmla="*/ 2147483647 w 140"/>
                    <a:gd name="T11" fmla="*/ 2147483647 h 95"/>
                    <a:gd name="T12" fmla="*/ 2147483647 w 140"/>
                    <a:gd name="T13" fmla="*/ 2147483647 h 95"/>
                    <a:gd name="T14" fmla="*/ 0 w 140"/>
                    <a:gd name="T15" fmla="*/ 2147483647 h 95"/>
                    <a:gd name="T16" fmla="*/ 2147483647 w 140"/>
                    <a:gd name="T17" fmla="*/ 2147483647 h 95"/>
                    <a:gd name="T18" fmla="*/ 2147483647 w 140"/>
                    <a:gd name="T19" fmla="*/ 2147483647 h 95"/>
                    <a:gd name="T20" fmla="*/ 2147483647 w 140"/>
                    <a:gd name="T21" fmla="*/ 2147483647 h 95"/>
                    <a:gd name="T22" fmla="*/ 2147483647 w 140"/>
                    <a:gd name="T23" fmla="*/ 2147483647 h 95"/>
                    <a:gd name="T24" fmla="*/ 2147483647 w 140"/>
                    <a:gd name="T25" fmla="*/ 2147483647 h 95"/>
                    <a:gd name="T26" fmla="*/ 2147483647 w 140"/>
                    <a:gd name="T27" fmla="*/ 2147483647 h 95"/>
                    <a:gd name="T28" fmla="*/ 2147483647 w 140"/>
                    <a:gd name="T29" fmla="*/ 2147483647 h 95"/>
                    <a:gd name="T30" fmla="*/ 2147483647 w 140"/>
                    <a:gd name="T31" fmla="*/ 2147483647 h 95"/>
                    <a:gd name="T32" fmla="*/ 2147483647 w 140"/>
                    <a:gd name="T33" fmla="*/ 2147483647 h 95"/>
                    <a:gd name="T34" fmla="*/ 2147483647 w 140"/>
                    <a:gd name="T35" fmla="*/ 2147483647 h 95"/>
                    <a:gd name="T36" fmla="*/ 2147483647 w 140"/>
                    <a:gd name="T37" fmla="*/ 2147483647 h 95"/>
                    <a:gd name="T38" fmla="*/ 2147483647 w 140"/>
                    <a:gd name="T39" fmla="*/ 2147483647 h 95"/>
                    <a:gd name="T40" fmla="*/ 2147483647 w 140"/>
                    <a:gd name="T41" fmla="*/ 2147483647 h 9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40"/>
                    <a:gd name="T64" fmla="*/ 0 h 95"/>
                    <a:gd name="T65" fmla="*/ 140 w 140"/>
                    <a:gd name="T66" fmla="*/ 95 h 9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40" h="95">
                      <a:moveTo>
                        <a:pt x="96" y="26"/>
                      </a:moveTo>
                      <a:lnTo>
                        <a:pt x="88" y="8"/>
                      </a:lnTo>
                      <a:lnTo>
                        <a:pt x="70" y="0"/>
                      </a:lnTo>
                      <a:lnTo>
                        <a:pt x="53" y="8"/>
                      </a:lnTo>
                      <a:lnTo>
                        <a:pt x="35" y="43"/>
                      </a:lnTo>
                      <a:lnTo>
                        <a:pt x="9" y="43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18" y="87"/>
                      </a:lnTo>
                      <a:lnTo>
                        <a:pt x="53" y="78"/>
                      </a:lnTo>
                      <a:lnTo>
                        <a:pt x="70" y="95"/>
                      </a:lnTo>
                      <a:lnTo>
                        <a:pt x="88" y="87"/>
                      </a:lnTo>
                      <a:lnTo>
                        <a:pt x="122" y="95"/>
                      </a:lnTo>
                      <a:lnTo>
                        <a:pt x="122" y="78"/>
                      </a:lnTo>
                      <a:lnTo>
                        <a:pt x="131" y="78"/>
                      </a:lnTo>
                      <a:lnTo>
                        <a:pt x="140" y="61"/>
                      </a:lnTo>
                      <a:lnTo>
                        <a:pt x="122" y="43"/>
                      </a:lnTo>
                      <a:lnTo>
                        <a:pt x="122" y="17"/>
                      </a:lnTo>
                      <a:lnTo>
                        <a:pt x="105" y="8"/>
                      </a:lnTo>
                      <a:lnTo>
                        <a:pt x="96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7" name="Freeform 252"/>
                <p:cNvSpPr>
                  <a:spLocks/>
                </p:cNvSpPr>
                <p:nvPr/>
              </p:nvSpPr>
              <p:spPr bwMode="auto">
                <a:xfrm>
                  <a:off x="4669488" y="1699530"/>
                  <a:ext cx="149980" cy="101733"/>
                </a:xfrm>
                <a:custGeom>
                  <a:avLst/>
                  <a:gdLst>
                    <a:gd name="T0" fmla="*/ 2147483647 w 140"/>
                    <a:gd name="T1" fmla="*/ 2147483647 h 95"/>
                    <a:gd name="T2" fmla="*/ 2147483647 w 140"/>
                    <a:gd name="T3" fmla="*/ 2147483647 h 95"/>
                    <a:gd name="T4" fmla="*/ 2147483647 w 140"/>
                    <a:gd name="T5" fmla="*/ 0 h 95"/>
                    <a:gd name="T6" fmla="*/ 2147483647 w 140"/>
                    <a:gd name="T7" fmla="*/ 2147483647 h 95"/>
                    <a:gd name="T8" fmla="*/ 2147483647 w 140"/>
                    <a:gd name="T9" fmla="*/ 2147483647 h 95"/>
                    <a:gd name="T10" fmla="*/ 2147483647 w 140"/>
                    <a:gd name="T11" fmla="*/ 2147483647 h 95"/>
                    <a:gd name="T12" fmla="*/ 2147483647 w 140"/>
                    <a:gd name="T13" fmla="*/ 2147483647 h 95"/>
                    <a:gd name="T14" fmla="*/ 0 w 140"/>
                    <a:gd name="T15" fmla="*/ 2147483647 h 95"/>
                    <a:gd name="T16" fmla="*/ 2147483647 w 140"/>
                    <a:gd name="T17" fmla="*/ 2147483647 h 95"/>
                    <a:gd name="T18" fmla="*/ 2147483647 w 140"/>
                    <a:gd name="T19" fmla="*/ 2147483647 h 95"/>
                    <a:gd name="T20" fmla="*/ 2147483647 w 140"/>
                    <a:gd name="T21" fmla="*/ 2147483647 h 95"/>
                    <a:gd name="T22" fmla="*/ 2147483647 w 140"/>
                    <a:gd name="T23" fmla="*/ 2147483647 h 95"/>
                    <a:gd name="T24" fmla="*/ 2147483647 w 140"/>
                    <a:gd name="T25" fmla="*/ 2147483647 h 95"/>
                    <a:gd name="T26" fmla="*/ 2147483647 w 140"/>
                    <a:gd name="T27" fmla="*/ 2147483647 h 95"/>
                    <a:gd name="T28" fmla="*/ 2147483647 w 140"/>
                    <a:gd name="T29" fmla="*/ 2147483647 h 95"/>
                    <a:gd name="T30" fmla="*/ 2147483647 w 140"/>
                    <a:gd name="T31" fmla="*/ 2147483647 h 95"/>
                    <a:gd name="T32" fmla="*/ 2147483647 w 140"/>
                    <a:gd name="T33" fmla="*/ 2147483647 h 95"/>
                    <a:gd name="T34" fmla="*/ 2147483647 w 140"/>
                    <a:gd name="T35" fmla="*/ 2147483647 h 95"/>
                    <a:gd name="T36" fmla="*/ 2147483647 w 140"/>
                    <a:gd name="T37" fmla="*/ 2147483647 h 95"/>
                    <a:gd name="T38" fmla="*/ 2147483647 w 140"/>
                    <a:gd name="T39" fmla="*/ 2147483647 h 95"/>
                    <a:gd name="T40" fmla="*/ 2147483647 w 140"/>
                    <a:gd name="T41" fmla="*/ 2147483647 h 9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40"/>
                    <a:gd name="T64" fmla="*/ 0 h 95"/>
                    <a:gd name="T65" fmla="*/ 140 w 140"/>
                    <a:gd name="T66" fmla="*/ 95 h 9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40" h="95">
                      <a:moveTo>
                        <a:pt x="96" y="26"/>
                      </a:moveTo>
                      <a:lnTo>
                        <a:pt x="88" y="8"/>
                      </a:lnTo>
                      <a:lnTo>
                        <a:pt x="70" y="0"/>
                      </a:lnTo>
                      <a:lnTo>
                        <a:pt x="53" y="8"/>
                      </a:lnTo>
                      <a:lnTo>
                        <a:pt x="35" y="43"/>
                      </a:lnTo>
                      <a:lnTo>
                        <a:pt x="9" y="43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18" y="87"/>
                      </a:lnTo>
                      <a:lnTo>
                        <a:pt x="53" y="78"/>
                      </a:lnTo>
                      <a:lnTo>
                        <a:pt x="70" y="95"/>
                      </a:lnTo>
                      <a:lnTo>
                        <a:pt x="88" y="87"/>
                      </a:lnTo>
                      <a:lnTo>
                        <a:pt x="122" y="95"/>
                      </a:lnTo>
                      <a:lnTo>
                        <a:pt x="122" y="78"/>
                      </a:lnTo>
                      <a:lnTo>
                        <a:pt x="131" y="78"/>
                      </a:lnTo>
                      <a:lnTo>
                        <a:pt x="140" y="61"/>
                      </a:lnTo>
                      <a:lnTo>
                        <a:pt x="122" y="43"/>
                      </a:lnTo>
                      <a:lnTo>
                        <a:pt x="122" y="17"/>
                      </a:lnTo>
                      <a:lnTo>
                        <a:pt x="105" y="8"/>
                      </a:lnTo>
                      <a:lnTo>
                        <a:pt x="96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8" name="Freeform 253"/>
                <p:cNvSpPr>
                  <a:spLocks/>
                </p:cNvSpPr>
                <p:nvPr/>
              </p:nvSpPr>
              <p:spPr bwMode="auto">
                <a:xfrm>
                  <a:off x="4669488" y="1773420"/>
                  <a:ext cx="280677" cy="158488"/>
                </a:xfrm>
                <a:custGeom>
                  <a:avLst/>
                  <a:gdLst>
                    <a:gd name="T0" fmla="*/ 2147483647 w 262"/>
                    <a:gd name="T1" fmla="*/ 2147483647 h 148"/>
                    <a:gd name="T2" fmla="*/ 2147483647 w 262"/>
                    <a:gd name="T3" fmla="*/ 2147483647 h 148"/>
                    <a:gd name="T4" fmla="*/ 2147483647 w 262"/>
                    <a:gd name="T5" fmla="*/ 2147483647 h 148"/>
                    <a:gd name="T6" fmla="*/ 0 w 262"/>
                    <a:gd name="T7" fmla="*/ 2147483647 h 148"/>
                    <a:gd name="T8" fmla="*/ 2147483647 w 262"/>
                    <a:gd name="T9" fmla="*/ 2147483647 h 148"/>
                    <a:gd name="T10" fmla="*/ 2147483647 w 262"/>
                    <a:gd name="T11" fmla="*/ 2147483647 h 148"/>
                    <a:gd name="T12" fmla="*/ 2147483647 w 262"/>
                    <a:gd name="T13" fmla="*/ 2147483647 h 148"/>
                    <a:gd name="T14" fmla="*/ 2147483647 w 262"/>
                    <a:gd name="T15" fmla="*/ 2147483647 h 148"/>
                    <a:gd name="T16" fmla="*/ 2147483647 w 262"/>
                    <a:gd name="T17" fmla="*/ 2147483647 h 148"/>
                    <a:gd name="T18" fmla="*/ 2147483647 w 262"/>
                    <a:gd name="T19" fmla="*/ 2147483647 h 148"/>
                    <a:gd name="T20" fmla="*/ 2147483647 w 262"/>
                    <a:gd name="T21" fmla="*/ 2147483647 h 148"/>
                    <a:gd name="T22" fmla="*/ 2147483647 w 262"/>
                    <a:gd name="T23" fmla="*/ 2147483647 h 148"/>
                    <a:gd name="T24" fmla="*/ 2147483647 w 262"/>
                    <a:gd name="T25" fmla="*/ 2147483647 h 148"/>
                    <a:gd name="T26" fmla="*/ 2147483647 w 262"/>
                    <a:gd name="T27" fmla="*/ 2147483647 h 148"/>
                    <a:gd name="T28" fmla="*/ 2147483647 w 262"/>
                    <a:gd name="T29" fmla="*/ 2147483647 h 148"/>
                    <a:gd name="T30" fmla="*/ 2147483647 w 262"/>
                    <a:gd name="T31" fmla="*/ 2147483647 h 148"/>
                    <a:gd name="T32" fmla="*/ 2147483647 w 262"/>
                    <a:gd name="T33" fmla="*/ 2147483647 h 148"/>
                    <a:gd name="T34" fmla="*/ 2147483647 w 262"/>
                    <a:gd name="T35" fmla="*/ 2147483647 h 148"/>
                    <a:gd name="T36" fmla="*/ 2147483647 w 262"/>
                    <a:gd name="T37" fmla="*/ 2147483647 h 148"/>
                    <a:gd name="T38" fmla="*/ 2147483647 w 262"/>
                    <a:gd name="T39" fmla="*/ 2147483647 h 148"/>
                    <a:gd name="T40" fmla="*/ 2147483647 w 262"/>
                    <a:gd name="T41" fmla="*/ 2147483647 h 148"/>
                    <a:gd name="T42" fmla="*/ 2147483647 w 262"/>
                    <a:gd name="T43" fmla="*/ 2147483647 h 148"/>
                    <a:gd name="T44" fmla="*/ 2147483647 w 262"/>
                    <a:gd name="T45" fmla="*/ 2147483647 h 148"/>
                    <a:gd name="T46" fmla="*/ 2147483647 w 262"/>
                    <a:gd name="T47" fmla="*/ 2147483647 h 148"/>
                    <a:gd name="T48" fmla="*/ 2147483647 w 262"/>
                    <a:gd name="T49" fmla="*/ 2147483647 h 148"/>
                    <a:gd name="T50" fmla="*/ 2147483647 w 262"/>
                    <a:gd name="T51" fmla="*/ 2147483647 h 148"/>
                    <a:gd name="T52" fmla="*/ 2147483647 w 262"/>
                    <a:gd name="T53" fmla="*/ 2147483647 h 148"/>
                    <a:gd name="T54" fmla="*/ 2147483647 w 262"/>
                    <a:gd name="T55" fmla="*/ 2147483647 h 148"/>
                    <a:gd name="T56" fmla="*/ 2147483647 w 262"/>
                    <a:gd name="T57" fmla="*/ 2147483647 h 148"/>
                    <a:gd name="T58" fmla="*/ 2147483647 w 262"/>
                    <a:gd name="T59" fmla="*/ 2147483647 h 148"/>
                    <a:gd name="T60" fmla="*/ 2147483647 w 262"/>
                    <a:gd name="T61" fmla="*/ 2147483647 h 148"/>
                    <a:gd name="T62" fmla="*/ 2147483647 w 262"/>
                    <a:gd name="T63" fmla="*/ 0 h 148"/>
                    <a:gd name="T64" fmla="*/ 2147483647 w 262"/>
                    <a:gd name="T65" fmla="*/ 2147483647 h 148"/>
                    <a:gd name="T66" fmla="*/ 2147483647 w 262"/>
                    <a:gd name="T67" fmla="*/ 2147483647 h 148"/>
                    <a:gd name="T68" fmla="*/ 2147483647 w 262"/>
                    <a:gd name="T69" fmla="*/ 2147483647 h 148"/>
                    <a:gd name="T70" fmla="*/ 2147483647 w 262"/>
                    <a:gd name="T71" fmla="*/ 2147483647 h 148"/>
                    <a:gd name="T72" fmla="*/ 2147483647 w 262"/>
                    <a:gd name="T73" fmla="*/ 2147483647 h 148"/>
                    <a:gd name="T74" fmla="*/ 2147483647 w 262"/>
                    <a:gd name="T75" fmla="*/ 2147483647 h 148"/>
                    <a:gd name="T76" fmla="*/ 2147483647 w 262"/>
                    <a:gd name="T77" fmla="*/ 2147483647 h 148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62"/>
                    <a:gd name="T118" fmla="*/ 0 h 148"/>
                    <a:gd name="T119" fmla="*/ 262 w 262"/>
                    <a:gd name="T120" fmla="*/ 148 h 148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62" h="148">
                      <a:moveTo>
                        <a:pt x="18" y="18"/>
                      </a:moveTo>
                      <a:lnTo>
                        <a:pt x="27" y="35"/>
                      </a:lnTo>
                      <a:lnTo>
                        <a:pt x="9" y="53"/>
                      </a:lnTo>
                      <a:lnTo>
                        <a:pt x="0" y="70"/>
                      </a:lnTo>
                      <a:lnTo>
                        <a:pt x="18" y="79"/>
                      </a:lnTo>
                      <a:lnTo>
                        <a:pt x="53" y="87"/>
                      </a:lnTo>
                      <a:lnTo>
                        <a:pt x="70" y="79"/>
                      </a:lnTo>
                      <a:lnTo>
                        <a:pt x="88" y="70"/>
                      </a:lnTo>
                      <a:lnTo>
                        <a:pt x="105" y="79"/>
                      </a:lnTo>
                      <a:lnTo>
                        <a:pt x="114" y="105"/>
                      </a:lnTo>
                      <a:lnTo>
                        <a:pt x="96" y="122"/>
                      </a:lnTo>
                      <a:lnTo>
                        <a:pt x="114" y="131"/>
                      </a:lnTo>
                      <a:lnTo>
                        <a:pt x="131" y="105"/>
                      </a:lnTo>
                      <a:lnTo>
                        <a:pt x="166" y="122"/>
                      </a:lnTo>
                      <a:lnTo>
                        <a:pt x="175" y="148"/>
                      </a:lnTo>
                      <a:lnTo>
                        <a:pt x="184" y="148"/>
                      </a:lnTo>
                      <a:lnTo>
                        <a:pt x="201" y="131"/>
                      </a:lnTo>
                      <a:lnTo>
                        <a:pt x="192" y="114"/>
                      </a:lnTo>
                      <a:lnTo>
                        <a:pt x="175" y="114"/>
                      </a:lnTo>
                      <a:lnTo>
                        <a:pt x="236" y="96"/>
                      </a:lnTo>
                      <a:lnTo>
                        <a:pt x="245" y="87"/>
                      </a:lnTo>
                      <a:lnTo>
                        <a:pt x="262" y="79"/>
                      </a:lnTo>
                      <a:lnTo>
                        <a:pt x="262" y="53"/>
                      </a:lnTo>
                      <a:lnTo>
                        <a:pt x="218" y="35"/>
                      </a:lnTo>
                      <a:lnTo>
                        <a:pt x="210" y="44"/>
                      </a:lnTo>
                      <a:lnTo>
                        <a:pt x="201" y="35"/>
                      </a:lnTo>
                      <a:lnTo>
                        <a:pt x="192" y="35"/>
                      </a:lnTo>
                      <a:lnTo>
                        <a:pt x="184" y="26"/>
                      </a:lnTo>
                      <a:lnTo>
                        <a:pt x="175" y="26"/>
                      </a:lnTo>
                      <a:lnTo>
                        <a:pt x="175" y="9"/>
                      </a:lnTo>
                      <a:lnTo>
                        <a:pt x="166" y="0"/>
                      </a:lnTo>
                      <a:lnTo>
                        <a:pt x="131" y="9"/>
                      </a:lnTo>
                      <a:lnTo>
                        <a:pt x="122" y="9"/>
                      </a:lnTo>
                      <a:lnTo>
                        <a:pt x="122" y="26"/>
                      </a:lnTo>
                      <a:lnTo>
                        <a:pt x="88" y="18"/>
                      </a:lnTo>
                      <a:lnTo>
                        <a:pt x="70" y="26"/>
                      </a:lnTo>
                      <a:lnTo>
                        <a:pt x="53" y="9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9" name="Freeform 254"/>
                <p:cNvSpPr>
                  <a:spLocks/>
                </p:cNvSpPr>
                <p:nvPr/>
              </p:nvSpPr>
              <p:spPr bwMode="auto">
                <a:xfrm>
                  <a:off x="4669488" y="1773420"/>
                  <a:ext cx="280677" cy="158488"/>
                </a:xfrm>
                <a:custGeom>
                  <a:avLst/>
                  <a:gdLst>
                    <a:gd name="T0" fmla="*/ 2147483647 w 262"/>
                    <a:gd name="T1" fmla="*/ 2147483647 h 148"/>
                    <a:gd name="T2" fmla="*/ 2147483647 w 262"/>
                    <a:gd name="T3" fmla="*/ 2147483647 h 148"/>
                    <a:gd name="T4" fmla="*/ 2147483647 w 262"/>
                    <a:gd name="T5" fmla="*/ 2147483647 h 148"/>
                    <a:gd name="T6" fmla="*/ 0 w 262"/>
                    <a:gd name="T7" fmla="*/ 2147483647 h 148"/>
                    <a:gd name="T8" fmla="*/ 2147483647 w 262"/>
                    <a:gd name="T9" fmla="*/ 2147483647 h 148"/>
                    <a:gd name="T10" fmla="*/ 2147483647 w 262"/>
                    <a:gd name="T11" fmla="*/ 2147483647 h 148"/>
                    <a:gd name="T12" fmla="*/ 2147483647 w 262"/>
                    <a:gd name="T13" fmla="*/ 2147483647 h 148"/>
                    <a:gd name="T14" fmla="*/ 2147483647 w 262"/>
                    <a:gd name="T15" fmla="*/ 2147483647 h 148"/>
                    <a:gd name="T16" fmla="*/ 2147483647 w 262"/>
                    <a:gd name="T17" fmla="*/ 2147483647 h 148"/>
                    <a:gd name="T18" fmla="*/ 2147483647 w 262"/>
                    <a:gd name="T19" fmla="*/ 2147483647 h 148"/>
                    <a:gd name="T20" fmla="*/ 2147483647 w 262"/>
                    <a:gd name="T21" fmla="*/ 2147483647 h 148"/>
                    <a:gd name="T22" fmla="*/ 2147483647 w 262"/>
                    <a:gd name="T23" fmla="*/ 2147483647 h 148"/>
                    <a:gd name="T24" fmla="*/ 2147483647 w 262"/>
                    <a:gd name="T25" fmla="*/ 2147483647 h 148"/>
                    <a:gd name="T26" fmla="*/ 2147483647 w 262"/>
                    <a:gd name="T27" fmla="*/ 2147483647 h 148"/>
                    <a:gd name="T28" fmla="*/ 2147483647 w 262"/>
                    <a:gd name="T29" fmla="*/ 2147483647 h 148"/>
                    <a:gd name="T30" fmla="*/ 2147483647 w 262"/>
                    <a:gd name="T31" fmla="*/ 2147483647 h 148"/>
                    <a:gd name="T32" fmla="*/ 2147483647 w 262"/>
                    <a:gd name="T33" fmla="*/ 2147483647 h 148"/>
                    <a:gd name="T34" fmla="*/ 2147483647 w 262"/>
                    <a:gd name="T35" fmla="*/ 2147483647 h 148"/>
                    <a:gd name="T36" fmla="*/ 2147483647 w 262"/>
                    <a:gd name="T37" fmla="*/ 2147483647 h 148"/>
                    <a:gd name="T38" fmla="*/ 2147483647 w 262"/>
                    <a:gd name="T39" fmla="*/ 2147483647 h 148"/>
                    <a:gd name="T40" fmla="*/ 2147483647 w 262"/>
                    <a:gd name="T41" fmla="*/ 2147483647 h 148"/>
                    <a:gd name="T42" fmla="*/ 2147483647 w 262"/>
                    <a:gd name="T43" fmla="*/ 2147483647 h 148"/>
                    <a:gd name="T44" fmla="*/ 2147483647 w 262"/>
                    <a:gd name="T45" fmla="*/ 2147483647 h 148"/>
                    <a:gd name="T46" fmla="*/ 2147483647 w 262"/>
                    <a:gd name="T47" fmla="*/ 2147483647 h 148"/>
                    <a:gd name="T48" fmla="*/ 2147483647 w 262"/>
                    <a:gd name="T49" fmla="*/ 2147483647 h 148"/>
                    <a:gd name="T50" fmla="*/ 2147483647 w 262"/>
                    <a:gd name="T51" fmla="*/ 2147483647 h 148"/>
                    <a:gd name="T52" fmla="*/ 2147483647 w 262"/>
                    <a:gd name="T53" fmla="*/ 2147483647 h 148"/>
                    <a:gd name="T54" fmla="*/ 2147483647 w 262"/>
                    <a:gd name="T55" fmla="*/ 2147483647 h 148"/>
                    <a:gd name="T56" fmla="*/ 2147483647 w 262"/>
                    <a:gd name="T57" fmla="*/ 2147483647 h 148"/>
                    <a:gd name="T58" fmla="*/ 2147483647 w 262"/>
                    <a:gd name="T59" fmla="*/ 2147483647 h 148"/>
                    <a:gd name="T60" fmla="*/ 2147483647 w 262"/>
                    <a:gd name="T61" fmla="*/ 2147483647 h 148"/>
                    <a:gd name="T62" fmla="*/ 2147483647 w 262"/>
                    <a:gd name="T63" fmla="*/ 0 h 148"/>
                    <a:gd name="T64" fmla="*/ 2147483647 w 262"/>
                    <a:gd name="T65" fmla="*/ 2147483647 h 148"/>
                    <a:gd name="T66" fmla="*/ 2147483647 w 262"/>
                    <a:gd name="T67" fmla="*/ 2147483647 h 148"/>
                    <a:gd name="T68" fmla="*/ 2147483647 w 262"/>
                    <a:gd name="T69" fmla="*/ 2147483647 h 148"/>
                    <a:gd name="T70" fmla="*/ 2147483647 w 262"/>
                    <a:gd name="T71" fmla="*/ 2147483647 h 148"/>
                    <a:gd name="T72" fmla="*/ 2147483647 w 262"/>
                    <a:gd name="T73" fmla="*/ 2147483647 h 148"/>
                    <a:gd name="T74" fmla="*/ 2147483647 w 262"/>
                    <a:gd name="T75" fmla="*/ 2147483647 h 148"/>
                    <a:gd name="T76" fmla="*/ 2147483647 w 262"/>
                    <a:gd name="T77" fmla="*/ 2147483647 h 148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62"/>
                    <a:gd name="T118" fmla="*/ 0 h 148"/>
                    <a:gd name="T119" fmla="*/ 262 w 262"/>
                    <a:gd name="T120" fmla="*/ 148 h 148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62" h="148">
                      <a:moveTo>
                        <a:pt x="18" y="18"/>
                      </a:moveTo>
                      <a:lnTo>
                        <a:pt x="27" y="35"/>
                      </a:lnTo>
                      <a:lnTo>
                        <a:pt x="9" y="53"/>
                      </a:lnTo>
                      <a:lnTo>
                        <a:pt x="0" y="70"/>
                      </a:lnTo>
                      <a:lnTo>
                        <a:pt x="18" y="79"/>
                      </a:lnTo>
                      <a:lnTo>
                        <a:pt x="53" y="87"/>
                      </a:lnTo>
                      <a:lnTo>
                        <a:pt x="70" y="79"/>
                      </a:lnTo>
                      <a:lnTo>
                        <a:pt x="88" y="70"/>
                      </a:lnTo>
                      <a:lnTo>
                        <a:pt x="105" y="79"/>
                      </a:lnTo>
                      <a:lnTo>
                        <a:pt x="114" y="105"/>
                      </a:lnTo>
                      <a:lnTo>
                        <a:pt x="96" y="122"/>
                      </a:lnTo>
                      <a:lnTo>
                        <a:pt x="114" y="131"/>
                      </a:lnTo>
                      <a:lnTo>
                        <a:pt x="131" y="105"/>
                      </a:lnTo>
                      <a:lnTo>
                        <a:pt x="166" y="122"/>
                      </a:lnTo>
                      <a:lnTo>
                        <a:pt x="175" y="148"/>
                      </a:lnTo>
                      <a:lnTo>
                        <a:pt x="184" y="148"/>
                      </a:lnTo>
                      <a:lnTo>
                        <a:pt x="201" y="131"/>
                      </a:lnTo>
                      <a:lnTo>
                        <a:pt x="192" y="114"/>
                      </a:lnTo>
                      <a:lnTo>
                        <a:pt x="175" y="114"/>
                      </a:lnTo>
                      <a:lnTo>
                        <a:pt x="236" y="96"/>
                      </a:lnTo>
                      <a:lnTo>
                        <a:pt x="245" y="87"/>
                      </a:lnTo>
                      <a:lnTo>
                        <a:pt x="262" y="79"/>
                      </a:lnTo>
                      <a:lnTo>
                        <a:pt x="262" y="53"/>
                      </a:lnTo>
                      <a:lnTo>
                        <a:pt x="218" y="35"/>
                      </a:lnTo>
                      <a:lnTo>
                        <a:pt x="210" y="44"/>
                      </a:lnTo>
                      <a:lnTo>
                        <a:pt x="201" y="35"/>
                      </a:lnTo>
                      <a:lnTo>
                        <a:pt x="192" y="35"/>
                      </a:lnTo>
                      <a:lnTo>
                        <a:pt x="184" y="26"/>
                      </a:lnTo>
                      <a:lnTo>
                        <a:pt x="175" y="26"/>
                      </a:lnTo>
                      <a:lnTo>
                        <a:pt x="175" y="9"/>
                      </a:lnTo>
                      <a:lnTo>
                        <a:pt x="166" y="0"/>
                      </a:lnTo>
                      <a:lnTo>
                        <a:pt x="131" y="9"/>
                      </a:lnTo>
                      <a:lnTo>
                        <a:pt x="122" y="9"/>
                      </a:lnTo>
                      <a:lnTo>
                        <a:pt x="122" y="26"/>
                      </a:lnTo>
                      <a:lnTo>
                        <a:pt x="88" y="18"/>
                      </a:lnTo>
                      <a:lnTo>
                        <a:pt x="70" y="26"/>
                      </a:lnTo>
                      <a:lnTo>
                        <a:pt x="53" y="9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0" name="Freeform 255"/>
                <p:cNvSpPr>
                  <a:spLocks/>
                </p:cNvSpPr>
                <p:nvPr/>
              </p:nvSpPr>
              <p:spPr bwMode="auto">
                <a:xfrm>
                  <a:off x="4884816" y="1904066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2147483647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1" name="Freeform 256"/>
                <p:cNvSpPr>
                  <a:spLocks/>
                </p:cNvSpPr>
                <p:nvPr/>
              </p:nvSpPr>
              <p:spPr bwMode="auto">
                <a:xfrm>
                  <a:off x="4884816" y="1904066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2147483647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2" name="Freeform 257"/>
                <p:cNvSpPr>
                  <a:spLocks/>
                </p:cNvSpPr>
                <p:nvPr/>
              </p:nvSpPr>
              <p:spPr bwMode="auto">
                <a:xfrm>
                  <a:off x="4744478" y="1848381"/>
                  <a:ext cx="47137" cy="55685"/>
                </a:xfrm>
                <a:custGeom>
                  <a:avLst/>
                  <a:gdLst>
                    <a:gd name="T0" fmla="*/ 2147483647 w 44"/>
                    <a:gd name="T1" fmla="*/ 0 h 52"/>
                    <a:gd name="T2" fmla="*/ 0 w 44"/>
                    <a:gd name="T3" fmla="*/ 2147483647 h 52"/>
                    <a:gd name="T4" fmla="*/ 2147483647 w 44"/>
                    <a:gd name="T5" fmla="*/ 2147483647 h 52"/>
                    <a:gd name="T6" fmla="*/ 2147483647 w 44"/>
                    <a:gd name="T7" fmla="*/ 2147483647 h 52"/>
                    <a:gd name="T8" fmla="*/ 2147483647 w 44"/>
                    <a:gd name="T9" fmla="*/ 2147483647 h 52"/>
                    <a:gd name="T10" fmla="*/ 2147483647 w 44"/>
                    <a:gd name="T11" fmla="*/ 2147483647 h 52"/>
                    <a:gd name="T12" fmla="*/ 2147483647 w 44"/>
                    <a:gd name="T13" fmla="*/ 0 h 5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52"/>
                    <a:gd name="T23" fmla="*/ 44 w 44"/>
                    <a:gd name="T24" fmla="*/ 52 h 5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52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26"/>
                      </a:lnTo>
                      <a:lnTo>
                        <a:pt x="26" y="52"/>
                      </a:lnTo>
                      <a:lnTo>
                        <a:pt x="44" y="35"/>
                      </a:lnTo>
                      <a:lnTo>
                        <a:pt x="35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3" name="Freeform 258"/>
                <p:cNvSpPr>
                  <a:spLocks/>
                </p:cNvSpPr>
                <p:nvPr/>
              </p:nvSpPr>
              <p:spPr bwMode="auto">
                <a:xfrm>
                  <a:off x="4744478" y="1848381"/>
                  <a:ext cx="47137" cy="55685"/>
                </a:xfrm>
                <a:custGeom>
                  <a:avLst/>
                  <a:gdLst>
                    <a:gd name="T0" fmla="*/ 2147483647 w 44"/>
                    <a:gd name="T1" fmla="*/ 0 h 52"/>
                    <a:gd name="T2" fmla="*/ 0 w 44"/>
                    <a:gd name="T3" fmla="*/ 2147483647 h 52"/>
                    <a:gd name="T4" fmla="*/ 2147483647 w 44"/>
                    <a:gd name="T5" fmla="*/ 2147483647 h 52"/>
                    <a:gd name="T6" fmla="*/ 2147483647 w 44"/>
                    <a:gd name="T7" fmla="*/ 2147483647 h 52"/>
                    <a:gd name="T8" fmla="*/ 2147483647 w 44"/>
                    <a:gd name="T9" fmla="*/ 2147483647 h 52"/>
                    <a:gd name="T10" fmla="*/ 2147483647 w 44"/>
                    <a:gd name="T11" fmla="*/ 2147483647 h 52"/>
                    <a:gd name="T12" fmla="*/ 2147483647 w 44"/>
                    <a:gd name="T13" fmla="*/ 0 h 5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52"/>
                    <a:gd name="T23" fmla="*/ 44 w 44"/>
                    <a:gd name="T24" fmla="*/ 52 h 5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52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26"/>
                      </a:lnTo>
                      <a:lnTo>
                        <a:pt x="26" y="52"/>
                      </a:lnTo>
                      <a:lnTo>
                        <a:pt x="44" y="35"/>
                      </a:lnTo>
                      <a:lnTo>
                        <a:pt x="35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4" name="Freeform 259"/>
                <p:cNvSpPr>
                  <a:spLocks/>
                </p:cNvSpPr>
                <p:nvPr/>
              </p:nvSpPr>
              <p:spPr bwMode="auto">
                <a:xfrm>
                  <a:off x="4427377" y="1680256"/>
                  <a:ext cx="37495" cy="55685"/>
                </a:xfrm>
                <a:custGeom>
                  <a:avLst/>
                  <a:gdLst>
                    <a:gd name="T0" fmla="*/ 2147483647 w 35"/>
                    <a:gd name="T1" fmla="*/ 2147483647 h 52"/>
                    <a:gd name="T2" fmla="*/ 2147483647 w 35"/>
                    <a:gd name="T3" fmla="*/ 2147483647 h 52"/>
                    <a:gd name="T4" fmla="*/ 2147483647 w 35"/>
                    <a:gd name="T5" fmla="*/ 0 h 52"/>
                    <a:gd name="T6" fmla="*/ 0 w 35"/>
                    <a:gd name="T7" fmla="*/ 2147483647 h 52"/>
                    <a:gd name="T8" fmla="*/ 2147483647 w 35"/>
                    <a:gd name="T9" fmla="*/ 2147483647 h 52"/>
                    <a:gd name="T10" fmla="*/ 2147483647 w 35"/>
                    <a:gd name="T11" fmla="*/ 2147483647 h 5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52"/>
                    <a:gd name="T20" fmla="*/ 35 w 35"/>
                    <a:gd name="T21" fmla="*/ 52 h 5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52">
                      <a:moveTo>
                        <a:pt x="35" y="52"/>
                      </a:moveTo>
                      <a:lnTo>
                        <a:pt x="35" y="18"/>
                      </a:lnTo>
                      <a:lnTo>
                        <a:pt x="26" y="0"/>
                      </a:lnTo>
                      <a:lnTo>
                        <a:pt x="0" y="26"/>
                      </a:lnTo>
                      <a:lnTo>
                        <a:pt x="17" y="35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5" name="Freeform 260"/>
                <p:cNvSpPr>
                  <a:spLocks/>
                </p:cNvSpPr>
                <p:nvPr/>
              </p:nvSpPr>
              <p:spPr bwMode="auto">
                <a:xfrm>
                  <a:off x="4427377" y="1680257"/>
                  <a:ext cx="37495" cy="55685"/>
                </a:xfrm>
                <a:custGeom>
                  <a:avLst/>
                  <a:gdLst>
                    <a:gd name="T0" fmla="*/ 2147483647 w 35"/>
                    <a:gd name="T1" fmla="*/ 2147483647 h 52"/>
                    <a:gd name="T2" fmla="*/ 2147483647 w 35"/>
                    <a:gd name="T3" fmla="*/ 2147483647 h 52"/>
                    <a:gd name="T4" fmla="*/ 2147483647 w 35"/>
                    <a:gd name="T5" fmla="*/ 0 h 52"/>
                    <a:gd name="T6" fmla="*/ 0 w 35"/>
                    <a:gd name="T7" fmla="*/ 2147483647 h 52"/>
                    <a:gd name="T8" fmla="*/ 2147483647 w 35"/>
                    <a:gd name="T9" fmla="*/ 2147483647 h 52"/>
                    <a:gd name="T10" fmla="*/ 2147483647 w 35"/>
                    <a:gd name="T11" fmla="*/ 2147483647 h 5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52"/>
                    <a:gd name="T20" fmla="*/ 35 w 35"/>
                    <a:gd name="T21" fmla="*/ 52 h 5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52">
                      <a:moveTo>
                        <a:pt x="35" y="52"/>
                      </a:moveTo>
                      <a:lnTo>
                        <a:pt x="35" y="18"/>
                      </a:lnTo>
                      <a:lnTo>
                        <a:pt x="26" y="0"/>
                      </a:lnTo>
                      <a:lnTo>
                        <a:pt x="0" y="26"/>
                      </a:lnTo>
                      <a:lnTo>
                        <a:pt x="17" y="35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6" name="Freeform 261"/>
                <p:cNvSpPr>
                  <a:spLocks/>
                </p:cNvSpPr>
                <p:nvPr/>
              </p:nvSpPr>
              <p:spPr bwMode="auto">
                <a:xfrm>
                  <a:off x="4530220" y="1717737"/>
                  <a:ext cx="168192" cy="112441"/>
                </a:xfrm>
                <a:custGeom>
                  <a:avLst/>
                  <a:gdLst>
                    <a:gd name="T0" fmla="*/ 2147483647 w 157"/>
                    <a:gd name="T1" fmla="*/ 2147483647 h 105"/>
                    <a:gd name="T2" fmla="*/ 2147483647 w 157"/>
                    <a:gd name="T3" fmla="*/ 2147483647 h 105"/>
                    <a:gd name="T4" fmla="*/ 2147483647 w 157"/>
                    <a:gd name="T5" fmla="*/ 0 h 105"/>
                    <a:gd name="T6" fmla="*/ 0 w 157"/>
                    <a:gd name="T7" fmla="*/ 2147483647 h 105"/>
                    <a:gd name="T8" fmla="*/ 2147483647 w 157"/>
                    <a:gd name="T9" fmla="*/ 2147483647 h 105"/>
                    <a:gd name="T10" fmla="*/ 2147483647 w 157"/>
                    <a:gd name="T11" fmla="*/ 2147483647 h 105"/>
                    <a:gd name="T12" fmla="*/ 2147483647 w 157"/>
                    <a:gd name="T13" fmla="*/ 2147483647 h 105"/>
                    <a:gd name="T14" fmla="*/ 2147483647 w 157"/>
                    <a:gd name="T15" fmla="*/ 2147483647 h 105"/>
                    <a:gd name="T16" fmla="*/ 2147483647 w 157"/>
                    <a:gd name="T17" fmla="*/ 2147483647 h 105"/>
                    <a:gd name="T18" fmla="*/ 2147483647 w 157"/>
                    <a:gd name="T19" fmla="*/ 2147483647 h 105"/>
                    <a:gd name="T20" fmla="*/ 2147483647 w 157"/>
                    <a:gd name="T21" fmla="*/ 2147483647 h 105"/>
                    <a:gd name="T22" fmla="*/ 2147483647 w 157"/>
                    <a:gd name="T23" fmla="*/ 2147483647 h 105"/>
                    <a:gd name="T24" fmla="*/ 2147483647 w 157"/>
                    <a:gd name="T25" fmla="*/ 2147483647 h 10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57"/>
                    <a:gd name="T40" fmla="*/ 0 h 105"/>
                    <a:gd name="T41" fmla="*/ 157 w 157"/>
                    <a:gd name="T42" fmla="*/ 105 h 10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57" h="105">
                      <a:moveTo>
                        <a:pt x="78" y="17"/>
                      </a:move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0" y="17"/>
                      </a:lnTo>
                      <a:lnTo>
                        <a:pt x="26" y="70"/>
                      </a:lnTo>
                      <a:lnTo>
                        <a:pt x="87" y="105"/>
                      </a:lnTo>
                      <a:lnTo>
                        <a:pt x="139" y="105"/>
                      </a:lnTo>
                      <a:lnTo>
                        <a:pt x="157" y="78"/>
                      </a:lnTo>
                      <a:lnTo>
                        <a:pt x="148" y="70"/>
                      </a:lnTo>
                      <a:lnTo>
                        <a:pt x="130" y="52"/>
                      </a:lnTo>
                      <a:lnTo>
                        <a:pt x="148" y="35"/>
                      </a:lnTo>
                      <a:lnTo>
                        <a:pt x="139" y="26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7" name="Freeform 262"/>
                <p:cNvSpPr>
                  <a:spLocks/>
                </p:cNvSpPr>
                <p:nvPr/>
              </p:nvSpPr>
              <p:spPr bwMode="auto">
                <a:xfrm>
                  <a:off x="4530220" y="1717737"/>
                  <a:ext cx="168192" cy="112441"/>
                </a:xfrm>
                <a:custGeom>
                  <a:avLst/>
                  <a:gdLst>
                    <a:gd name="T0" fmla="*/ 2147483647 w 157"/>
                    <a:gd name="T1" fmla="*/ 2147483647 h 105"/>
                    <a:gd name="T2" fmla="*/ 2147483647 w 157"/>
                    <a:gd name="T3" fmla="*/ 2147483647 h 105"/>
                    <a:gd name="T4" fmla="*/ 2147483647 w 157"/>
                    <a:gd name="T5" fmla="*/ 0 h 105"/>
                    <a:gd name="T6" fmla="*/ 0 w 157"/>
                    <a:gd name="T7" fmla="*/ 2147483647 h 105"/>
                    <a:gd name="T8" fmla="*/ 2147483647 w 157"/>
                    <a:gd name="T9" fmla="*/ 2147483647 h 105"/>
                    <a:gd name="T10" fmla="*/ 2147483647 w 157"/>
                    <a:gd name="T11" fmla="*/ 2147483647 h 105"/>
                    <a:gd name="T12" fmla="*/ 2147483647 w 157"/>
                    <a:gd name="T13" fmla="*/ 2147483647 h 105"/>
                    <a:gd name="T14" fmla="*/ 2147483647 w 157"/>
                    <a:gd name="T15" fmla="*/ 2147483647 h 105"/>
                    <a:gd name="T16" fmla="*/ 2147483647 w 157"/>
                    <a:gd name="T17" fmla="*/ 2147483647 h 105"/>
                    <a:gd name="T18" fmla="*/ 2147483647 w 157"/>
                    <a:gd name="T19" fmla="*/ 2147483647 h 105"/>
                    <a:gd name="T20" fmla="*/ 2147483647 w 157"/>
                    <a:gd name="T21" fmla="*/ 2147483647 h 105"/>
                    <a:gd name="T22" fmla="*/ 2147483647 w 157"/>
                    <a:gd name="T23" fmla="*/ 2147483647 h 105"/>
                    <a:gd name="T24" fmla="*/ 2147483647 w 157"/>
                    <a:gd name="T25" fmla="*/ 2147483647 h 10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57"/>
                    <a:gd name="T40" fmla="*/ 0 h 105"/>
                    <a:gd name="T41" fmla="*/ 157 w 157"/>
                    <a:gd name="T42" fmla="*/ 105 h 10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57" h="105">
                      <a:moveTo>
                        <a:pt x="78" y="17"/>
                      </a:move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0" y="17"/>
                      </a:lnTo>
                      <a:lnTo>
                        <a:pt x="26" y="70"/>
                      </a:lnTo>
                      <a:lnTo>
                        <a:pt x="87" y="105"/>
                      </a:lnTo>
                      <a:lnTo>
                        <a:pt x="139" y="105"/>
                      </a:lnTo>
                      <a:lnTo>
                        <a:pt x="157" y="78"/>
                      </a:lnTo>
                      <a:lnTo>
                        <a:pt x="148" y="70"/>
                      </a:lnTo>
                      <a:lnTo>
                        <a:pt x="130" y="52"/>
                      </a:lnTo>
                      <a:lnTo>
                        <a:pt x="148" y="35"/>
                      </a:lnTo>
                      <a:lnTo>
                        <a:pt x="139" y="26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8" name="Freeform 263"/>
                <p:cNvSpPr>
                  <a:spLocks/>
                </p:cNvSpPr>
                <p:nvPr/>
              </p:nvSpPr>
              <p:spPr bwMode="auto">
                <a:xfrm>
                  <a:off x="4585927" y="1830178"/>
                  <a:ext cx="93202" cy="36409"/>
                </a:xfrm>
                <a:custGeom>
                  <a:avLst/>
                  <a:gdLst>
                    <a:gd name="T0" fmla="*/ 0 w 87"/>
                    <a:gd name="T1" fmla="*/ 2147483647 h 34"/>
                    <a:gd name="T2" fmla="*/ 2147483647 w 87"/>
                    <a:gd name="T3" fmla="*/ 2147483647 h 34"/>
                    <a:gd name="T4" fmla="*/ 2147483647 w 87"/>
                    <a:gd name="T5" fmla="*/ 2147483647 h 34"/>
                    <a:gd name="T6" fmla="*/ 2147483647 w 87"/>
                    <a:gd name="T7" fmla="*/ 2147483647 h 34"/>
                    <a:gd name="T8" fmla="*/ 2147483647 w 87"/>
                    <a:gd name="T9" fmla="*/ 2147483647 h 34"/>
                    <a:gd name="T10" fmla="*/ 2147483647 w 87"/>
                    <a:gd name="T11" fmla="*/ 0 h 34"/>
                    <a:gd name="T12" fmla="*/ 2147483647 w 87"/>
                    <a:gd name="T13" fmla="*/ 0 h 34"/>
                    <a:gd name="T14" fmla="*/ 2147483647 w 87"/>
                    <a:gd name="T15" fmla="*/ 2147483647 h 34"/>
                    <a:gd name="T16" fmla="*/ 0 w 87"/>
                    <a:gd name="T17" fmla="*/ 2147483647 h 34"/>
                    <a:gd name="T18" fmla="*/ 0 w 87"/>
                    <a:gd name="T19" fmla="*/ 2147483647 h 3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34"/>
                    <a:gd name="T32" fmla="*/ 87 w 87"/>
                    <a:gd name="T33" fmla="*/ 34 h 3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34">
                      <a:moveTo>
                        <a:pt x="0" y="17"/>
                      </a:moveTo>
                      <a:lnTo>
                        <a:pt x="9" y="26"/>
                      </a:lnTo>
                      <a:lnTo>
                        <a:pt x="17" y="34"/>
                      </a:lnTo>
                      <a:lnTo>
                        <a:pt x="44" y="17"/>
                      </a:lnTo>
                      <a:lnTo>
                        <a:pt x="78" y="17"/>
                      </a:lnTo>
                      <a:lnTo>
                        <a:pt x="87" y="0"/>
                      </a:lnTo>
                      <a:lnTo>
                        <a:pt x="35" y="0"/>
                      </a:lnTo>
                      <a:lnTo>
                        <a:pt x="17" y="8"/>
                      </a:lnTo>
                      <a:lnTo>
                        <a:pt x="0" y="8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9" name="Freeform 264"/>
                <p:cNvSpPr>
                  <a:spLocks/>
                </p:cNvSpPr>
                <p:nvPr/>
              </p:nvSpPr>
              <p:spPr bwMode="auto">
                <a:xfrm>
                  <a:off x="4585927" y="1830178"/>
                  <a:ext cx="93202" cy="36409"/>
                </a:xfrm>
                <a:custGeom>
                  <a:avLst/>
                  <a:gdLst>
                    <a:gd name="T0" fmla="*/ 0 w 87"/>
                    <a:gd name="T1" fmla="*/ 2147483647 h 34"/>
                    <a:gd name="T2" fmla="*/ 2147483647 w 87"/>
                    <a:gd name="T3" fmla="*/ 2147483647 h 34"/>
                    <a:gd name="T4" fmla="*/ 2147483647 w 87"/>
                    <a:gd name="T5" fmla="*/ 2147483647 h 34"/>
                    <a:gd name="T6" fmla="*/ 2147483647 w 87"/>
                    <a:gd name="T7" fmla="*/ 2147483647 h 34"/>
                    <a:gd name="T8" fmla="*/ 2147483647 w 87"/>
                    <a:gd name="T9" fmla="*/ 2147483647 h 34"/>
                    <a:gd name="T10" fmla="*/ 2147483647 w 87"/>
                    <a:gd name="T11" fmla="*/ 0 h 34"/>
                    <a:gd name="T12" fmla="*/ 2147483647 w 87"/>
                    <a:gd name="T13" fmla="*/ 0 h 34"/>
                    <a:gd name="T14" fmla="*/ 2147483647 w 87"/>
                    <a:gd name="T15" fmla="*/ 2147483647 h 34"/>
                    <a:gd name="T16" fmla="*/ 0 w 87"/>
                    <a:gd name="T17" fmla="*/ 2147483647 h 34"/>
                    <a:gd name="T18" fmla="*/ 0 w 87"/>
                    <a:gd name="T19" fmla="*/ 2147483647 h 3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34"/>
                    <a:gd name="T32" fmla="*/ 87 w 87"/>
                    <a:gd name="T33" fmla="*/ 34 h 3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34">
                      <a:moveTo>
                        <a:pt x="0" y="17"/>
                      </a:moveTo>
                      <a:lnTo>
                        <a:pt x="9" y="26"/>
                      </a:lnTo>
                      <a:lnTo>
                        <a:pt x="17" y="34"/>
                      </a:lnTo>
                      <a:lnTo>
                        <a:pt x="44" y="17"/>
                      </a:lnTo>
                      <a:lnTo>
                        <a:pt x="78" y="17"/>
                      </a:lnTo>
                      <a:lnTo>
                        <a:pt x="87" y="0"/>
                      </a:lnTo>
                      <a:lnTo>
                        <a:pt x="35" y="0"/>
                      </a:lnTo>
                      <a:lnTo>
                        <a:pt x="17" y="8"/>
                      </a:lnTo>
                      <a:lnTo>
                        <a:pt x="0" y="8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0" name="Freeform 265"/>
                <p:cNvSpPr>
                  <a:spLocks/>
                </p:cNvSpPr>
                <p:nvPr/>
              </p:nvSpPr>
              <p:spPr bwMode="auto">
                <a:xfrm>
                  <a:off x="4576285" y="1848383"/>
                  <a:ext cx="102844" cy="47118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2147483647 w 96"/>
                    <a:gd name="T3" fmla="*/ 0 h 44"/>
                    <a:gd name="T4" fmla="*/ 2147483647 w 96"/>
                    <a:gd name="T5" fmla="*/ 0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0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2147483647 h 44"/>
                    <a:gd name="T16" fmla="*/ 2147483647 w 96"/>
                    <a:gd name="T17" fmla="*/ 2147483647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96" y="9"/>
                      </a:moveTo>
                      <a:lnTo>
                        <a:pt x="87" y="0"/>
                      </a:lnTo>
                      <a:lnTo>
                        <a:pt x="53" y="0"/>
                      </a:lnTo>
                      <a:lnTo>
                        <a:pt x="26" y="17"/>
                      </a:lnTo>
                      <a:lnTo>
                        <a:pt x="18" y="9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44" y="44"/>
                      </a:lnTo>
                      <a:lnTo>
                        <a:pt x="70" y="44"/>
                      </a:lnTo>
                      <a:lnTo>
                        <a:pt x="9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1" name="Freeform 266"/>
                <p:cNvSpPr>
                  <a:spLocks/>
                </p:cNvSpPr>
                <p:nvPr/>
              </p:nvSpPr>
              <p:spPr bwMode="auto">
                <a:xfrm>
                  <a:off x="4576285" y="1848383"/>
                  <a:ext cx="102844" cy="47118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2147483647 w 96"/>
                    <a:gd name="T3" fmla="*/ 0 h 44"/>
                    <a:gd name="T4" fmla="*/ 2147483647 w 96"/>
                    <a:gd name="T5" fmla="*/ 0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0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2147483647 h 44"/>
                    <a:gd name="T16" fmla="*/ 2147483647 w 96"/>
                    <a:gd name="T17" fmla="*/ 2147483647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96" y="9"/>
                      </a:moveTo>
                      <a:lnTo>
                        <a:pt x="87" y="0"/>
                      </a:lnTo>
                      <a:lnTo>
                        <a:pt x="53" y="0"/>
                      </a:lnTo>
                      <a:lnTo>
                        <a:pt x="26" y="17"/>
                      </a:lnTo>
                      <a:lnTo>
                        <a:pt x="18" y="9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44" y="44"/>
                      </a:lnTo>
                      <a:lnTo>
                        <a:pt x="70" y="44"/>
                      </a:lnTo>
                      <a:lnTo>
                        <a:pt x="9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2" name="Freeform 267"/>
                <p:cNvSpPr>
                  <a:spLocks/>
                </p:cNvSpPr>
                <p:nvPr/>
              </p:nvSpPr>
              <p:spPr bwMode="auto">
                <a:xfrm>
                  <a:off x="4651276" y="1848383"/>
                  <a:ext cx="140339" cy="93166"/>
                </a:xfrm>
                <a:custGeom>
                  <a:avLst/>
                  <a:gdLst>
                    <a:gd name="T0" fmla="*/ 2147483647 w 131"/>
                    <a:gd name="T1" fmla="*/ 2147483647 h 87"/>
                    <a:gd name="T2" fmla="*/ 2147483647 w 131"/>
                    <a:gd name="T3" fmla="*/ 2147483647 h 87"/>
                    <a:gd name="T4" fmla="*/ 2147483647 w 131"/>
                    <a:gd name="T5" fmla="*/ 2147483647 h 87"/>
                    <a:gd name="T6" fmla="*/ 2147483647 w 131"/>
                    <a:gd name="T7" fmla="*/ 2147483647 h 87"/>
                    <a:gd name="T8" fmla="*/ 2147483647 w 131"/>
                    <a:gd name="T9" fmla="*/ 2147483647 h 87"/>
                    <a:gd name="T10" fmla="*/ 2147483647 w 131"/>
                    <a:gd name="T11" fmla="*/ 2147483647 h 87"/>
                    <a:gd name="T12" fmla="*/ 2147483647 w 131"/>
                    <a:gd name="T13" fmla="*/ 2147483647 h 87"/>
                    <a:gd name="T14" fmla="*/ 2147483647 w 131"/>
                    <a:gd name="T15" fmla="*/ 2147483647 h 87"/>
                    <a:gd name="T16" fmla="*/ 2147483647 w 131"/>
                    <a:gd name="T17" fmla="*/ 0 h 87"/>
                    <a:gd name="T18" fmla="*/ 2147483647 w 131"/>
                    <a:gd name="T19" fmla="*/ 2147483647 h 87"/>
                    <a:gd name="T20" fmla="*/ 2147483647 w 131"/>
                    <a:gd name="T21" fmla="*/ 2147483647 h 87"/>
                    <a:gd name="T22" fmla="*/ 0 w 131"/>
                    <a:gd name="T23" fmla="*/ 2147483647 h 87"/>
                    <a:gd name="T24" fmla="*/ 2147483647 w 131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87"/>
                    <a:gd name="T41" fmla="*/ 131 w 131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87">
                      <a:moveTo>
                        <a:pt x="35" y="78"/>
                      </a:moveTo>
                      <a:lnTo>
                        <a:pt x="61" y="87"/>
                      </a:lnTo>
                      <a:lnTo>
                        <a:pt x="87" y="70"/>
                      </a:lnTo>
                      <a:lnTo>
                        <a:pt x="122" y="78"/>
                      </a:lnTo>
                      <a:lnTo>
                        <a:pt x="113" y="70"/>
                      </a:lnTo>
                      <a:lnTo>
                        <a:pt x="131" y="52"/>
                      </a:lnTo>
                      <a:lnTo>
                        <a:pt x="113" y="52"/>
                      </a:lnTo>
                      <a:lnTo>
                        <a:pt x="105" y="26"/>
                      </a:lnTo>
                      <a:lnTo>
                        <a:pt x="87" y="0"/>
                      </a:lnTo>
                      <a:lnTo>
                        <a:pt x="70" y="17"/>
                      </a:lnTo>
                      <a:lnTo>
                        <a:pt x="35" y="9"/>
                      </a:lnTo>
                      <a:lnTo>
                        <a:pt x="0" y="44"/>
                      </a:lnTo>
                      <a:lnTo>
                        <a:pt x="35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3" name="Freeform 268"/>
                <p:cNvSpPr>
                  <a:spLocks/>
                </p:cNvSpPr>
                <p:nvPr/>
              </p:nvSpPr>
              <p:spPr bwMode="auto">
                <a:xfrm>
                  <a:off x="4651276" y="1848383"/>
                  <a:ext cx="140339" cy="93166"/>
                </a:xfrm>
                <a:custGeom>
                  <a:avLst/>
                  <a:gdLst>
                    <a:gd name="T0" fmla="*/ 2147483647 w 131"/>
                    <a:gd name="T1" fmla="*/ 2147483647 h 87"/>
                    <a:gd name="T2" fmla="*/ 2147483647 w 131"/>
                    <a:gd name="T3" fmla="*/ 2147483647 h 87"/>
                    <a:gd name="T4" fmla="*/ 2147483647 w 131"/>
                    <a:gd name="T5" fmla="*/ 2147483647 h 87"/>
                    <a:gd name="T6" fmla="*/ 2147483647 w 131"/>
                    <a:gd name="T7" fmla="*/ 2147483647 h 87"/>
                    <a:gd name="T8" fmla="*/ 2147483647 w 131"/>
                    <a:gd name="T9" fmla="*/ 2147483647 h 87"/>
                    <a:gd name="T10" fmla="*/ 2147483647 w 131"/>
                    <a:gd name="T11" fmla="*/ 2147483647 h 87"/>
                    <a:gd name="T12" fmla="*/ 2147483647 w 131"/>
                    <a:gd name="T13" fmla="*/ 2147483647 h 87"/>
                    <a:gd name="T14" fmla="*/ 2147483647 w 131"/>
                    <a:gd name="T15" fmla="*/ 2147483647 h 87"/>
                    <a:gd name="T16" fmla="*/ 2147483647 w 131"/>
                    <a:gd name="T17" fmla="*/ 0 h 87"/>
                    <a:gd name="T18" fmla="*/ 2147483647 w 131"/>
                    <a:gd name="T19" fmla="*/ 2147483647 h 87"/>
                    <a:gd name="T20" fmla="*/ 2147483647 w 131"/>
                    <a:gd name="T21" fmla="*/ 2147483647 h 87"/>
                    <a:gd name="T22" fmla="*/ 0 w 131"/>
                    <a:gd name="T23" fmla="*/ 2147483647 h 87"/>
                    <a:gd name="T24" fmla="*/ 2147483647 w 131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87"/>
                    <a:gd name="T41" fmla="*/ 131 w 131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87">
                      <a:moveTo>
                        <a:pt x="35" y="78"/>
                      </a:moveTo>
                      <a:lnTo>
                        <a:pt x="61" y="87"/>
                      </a:lnTo>
                      <a:lnTo>
                        <a:pt x="87" y="70"/>
                      </a:lnTo>
                      <a:lnTo>
                        <a:pt x="122" y="78"/>
                      </a:lnTo>
                      <a:lnTo>
                        <a:pt x="113" y="70"/>
                      </a:lnTo>
                      <a:lnTo>
                        <a:pt x="131" y="52"/>
                      </a:lnTo>
                      <a:lnTo>
                        <a:pt x="113" y="52"/>
                      </a:lnTo>
                      <a:lnTo>
                        <a:pt x="105" y="26"/>
                      </a:lnTo>
                      <a:lnTo>
                        <a:pt x="87" y="0"/>
                      </a:lnTo>
                      <a:lnTo>
                        <a:pt x="70" y="17"/>
                      </a:lnTo>
                      <a:lnTo>
                        <a:pt x="35" y="9"/>
                      </a:lnTo>
                      <a:lnTo>
                        <a:pt x="0" y="44"/>
                      </a:lnTo>
                      <a:lnTo>
                        <a:pt x="35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4" name="Freeform 269"/>
                <p:cNvSpPr>
                  <a:spLocks/>
                </p:cNvSpPr>
                <p:nvPr/>
              </p:nvSpPr>
              <p:spPr bwMode="auto">
                <a:xfrm>
                  <a:off x="4688771" y="1923343"/>
                  <a:ext cx="102844" cy="55685"/>
                </a:xfrm>
                <a:custGeom>
                  <a:avLst/>
                  <a:gdLst>
                    <a:gd name="T0" fmla="*/ 2147483647 w 96"/>
                    <a:gd name="T1" fmla="*/ 2147483647 h 52"/>
                    <a:gd name="T2" fmla="*/ 2147483647 w 96"/>
                    <a:gd name="T3" fmla="*/ 0 h 52"/>
                    <a:gd name="T4" fmla="*/ 2147483647 w 96"/>
                    <a:gd name="T5" fmla="*/ 2147483647 h 52"/>
                    <a:gd name="T6" fmla="*/ 0 w 96"/>
                    <a:gd name="T7" fmla="*/ 2147483647 h 52"/>
                    <a:gd name="T8" fmla="*/ 2147483647 w 96"/>
                    <a:gd name="T9" fmla="*/ 2147483647 h 52"/>
                    <a:gd name="T10" fmla="*/ 0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2147483647 h 52"/>
                    <a:gd name="T16" fmla="*/ 2147483647 w 96"/>
                    <a:gd name="T17" fmla="*/ 2147483647 h 52"/>
                    <a:gd name="T18" fmla="*/ 2147483647 w 96"/>
                    <a:gd name="T19" fmla="*/ 2147483647 h 52"/>
                    <a:gd name="T20" fmla="*/ 2147483647 w 96"/>
                    <a:gd name="T21" fmla="*/ 2147483647 h 52"/>
                    <a:gd name="T22" fmla="*/ 2147483647 w 96"/>
                    <a:gd name="T23" fmla="*/ 2147483647 h 52"/>
                    <a:gd name="T24" fmla="*/ 2147483647 w 96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6"/>
                    <a:gd name="T40" fmla="*/ 0 h 52"/>
                    <a:gd name="T41" fmla="*/ 96 w 96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6" h="52">
                      <a:moveTo>
                        <a:pt x="87" y="8"/>
                      </a:moveTo>
                      <a:lnTo>
                        <a:pt x="61" y="0"/>
                      </a:lnTo>
                      <a:lnTo>
                        <a:pt x="26" y="17"/>
                      </a:lnTo>
                      <a:lnTo>
                        <a:pt x="0" y="8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17" y="52"/>
                      </a:lnTo>
                      <a:lnTo>
                        <a:pt x="43" y="52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78" y="26"/>
                      </a:lnTo>
                      <a:lnTo>
                        <a:pt x="8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5" name="Freeform 270"/>
                <p:cNvSpPr>
                  <a:spLocks/>
                </p:cNvSpPr>
                <p:nvPr/>
              </p:nvSpPr>
              <p:spPr bwMode="auto">
                <a:xfrm>
                  <a:off x="4688771" y="1923343"/>
                  <a:ext cx="102844" cy="55685"/>
                </a:xfrm>
                <a:custGeom>
                  <a:avLst/>
                  <a:gdLst>
                    <a:gd name="T0" fmla="*/ 2147483647 w 96"/>
                    <a:gd name="T1" fmla="*/ 2147483647 h 52"/>
                    <a:gd name="T2" fmla="*/ 2147483647 w 96"/>
                    <a:gd name="T3" fmla="*/ 0 h 52"/>
                    <a:gd name="T4" fmla="*/ 2147483647 w 96"/>
                    <a:gd name="T5" fmla="*/ 2147483647 h 52"/>
                    <a:gd name="T6" fmla="*/ 0 w 96"/>
                    <a:gd name="T7" fmla="*/ 2147483647 h 52"/>
                    <a:gd name="T8" fmla="*/ 2147483647 w 96"/>
                    <a:gd name="T9" fmla="*/ 2147483647 h 52"/>
                    <a:gd name="T10" fmla="*/ 0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2147483647 h 52"/>
                    <a:gd name="T16" fmla="*/ 2147483647 w 96"/>
                    <a:gd name="T17" fmla="*/ 2147483647 h 52"/>
                    <a:gd name="T18" fmla="*/ 2147483647 w 96"/>
                    <a:gd name="T19" fmla="*/ 2147483647 h 52"/>
                    <a:gd name="T20" fmla="*/ 2147483647 w 96"/>
                    <a:gd name="T21" fmla="*/ 2147483647 h 52"/>
                    <a:gd name="T22" fmla="*/ 2147483647 w 96"/>
                    <a:gd name="T23" fmla="*/ 2147483647 h 52"/>
                    <a:gd name="T24" fmla="*/ 2147483647 w 96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6"/>
                    <a:gd name="T40" fmla="*/ 0 h 52"/>
                    <a:gd name="T41" fmla="*/ 96 w 96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6" h="52">
                      <a:moveTo>
                        <a:pt x="87" y="8"/>
                      </a:moveTo>
                      <a:lnTo>
                        <a:pt x="61" y="0"/>
                      </a:lnTo>
                      <a:lnTo>
                        <a:pt x="26" y="17"/>
                      </a:lnTo>
                      <a:lnTo>
                        <a:pt x="0" y="8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17" y="52"/>
                      </a:lnTo>
                      <a:lnTo>
                        <a:pt x="43" y="52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78" y="26"/>
                      </a:lnTo>
                      <a:lnTo>
                        <a:pt x="8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6" name="Freeform 271"/>
                <p:cNvSpPr>
                  <a:spLocks/>
                </p:cNvSpPr>
                <p:nvPr/>
              </p:nvSpPr>
              <p:spPr bwMode="auto">
                <a:xfrm>
                  <a:off x="4651276" y="1979028"/>
                  <a:ext cx="83560" cy="102803"/>
                </a:xfrm>
                <a:custGeom>
                  <a:avLst/>
                  <a:gdLst>
                    <a:gd name="T0" fmla="*/ 2147483647 w 78"/>
                    <a:gd name="T1" fmla="*/ 2147483647 h 96"/>
                    <a:gd name="T2" fmla="*/ 2147483647 w 78"/>
                    <a:gd name="T3" fmla="*/ 2147483647 h 96"/>
                    <a:gd name="T4" fmla="*/ 2147483647 w 78"/>
                    <a:gd name="T5" fmla="*/ 2147483647 h 96"/>
                    <a:gd name="T6" fmla="*/ 2147483647 w 78"/>
                    <a:gd name="T7" fmla="*/ 0 h 96"/>
                    <a:gd name="T8" fmla="*/ 2147483647 w 78"/>
                    <a:gd name="T9" fmla="*/ 0 h 96"/>
                    <a:gd name="T10" fmla="*/ 2147483647 w 78"/>
                    <a:gd name="T11" fmla="*/ 2147483647 h 96"/>
                    <a:gd name="T12" fmla="*/ 0 w 78"/>
                    <a:gd name="T13" fmla="*/ 2147483647 h 96"/>
                    <a:gd name="T14" fmla="*/ 2147483647 w 78"/>
                    <a:gd name="T15" fmla="*/ 2147483647 h 96"/>
                    <a:gd name="T16" fmla="*/ 2147483647 w 78"/>
                    <a:gd name="T17" fmla="*/ 2147483647 h 96"/>
                    <a:gd name="T18" fmla="*/ 2147483647 w 78"/>
                    <a:gd name="T19" fmla="*/ 2147483647 h 96"/>
                    <a:gd name="T20" fmla="*/ 2147483647 w 78"/>
                    <a:gd name="T21" fmla="*/ 2147483647 h 96"/>
                    <a:gd name="T22" fmla="*/ 2147483647 w 78"/>
                    <a:gd name="T23" fmla="*/ 2147483647 h 96"/>
                    <a:gd name="T24" fmla="*/ 2147483647 w 78"/>
                    <a:gd name="T25" fmla="*/ 2147483647 h 96"/>
                    <a:gd name="T26" fmla="*/ 2147483647 w 78"/>
                    <a:gd name="T27" fmla="*/ 2147483647 h 96"/>
                    <a:gd name="T28" fmla="*/ 2147483647 w 78"/>
                    <a:gd name="T29" fmla="*/ 2147483647 h 96"/>
                    <a:gd name="T30" fmla="*/ 2147483647 w 78"/>
                    <a:gd name="T31" fmla="*/ 2147483647 h 96"/>
                    <a:gd name="T32" fmla="*/ 2147483647 w 78"/>
                    <a:gd name="T33" fmla="*/ 2147483647 h 96"/>
                    <a:gd name="T34" fmla="*/ 2147483647 w 78"/>
                    <a:gd name="T35" fmla="*/ 2147483647 h 9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78"/>
                    <a:gd name="T55" fmla="*/ 0 h 96"/>
                    <a:gd name="T56" fmla="*/ 78 w 78"/>
                    <a:gd name="T57" fmla="*/ 96 h 9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78" h="96">
                      <a:moveTo>
                        <a:pt x="52" y="26"/>
                      </a:moveTo>
                      <a:lnTo>
                        <a:pt x="52" y="17"/>
                      </a:lnTo>
                      <a:lnTo>
                        <a:pt x="70" y="9"/>
                      </a:lnTo>
                      <a:lnTo>
                        <a:pt x="78" y="0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9" y="52"/>
                      </a:lnTo>
                      <a:lnTo>
                        <a:pt x="17" y="61"/>
                      </a:lnTo>
                      <a:lnTo>
                        <a:pt x="17" y="87"/>
                      </a:lnTo>
                      <a:lnTo>
                        <a:pt x="35" y="87"/>
                      </a:lnTo>
                      <a:lnTo>
                        <a:pt x="35" y="96"/>
                      </a:lnTo>
                      <a:lnTo>
                        <a:pt x="52" y="87"/>
                      </a:lnTo>
                      <a:lnTo>
                        <a:pt x="44" y="78"/>
                      </a:lnTo>
                      <a:lnTo>
                        <a:pt x="52" y="70"/>
                      </a:lnTo>
                      <a:lnTo>
                        <a:pt x="52" y="44"/>
                      </a:lnTo>
                      <a:lnTo>
                        <a:pt x="35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7" name="Freeform 272"/>
                <p:cNvSpPr>
                  <a:spLocks/>
                </p:cNvSpPr>
                <p:nvPr/>
              </p:nvSpPr>
              <p:spPr bwMode="auto">
                <a:xfrm>
                  <a:off x="4651276" y="1979028"/>
                  <a:ext cx="83560" cy="102803"/>
                </a:xfrm>
                <a:custGeom>
                  <a:avLst/>
                  <a:gdLst>
                    <a:gd name="T0" fmla="*/ 2147483647 w 78"/>
                    <a:gd name="T1" fmla="*/ 2147483647 h 96"/>
                    <a:gd name="T2" fmla="*/ 2147483647 w 78"/>
                    <a:gd name="T3" fmla="*/ 2147483647 h 96"/>
                    <a:gd name="T4" fmla="*/ 2147483647 w 78"/>
                    <a:gd name="T5" fmla="*/ 2147483647 h 96"/>
                    <a:gd name="T6" fmla="*/ 2147483647 w 78"/>
                    <a:gd name="T7" fmla="*/ 0 h 96"/>
                    <a:gd name="T8" fmla="*/ 2147483647 w 78"/>
                    <a:gd name="T9" fmla="*/ 0 h 96"/>
                    <a:gd name="T10" fmla="*/ 2147483647 w 78"/>
                    <a:gd name="T11" fmla="*/ 2147483647 h 96"/>
                    <a:gd name="T12" fmla="*/ 0 w 78"/>
                    <a:gd name="T13" fmla="*/ 2147483647 h 96"/>
                    <a:gd name="T14" fmla="*/ 2147483647 w 78"/>
                    <a:gd name="T15" fmla="*/ 2147483647 h 96"/>
                    <a:gd name="T16" fmla="*/ 2147483647 w 78"/>
                    <a:gd name="T17" fmla="*/ 2147483647 h 96"/>
                    <a:gd name="T18" fmla="*/ 2147483647 w 78"/>
                    <a:gd name="T19" fmla="*/ 2147483647 h 96"/>
                    <a:gd name="T20" fmla="*/ 2147483647 w 78"/>
                    <a:gd name="T21" fmla="*/ 2147483647 h 96"/>
                    <a:gd name="T22" fmla="*/ 2147483647 w 78"/>
                    <a:gd name="T23" fmla="*/ 2147483647 h 96"/>
                    <a:gd name="T24" fmla="*/ 2147483647 w 78"/>
                    <a:gd name="T25" fmla="*/ 2147483647 h 96"/>
                    <a:gd name="T26" fmla="*/ 2147483647 w 78"/>
                    <a:gd name="T27" fmla="*/ 2147483647 h 96"/>
                    <a:gd name="T28" fmla="*/ 2147483647 w 78"/>
                    <a:gd name="T29" fmla="*/ 2147483647 h 96"/>
                    <a:gd name="T30" fmla="*/ 2147483647 w 78"/>
                    <a:gd name="T31" fmla="*/ 2147483647 h 96"/>
                    <a:gd name="T32" fmla="*/ 2147483647 w 78"/>
                    <a:gd name="T33" fmla="*/ 2147483647 h 96"/>
                    <a:gd name="T34" fmla="*/ 2147483647 w 78"/>
                    <a:gd name="T35" fmla="*/ 2147483647 h 9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78"/>
                    <a:gd name="T55" fmla="*/ 0 h 96"/>
                    <a:gd name="T56" fmla="*/ 78 w 78"/>
                    <a:gd name="T57" fmla="*/ 96 h 9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78" h="96">
                      <a:moveTo>
                        <a:pt x="52" y="26"/>
                      </a:moveTo>
                      <a:lnTo>
                        <a:pt x="52" y="17"/>
                      </a:lnTo>
                      <a:lnTo>
                        <a:pt x="70" y="9"/>
                      </a:lnTo>
                      <a:lnTo>
                        <a:pt x="78" y="0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9" y="52"/>
                      </a:lnTo>
                      <a:lnTo>
                        <a:pt x="17" y="61"/>
                      </a:lnTo>
                      <a:lnTo>
                        <a:pt x="17" y="87"/>
                      </a:lnTo>
                      <a:lnTo>
                        <a:pt x="35" y="87"/>
                      </a:lnTo>
                      <a:lnTo>
                        <a:pt x="35" y="96"/>
                      </a:lnTo>
                      <a:lnTo>
                        <a:pt x="52" y="87"/>
                      </a:lnTo>
                      <a:lnTo>
                        <a:pt x="44" y="78"/>
                      </a:lnTo>
                      <a:lnTo>
                        <a:pt x="52" y="70"/>
                      </a:lnTo>
                      <a:lnTo>
                        <a:pt x="52" y="44"/>
                      </a:lnTo>
                      <a:lnTo>
                        <a:pt x="35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8" name="Freeform 273"/>
                <p:cNvSpPr>
                  <a:spLocks/>
                </p:cNvSpPr>
                <p:nvPr/>
              </p:nvSpPr>
              <p:spPr bwMode="auto">
                <a:xfrm>
                  <a:off x="4706982" y="2091469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0 h 26"/>
                    <a:gd name="T4" fmla="*/ 2147483647 w 53"/>
                    <a:gd name="T5" fmla="*/ 2147483647 h 26"/>
                    <a:gd name="T6" fmla="*/ 0 w 53"/>
                    <a:gd name="T7" fmla="*/ 2147483647 h 26"/>
                    <a:gd name="T8" fmla="*/ 2147483647 w 53"/>
                    <a:gd name="T9" fmla="*/ 2147483647 h 26"/>
                    <a:gd name="T10" fmla="*/ 2147483647 w 53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3"/>
                    <a:gd name="T19" fmla="*/ 0 h 26"/>
                    <a:gd name="T20" fmla="*/ 53 w 5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3" h="26">
                      <a:moveTo>
                        <a:pt x="53" y="17"/>
                      </a:moveTo>
                      <a:lnTo>
                        <a:pt x="44" y="0"/>
                      </a:lnTo>
                      <a:lnTo>
                        <a:pt x="35" y="8"/>
                      </a:lnTo>
                      <a:lnTo>
                        <a:pt x="0" y="8"/>
                      </a:lnTo>
                      <a:lnTo>
                        <a:pt x="18" y="26"/>
                      </a:lnTo>
                      <a:lnTo>
                        <a:pt x="5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9" name="Freeform 274"/>
                <p:cNvSpPr>
                  <a:spLocks/>
                </p:cNvSpPr>
                <p:nvPr/>
              </p:nvSpPr>
              <p:spPr bwMode="auto">
                <a:xfrm>
                  <a:off x="4706982" y="2091469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0 h 26"/>
                    <a:gd name="T4" fmla="*/ 2147483647 w 53"/>
                    <a:gd name="T5" fmla="*/ 2147483647 h 26"/>
                    <a:gd name="T6" fmla="*/ 0 w 53"/>
                    <a:gd name="T7" fmla="*/ 2147483647 h 26"/>
                    <a:gd name="T8" fmla="*/ 2147483647 w 53"/>
                    <a:gd name="T9" fmla="*/ 2147483647 h 26"/>
                    <a:gd name="T10" fmla="*/ 2147483647 w 53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3"/>
                    <a:gd name="T19" fmla="*/ 0 h 26"/>
                    <a:gd name="T20" fmla="*/ 53 w 5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3" h="26">
                      <a:moveTo>
                        <a:pt x="53" y="17"/>
                      </a:moveTo>
                      <a:lnTo>
                        <a:pt x="44" y="0"/>
                      </a:lnTo>
                      <a:lnTo>
                        <a:pt x="35" y="8"/>
                      </a:lnTo>
                      <a:lnTo>
                        <a:pt x="0" y="8"/>
                      </a:lnTo>
                      <a:lnTo>
                        <a:pt x="18" y="26"/>
                      </a:lnTo>
                      <a:lnTo>
                        <a:pt x="5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0" name="Freeform 275"/>
                <p:cNvSpPr>
                  <a:spLocks/>
                </p:cNvSpPr>
                <p:nvPr/>
              </p:nvSpPr>
              <p:spPr bwMode="auto">
                <a:xfrm>
                  <a:off x="4435947" y="1876224"/>
                  <a:ext cx="177834" cy="168126"/>
                </a:xfrm>
                <a:custGeom>
                  <a:avLst/>
                  <a:gdLst>
                    <a:gd name="T0" fmla="*/ 2147483647 w 166"/>
                    <a:gd name="T1" fmla="*/ 2147483647 h 157"/>
                    <a:gd name="T2" fmla="*/ 2147483647 w 166"/>
                    <a:gd name="T3" fmla="*/ 2147483647 h 157"/>
                    <a:gd name="T4" fmla="*/ 2147483647 w 166"/>
                    <a:gd name="T5" fmla="*/ 2147483647 h 157"/>
                    <a:gd name="T6" fmla="*/ 2147483647 w 166"/>
                    <a:gd name="T7" fmla="*/ 0 h 157"/>
                    <a:gd name="T8" fmla="*/ 2147483647 w 166"/>
                    <a:gd name="T9" fmla="*/ 0 h 157"/>
                    <a:gd name="T10" fmla="*/ 2147483647 w 166"/>
                    <a:gd name="T11" fmla="*/ 2147483647 h 157"/>
                    <a:gd name="T12" fmla="*/ 2147483647 w 166"/>
                    <a:gd name="T13" fmla="*/ 2147483647 h 157"/>
                    <a:gd name="T14" fmla="*/ 0 w 166"/>
                    <a:gd name="T15" fmla="*/ 2147483647 h 157"/>
                    <a:gd name="T16" fmla="*/ 2147483647 w 166"/>
                    <a:gd name="T17" fmla="*/ 2147483647 h 157"/>
                    <a:gd name="T18" fmla="*/ 2147483647 w 166"/>
                    <a:gd name="T19" fmla="*/ 2147483647 h 157"/>
                    <a:gd name="T20" fmla="*/ 2147483647 w 166"/>
                    <a:gd name="T21" fmla="*/ 2147483647 h 157"/>
                    <a:gd name="T22" fmla="*/ 2147483647 w 166"/>
                    <a:gd name="T23" fmla="*/ 2147483647 h 157"/>
                    <a:gd name="T24" fmla="*/ 2147483647 w 166"/>
                    <a:gd name="T25" fmla="*/ 2147483647 h 157"/>
                    <a:gd name="T26" fmla="*/ 2147483647 w 166"/>
                    <a:gd name="T27" fmla="*/ 2147483647 h 157"/>
                    <a:gd name="T28" fmla="*/ 2147483647 w 166"/>
                    <a:gd name="T29" fmla="*/ 2147483647 h 157"/>
                    <a:gd name="T30" fmla="*/ 2147483647 w 166"/>
                    <a:gd name="T31" fmla="*/ 2147483647 h 157"/>
                    <a:gd name="T32" fmla="*/ 2147483647 w 166"/>
                    <a:gd name="T33" fmla="*/ 2147483647 h 157"/>
                    <a:gd name="T34" fmla="*/ 2147483647 w 166"/>
                    <a:gd name="T35" fmla="*/ 2147483647 h 157"/>
                    <a:gd name="T36" fmla="*/ 2147483647 w 166"/>
                    <a:gd name="T37" fmla="*/ 2147483647 h 157"/>
                    <a:gd name="T38" fmla="*/ 2147483647 w 166"/>
                    <a:gd name="T39" fmla="*/ 2147483647 h 157"/>
                    <a:gd name="T40" fmla="*/ 2147483647 w 166"/>
                    <a:gd name="T41" fmla="*/ 2147483647 h 157"/>
                    <a:gd name="T42" fmla="*/ 2147483647 w 166"/>
                    <a:gd name="T43" fmla="*/ 2147483647 h 157"/>
                    <a:gd name="T44" fmla="*/ 2147483647 w 166"/>
                    <a:gd name="T45" fmla="*/ 2147483647 h 157"/>
                    <a:gd name="T46" fmla="*/ 2147483647 w 166"/>
                    <a:gd name="T47" fmla="*/ 2147483647 h 157"/>
                    <a:gd name="T48" fmla="*/ 2147483647 w 166"/>
                    <a:gd name="T49" fmla="*/ 2147483647 h 157"/>
                    <a:gd name="T50" fmla="*/ 2147483647 w 166"/>
                    <a:gd name="T51" fmla="*/ 2147483647 h 157"/>
                    <a:gd name="T52" fmla="*/ 2147483647 w 166"/>
                    <a:gd name="T53" fmla="*/ 2147483647 h 157"/>
                    <a:gd name="T54" fmla="*/ 2147483647 w 166"/>
                    <a:gd name="T55" fmla="*/ 2147483647 h 157"/>
                    <a:gd name="T56" fmla="*/ 2147483647 w 166"/>
                    <a:gd name="T57" fmla="*/ 2147483647 h 157"/>
                    <a:gd name="T58" fmla="*/ 2147483647 w 166"/>
                    <a:gd name="T59" fmla="*/ 2147483647 h 157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66"/>
                    <a:gd name="T91" fmla="*/ 0 h 157"/>
                    <a:gd name="T92" fmla="*/ 166 w 166"/>
                    <a:gd name="T93" fmla="*/ 157 h 157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66" h="157">
                      <a:moveTo>
                        <a:pt x="88" y="26"/>
                      </a:moveTo>
                      <a:lnTo>
                        <a:pt x="96" y="9"/>
                      </a:lnTo>
                      <a:lnTo>
                        <a:pt x="79" y="9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27" y="18"/>
                      </a:lnTo>
                      <a:lnTo>
                        <a:pt x="18" y="18"/>
                      </a:lnTo>
                      <a:lnTo>
                        <a:pt x="0" y="18"/>
                      </a:lnTo>
                      <a:lnTo>
                        <a:pt x="9" y="52"/>
                      </a:lnTo>
                      <a:lnTo>
                        <a:pt x="35" y="52"/>
                      </a:lnTo>
                      <a:lnTo>
                        <a:pt x="53" y="79"/>
                      </a:lnTo>
                      <a:lnTo>
                        <a:pt x="79" y="96"/>
                      </a:lnTo>
                      <a:lnTo>
                        <a:pt x="96" y="96"/>
                      </a:lnTo>
                      <a:lnTo>
                        <a:pt x="105" y="113"/>
                      </a:lnTo>
                      <a:lnTo>
                        <a:pt x="131" y="122"/>
                      </a:lnTo>
                      <a:lnTo>
                        <a:pt x="140" y="140"/>
                      </a:lnTo>
                      <a:lnTo>
                        <a:pt x="131" y="157"/>
                      </a:lnTo>
                      <a:lnTo>
                        <a:pt x="140" y="157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49" y="113"/>
                      </a:lnTo>
                      <a:lnTo>
                        <a:pt x="166" y="122"/>
                      </a:lnTo>
                      <a:lnTo>
                        <a:pt x="166" y="113"/>
                      </a:lnTo>
                      <a:lnTo>
                        <a:pt x="140" y="96"/>
                      </a:lnTo>
                      <a:lnTo>
                        <a:pt x="131" y="87"/>
                      </a:lnTo>
                      <a:lnTo>
                        <a:pt x="88" y="52"/>
                      </a:lnTo>
                      <a:lnTo>
                        <a:pt x="79" y="52"/>
                      </a:lnTo>
                      <a:lnTo>
                        <a:pt x="70" y="26"/>
                      </a:lnTo>
                      <a:lnTo>
                        <a:pt x="79" y="18"/>
                      </a:lnTo>
                      <a:lnTo>
                        <a:pt x="8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1" name="Freeform 276"/>
                <p:cNvSpPr>
                  <a:spLocks/>
                </p:cNvSpPr>
                <p:nvPr/>
              </p:nvSpPr>
              <p:spPr bwMode="auto">
                <a:xfrm>
                  <a:off x="4435947" y="1876224"/>
                  <a:ext cx="177834" cy="168126"/>
                </a:xfrm>
                <a:custGeom>
                  <a:avLst/>
                  <a:gdLst>
                    <a:gd name="T0" fmla="*/ 2147483647 w 166"/>
                    <a:gd name="T1" fmla="*/ 2147483647 h 157"/>
                    <a:gd name="T2" fmla="*/ 2147483647 w 166"/>
                    <a:gd name="T3" fmla="*/ 2147483647 h 157"/>
                    <a:gd name="T4" fmla="*/ 2147483647 w 166"/>
                    <a:gd name="T5" fmla="*/ 2147483647 h 157"/>
                    <a:gd name="T6" fmla="*/ 2147483647 w 166"/>
                    <a:gd name="T7" fmla="*/ 0 h 157"/>
                    <a:gd name="T8" fmla="*/ 2147483647 w 166"/>
                    <a:gd name="T9" fmla="*/ 0 h 157"/>
                    <a:gd name="T10" fmla="*/ 2147483647 w 166"/>
                    <a:gd name="T11" fmla="*/ 2147483647 h 157"/>
                    <a:gd name="T12" fmla="*/ 2147483647 w 166"/>
                    <a:gd name="T13" fmla="*/ 2147483647 h 157"/>
                    <a:gd name="T14" fmla="*/ 0 w 166"/>
                    <a:gd name="T15" fmla="*/ 2147483647 h 157"/>
                    <a:gd name="T16" fmla="*/ 2147483647 w 166"/>
                    <a:gd name="T17" fmla="*/ 2147483647 h 157"/>
                    <a:gd name="T18" fmla="*/ 2147483647 w 166"/>
                    <a:gd name="T19" fmla="*/ 2147483647 h 157"/>
                    <a:gd name="T20" fmla="*/ 2147483647 w 166"/>
                    <a:gd name="T21" fmla="*/ 2147483647 h 157"/>
                    <a:gd name="T22" fmla="*/ 2147483647 w 166"/>
                    <a:gd name="T23" fmla="*/ 2147483647 h 157"/>
                    <a:gd name="T24" fmla="*/ 2147483647 w 166"/>
                    <a:gd name="T25" fmla="*/ 2147483647 h 157"/>
                    <a:gd name="T26" fmla="*/ 2147483647 w 166"/>
                    <a:gd name="T27" fmla="*/ 2147483647 h 157"/>
                    <a:gd name="T28" fmla="*/ 2147483647 w 166"/>
                    <a:gd name="T29" fmla="*/ 2147483647 h 157"/>
                    <a:gd name="T30" fmla="*/ 2147483647 w 166"/>
                    <a:gd name="T31" fmla="*/ 2147483647 h 157"/>
                    <a:gd name="T32" fmla="*/ 2147483647 w 166"/>
                    <a:gd name="T33" fmla="*/ 2147483647 h 157"/>
                    <a:gd name="T34" fmla="*/ 2147483647 w 166"/>
                    <a:gd name="T35" fmla="*/ 2147483647 h 157"/>
                    <a:gd name="T36" fmla="*/ 2147483647 w 166"/>
                    <a:gd name="T37" fmla="*/ 2147483647 h 157"/>
                    <a:gd name="T38" fmla="*/ 2147483647 w 166"/>
                    <a:gd name="T39" fmla="*/ 2147483647 h 157"/>
                    <a:gd name="T40" fmla="*/ 2147483647 w 166"/>
                    <a:gd name="T41" fmla="*/ 2147483647 h 157"/>
                    <a:gd name="T42" fmla="*/ 2147483647 w 166"/>
                    <a:gd name="T43" fmla="*/ 2147483647 h 157"/>
                    <a:gd name="T44" fmla="*/ 2147483647 w 166"/>
                    <a:gd name="T45" fmla="*/ 2147483647 h 157"/>
                    <a:gd name="T46" fmla="*/ 2147483647 w 166"/>
                    <a:gd name="T47" fmla="*/ 2147483647 h 157"/>
                    <a:gd name="T48" fmla="*/ 2147483647 w 166"/>
                    <a:gd name="T49" fmla="*/ 2147483647 h 157"/>
                    <a:gd name="T50" fmla="*/ 2147483647 w 166"/>
                    <a:gd name="T51" fmla="*/ 2147483647 h 157"/>
                    <a:gd name="T52" fmla="*/ 2147483647 w 166"/>
                    <a:gd name="T53" fmla="*/ 2147483647 h 157"/>
                    <a:gd name="T54" fmla="*/ 2147483647 w 166"/>
                    <a:gd name="T55" fmla="*/ 2147483647 h 157"/>
                    <a:gd name="T56" fmla="*/ 2147483647 w 166"/>
                    <a:gd name="T57" fmla="*/ 2147483647 h 157"/>
                    <a:gd name="T58" fmla="*/ 2147483647 w 166"/>
                    <a:gd name="T59" fmla="*/ 2147483647 h 157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66"/>
                    <a:gd name="T91" fmla="*/ 0 h 157"/>
                    <a:gd name="T92" fmla="*/ 166 w 166"/>
                    <a:gd name="T93" fmla="*/ 157 h 157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66" h="157">
                      <a:moveTo>
                        <a:pt x="88" y="26"/>
                      </a:moveTo>
                      <a:lnTo>
                        <a:pt x="96" y="9"/>
                      </a:lnTo>
                      <a:lnTo>
                        <a:pt x="79" y="9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27" y="18"/>
                      </a:lnTo>
                      <a:lnTo>
                        <a:pt x="18" y="18"/>
                      </a:lnTo>
                      <a:lnTo>
                        <a:pt x="0" y="18"/>
                      </a:lnTo>
                      <a:lnTo>
                        <a:pt x="9" y="52"/>
                      </a:lnTo>
                      <a:lnTo>
                        <a:pt x="35" y="52"/>
                      </a:lnTo>
                      <a:lnTo>
                        <a:pt x="53" y="79"/>
                      </a:lnTo>
                      <a:lnTo>
                        <a:pt x="79" y="96"/>
                      </a:lnTo>
                      <a:lnTo>
                        <a:pt x="96" y="96"/>
                      </a:lnTo>
                      <a:lnTo>
                        <a:pt x="105" y="113"/>
                      </a:lnTo>
                      <a:lnTo>
                        <a:pt x="131" y="122"/>
                      </a:lnTo>
                      <a:lnTo>
                        <a:pt x="140" y="140"/>
                      </a:lnTo>
                      <a:lnTo>
                        <a:pt x="131" y="157"/>
                      </a:lnTo>
                      <a:lnTo>
                        <a:pt x="140" y="157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49" y="113"/>
                      </a:lnTo>
                      <a:lnTo>
                        <a:pt x="166" y="122"/>
                      </a:lnTo>
                      <a:lnTo>
                        <a:pt x="166" y="113"/>
                      </a:lnTo>
                      <a:lnTo>
                        <a:pt x="140" y="96"/>
                      </a:lnTo>
                      <a:lnTo>
                        <a:pt x="131" y="87"/>
                      </a:lnTo>
                      <a:lnTo>
                        <a:pt x="88" y="52"/>
                      </a:lnTo>
                      <a:lnTo>
                        <a:pt x="79" y="52"/>
                      </a:lnTo>
                      <a:lnTo>
                        <a:pt x="70" y="26"/>
                      </a:lnTo>
                      <a:lnTo>
                        <a:pt x="79" y="18"/>
                      </a:lnTo>
                      <a:lnTo>
                        <a:pt x="8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2" name="Freeform 277"/>
                <p:cNvSpPr>
                  <a:spLocks/>
                </p:cNvSpPr>
                <p:nvPr/>
              </p:nvSpPr>
              <p:spPr bwMode="auto">
                <a:xfrm>
                  <a:off x="4520579" y="2044351"/>
                  <a:ext cx="55707" cy="37481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2147483647 h 35"/>
                    <a:gd name="T4" fmla="*/ 2147483647 w 52"/>
                    <a:gd name="T5" fmla="*/ 0 h 35"/>
                    <a:gd name="T6" fmla="*/ 0 w 52"/>
                    <a:gd name="T7" fmla="*/ 0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4" y="9"/>
                      </a:moveTo>
                      <a:lnTo>
                        <a:pt x="26" y="9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26" y="26"/>
                      </a:lnTo>
                      <a:lnTo>
                        <a:pt x="52" y="35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3" name="Freeform 278"/>
                <p:cNvSpPr>
                  <a:spLocks/>
                </p:cNvSpPr>
                <p:nvPr/>
              </p:nvSpPr>
              <p:spPr bwMode="auto">
                <a:xfrm>
                  <a:off x="4520579" y="2044351"/>
                  <a:ext cx="55707" cy="37481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2147483647 h 35"/>
                    <a:gd name="T4" fmla="*/ 2147483647 w 52"/>
                    <a:gd name="T5" fmla="*/ 0 h 35"/>
                    <a:gd name="T6" fmla="*/ 0 w 52"/>
                    <a:gd name="T7" fmla="*/ 0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4" y="9"/>
                      </a:moveTo>
                      <a:lnTo>
                        <a:pt x="26" y="9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26" y="26"/>
                      </a:lnTo>
                      <a:lnTo>
                        <a:pt x="52" y="35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4" name="Freeform 279"/>
                <p:cNvSpPr>
                  <a:spLocks/>
                </p:cNvSpPr>
                <p:nvPr/>
              </p:nvSpPr>
              <p:spPr bwMode="auto">
                <a:xfrm>
                  <a:off x="4445588" y="1988665"/>
                  <a:ext cx="27853" cy="46048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2147483647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2147483647 h 43"/>
                    <a:gd name="T12" fmla="*/ 2147483647 w 26"/>
                    <a:gd name="T13" fmla="*/ 0 h 4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43"/>
                    <a:gd name="T23" fmla="*/ 26 w 26"/>
                    <a:gd name="T24" fmla="*/ 43 h 4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43">
                      <a:moveTo>
                        <a:pt x="18" y="0"/>
                      </a:moveTo>
                      <a:lnTo>
                        <a:pt x="0" y="8"/>
                      </a:lnTo>
                      <a:lnTo>
                        <a:pt x="0" y="35"/>
                      </a:lnTo>
                      <a:lnTo>
                        <a:pt x="18" y="43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5" name="Freeform 280"/>
                <p:cNvSpPr>
                  <a:spLocks/>
                </p:cNvSpPr>
                <p:nvPr/>
              </p:nvSpPr>
              <p:spPr bwMode="auto">
                <a:xfrm>
                  <a:off x="4445588" y="1988665"/>
                  <a:ext cx="27853" cy="46048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2147483647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2147483647 h 43"/>
                    <a:gd name="T12" fmla="*/ 2147483647 w 26"/>
                    <a:gd name="T13" fmla="*/ 0 h 4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43"/>
                    <a:gd name="T23" fmla="*/ 26 w 26"/>
                    <a:gd name="T24" fmla="*/ 43 h 4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43">
                      <a:moveTo>
                        <a:pt x="18" y="0"/>
                      </a:moveTo>
                      <a:lnTo>
                        <a:pt x="0" y="8"/>
                      </a:lnTo>
                      <a:lnTo>
                        <a:pt x="0" y="35"/>
                      </a:lnTo>
                      <a:lnTo>
                        <a:pt x="18" y="43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6" name="Freeform 281"/>
                <p:cNvSpPr>
                  <a:spLocks/>
                </p:cNvSpPr>
                <p:nvPr/>
              </p:nvSpPr>
              <p:spPr bwMode="auto">
                <a:xfrm>
                  <a:off x="4530220" y="1885863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2147483647 h 61"/>
                    <a:gd name="T4" fmla="*/ 2147483647 w 87"/>
                    <a:gd name="T5" fmla="*/ 2147483647 h 61"/>
                    <a:gd name="T6" fmla="*/ 2147483647 w 87"/>
                    <a:gd name="T7" fmla="*/ 0 h 61"/>
                    <a:gd name="T8" fmla="*/ 2147483647 w 87"/>
                    <a:gd name="T9" fmla="*/ 2147483647 h 61"/>
                    <a:gd name="T10" fmla="*/ 2147483647 w 87"/>
                    <a:gd name="T11" fmla="*/ 2147483647 h 61"/>
                    <a:gd name="T12" fmla="*/ 0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2147483647 w 87"/>
                    <a:gd name="T19" fmla="*/ 2147483647 h 61"/>
                    <a:gd name="T20" fmla="*/ 2147483647 w 87"/>
                    <a:gd name="T21" fmla="*/ 2147483647 h 61"/>
                    <a:gd name="T22" fmla="*/ 2147483647 w 87"/>
                    <a:gd name="T23" fmla="*/ 2147483647 h 61"/>
                    <a:gd name="T24" fmla="*/ 2147483647 w 87"/>
                    <a:gd name="T25" fmla="*/ 2147483647 h 61"/>
                    <a:gd name="T26" fmla="*/ 2147483647 w 87"/>
                    <a:gd name="T27" fmla="*/ 2147483647 h 6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7"/>
                    <a:gd name="T43" fmla="*/ 0 h 61"/>
                    <a:gd name="T44" fmla="*/ 87 w 87"/>
                    <a:gd name="T45" fmla="*/ 61 h 6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7" h="61">
                      <a:moveTo>
                        <a:pt x="78" y="17"/>
                      </a:moveTo>
                      <a:lnTo>
                        <a:pt x="87" y="17"/>
                      </a:lnTo>
                      <a:lnTo>
                        <a:pt x="87" y="9"/>
                      </a:lnTo>
                      <a:lnTo>
                        <a:pt x="52" y="0"/>
                      </a:lnTo>
                      <a:lnTo>
                        <a:pt x="43" y="17"/>
                      </a:lnTo>
                      <a:lnTo>
                        <a:pt x="26" y="9"/>
                      </a:lnTo>
                      <a:lnTo>
                        <a:pt x="0" y="17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43" y="61"/>
                      </a:lnTo>
                      <a:lnTo>
                        <a:pt x="69" y="61"/>
                      </a:lnTo>
                      <a:lnTo>
                        <a:pt x="43" y="26"/>
                      </a:lnTo>
                      <a:lnTo>
                        <a:pt x="52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7" name="Freeform 282"/>
                <p:cNvSpPr>
                  <a:spLocks/>
                </p:cNvSpPr>
                <p:nvPr/>
              </p:nvSpPr>
              <p:spPr bwMode="auto">
                <a:xfrm>
                  <a:off x="4530220" y="1885863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2147483647 h 61"/>
                    <a:gd name="T4" fmla="*/ 2147483647 w 87"/>
                    <a:gd name="T5" fmla="*/ 2147483647 h 61"/>
                    <a:gd name="T6" fmla="*/ 2147483647 w 87"/>
                    <a:gd name="T7" fmla="*/ 0 h 61"/>
                    <a:gd name="T8" fmla="*/ 2147483647 w 87"/>
                    <a:gd name="T9" fmla="*/ 2147483647 h 61"/>
                    <a:gd name="T10" fmla="*/ 2147483647 w 87"/>
                    <a:gd name="T11" fmla="*/ 2147483647 h 61"/>
                    <a:gd name="T12" fmla="*/ 0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2147483647 w 87"/>
                    <a:gd name="T19" fmla="*/ 2147483647 h 61"/>
                    <a:gd name="T20" fmla="*/ 2147483647 w 87"/>
                    <a:gd name="T21" fmla="*/ 2147483647 h 61"/>
                    <a:gd name="T22" fmla="*/ 2147483647 w 87"/>
                    <a:gd name="T23" fmla="*/ 2147483647 h 61"/>
                    <a:gd name="T24" fmla="*/ 2147483647 w 87"/>
                    <a:gd name="T25" fmla="*/ 2147483647 h 61"/>
                    <a:gd name="T26" fmla="*/ 2147483647 w 87"/>
                    <a:gd name="T27" fmla="*/ 2147483647 h 6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7"/>
                    <a:gd name="T43" fmla="*/ 0 h 61"/>
                    <a:gd name="T44" fmla="*/ 87 w 87"/>
                    <a:gd name="T45" fmla="*/ 61 h 6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7" h="61">
                      <a:moveTo>
                        <a:pt x="78" y="17"/>
                      </a:moveTo>
                      <a:lnTo>
                        <a:pt x="87" y="17"/>
                      </a:lnTo>
                      <a:lnTo>
                        <a:pt x="87" y="9"/>
                      </a:lnTo>
                      <a:lnTo>
                        <a:pt x="52" y="0"/>
                      </a:lnTo>
                      <a:lnTo>
                        <a:pt x="43" y="17"/>
                      </a:lnTo>
                      <a:lnTo>
                        <a:pt x="26" y="9"/>
                      </a:lnTo>
                      <a:lnTo>
                        <a:pt x="0" y="17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43" y="61"/>
                      </a:lnTo>
                      <a:lnTo>
                        <a:pt x="69" y="61"/>
                      </a:lnTo>
                      <a:lnTo>
                        <a:pt x="43" y="26"/>
                      </a:lnTo>
                      <a:lnTo>
                        <a:pt x="52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8" name="Freeform 283"/>
                <p:cNvSpPr>
                  <a:spLocks/>
                </p:cNvSpPr>
                <p:nvPr/>
              </p:nvSpPr>
              <p:spPr bwMode="auto">
                <a:xfrm>
                  <a:off x="4576285" y="1904068"/>
                  <a:ext cx="56779" cy="56756"/>
                </a:xfrm>
                <a:custGeom>
                  <a:avLst/>
                  <a:gdLst>
                    <a:gd name="T0" fmla="*/ 2147483647 w 53"/>
                    <a:gd name="T1" fmla="*/ 0 h 53"/>
                    <a:gd name="T2" fmla="*/ 0 w 53"/>
                    <a:gd name="T3" fmla="*/ 2147483647 h 53"/>
                    <a:gd name="T4" fmla="*/ 2147483647 w 53"/>
                    <a:gd name="T5" fmla="*/ 2147483647 h 53"/>
                    <a:gd name="T6" fmla="*/ 2147483647 w 53"/>
                    <a:gd name="T7" fmla="*/ 2147483647 h 53"/>
                    <a:gd name="T8" fmla="*/ 2147483647 w 53"/>
                    <a:gd name="T9" fmla="*/ 2147483647 h 53"/>
                    <a:gd name="T10" fmla="*/ 2147483647 w 53"/>
                    <a:gd name="T11" fmla="*/ 0 h 53"/>
                    <a:gd name="T12" fmla="*/ 2147483647 w 53"/>
                    <a:gd name="T13" fmla="*/ 0 h 5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3"/>
                    <a:gd name="T22" fmla="*/ 0 h 53"/>
                    <a:gd name="T23" fmla="*/ 53 w 53"/>
                    <a:gd name="T24" fmla="*/ 53 h 5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3" h="53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26" y="44"/>
                      </a:lnTo>
                      <a:lnTo>
                        <a:pt x="35" y="53"/>
                      </a:lnTo>
                      <a:lnTo>
                        <a:pt x="53" y="26"/>
                      </a:lnTo>
                      <a:lnTo>
                        <a:pt x="35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9" name="Freeform 284"/>
                <p:cNvSpPr>
                  <a:spLocks/>
                </p:cNvSpPr>
                <p:nvPr/>
              </p:nvSpPr>
              <p:spPr bwMode="auto">
                <a:xfrm>
                  <a:off x="4576285" y="1904068"/>
                  <a:ext cx="56779" cy="56756"/>
                </a:xfrm>
                <a:custGeom>
                  <a:avLst/>
                  <a:gdLst>
                    <a:gd name="T0" fmla="*/ 2147483647 w 53"/>
                    <a:gd name="T1" fmla="*/ 0 h 53"/>
                    <a:gd name="T2" fmla="*/ 0 w 53"/>
                    <a:gd name="T3" fmla="*/ 2147483647 h 53"/>
                    <a:gd name="T4" fmla="*/ 2147483647 w 53"/>
                    <a:gd name="T5" fmla="*/ 2147483647 h 53"/>
                    <a:gd name="T6" fmla="*/ 2147483647 w 53"/>
                    <a:gd name="T7" fmla="*/ 2147483647 h 53"/>
                    <a:gd name="T8" fmla="*/ 2147483647 w 53"/>
                    <a:gd name="T9" fmla="*/ 2147483647 h 53"/>
                    <a:gd name="T10" fmla="*/ 2147483647 w 53"/>
                    <a:gd name="T11" fmla="*/ 0 h 53"/>
                    <a:gd name="T12" fmla="*/ 2147483647 w 53"/>
                    <a:gd name="T13" fmla="*/ 0 h 5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3"/>
                    <a:gd name="T22" fmla="*/ 0 h 53"/>
                    <a:gd name="T23" fmla="*/ 53 w 53"/>
                    <a:gd name="T24" fmla="*/ 53 h 5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3" h="53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26" y="44"/>
                      </a:lnTo>
                      <a:lnTo>
                        <a:pt x="35" y="53"/>
                      </a:lnTo>
                      <a:lnTo>
                        <a:pt x="53" y="26"/>
                      </a:lnTo>
                      <a:lnTo>
                        <a:pt x="35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0" name="Freeform 285"/>
                <p:cNvSpPr>
                  <a:spLocks/>
                </p:cNvSpPr>
                <p:nvPr/>
              </p:nvSpPr>
              <p:spPr bwMode="auto">
                <a:xfrm>
                  <a:off x="4613781" y="1895501"/>
                  <a:ext cx="84632" cy="83527"/>
                </a:xfrm>
                <a:custGeom>
                  <a:avLst/>
                  <a:gdLst>
                    <a:gd name="T0" fmla="*/ 2147483647 w 79"/>
                    <a:gd name="T1" fmla="*/ 2147483647 h 78"/>
                    <a:gd name="T2" fmla="*/ 2147483647 w 79"/>
                    <a:gd name="T3" fmla="*/ 2147483647 h 78"/>
                    <a:gd name="T4" fmla="*/ 2147483647 w 79"/>
                    <a:gd name="T5" fmla="*/ 2147483647 h 78"/>
                    <a:gd name="T6" fmla="*/ 2147483647 w 79"/>
                    <a:gd name="T7" fmla="*/ 0 h 78"/>
                    <a:gd name="T8" fmla="*/ 2147483647 w 79"/>
                    <a:gd name="T9" fmla="*/ 0 h 78"/>
                    <a:gd name="T10" fmla="*/ 2147483647 w 79"/>
                    <a:gd name="T11" fmla="*/ 2147483647 h 78"/>
                    <a:gd name="T12" fmla="*/ 0 w 79"/>
                    <a:gd name="T13" fmla="*/ 2147483647 h 78"/>
                    <a:gd name="T14" fmla="*/ 2147483647 w 79"/>
                    <a:gd name="T15" fmla="*/ 2147483647 h 78"/>
                    <a:gd name="T16" fmla="*/ 0 w 79"/>
                    <a:gd name="T17" fmla="*/ 2147483647 h 78"/>
                    <a:gd name="T18" fmla="*/ 2147483647 w 79"/>
                    <a:gd name="T19" fmla="*/ 2147483647 h 78"/>
                    <a:gd name="T20" fmla="*/ 2147483647 w 79"/>
                    <a:gd name="T21" fmla="*/ 2147483647 h 78"/>
                    <a:gd name="T22" fmla="*/ 2147483647 w 79"/>
                    <a:gd name="T23" fmla="*/ 2147483647 h 78"/>
                    <a:gd name="T24" fmla="*/ 2147483647 w 79"/>
                    <a:gd name="T25" fmla="*/ 2147483647 h 78"/>
                    <a:gd name="T26" fmla="*/ 2147483647 w 79"/>
                    <a:gd name="T27" fmla="*/ 2147483647 h 7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9"/>
                    <a:gd name="T43" fmla="*/ 0 h 78"/>
                    <a:gd name="T44" fmla="*/ 79 w 79"/>
                    <a:gd name="T45" fmla="*/ 78 h 7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9" h="78">
                      <a:moveTo>
                        <a:pt x="70" y="61"/>
                      </a:move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8"/>
                      </a:lnTo>
                      <a:lnTo>
                        <a:pt x="18" y="34"/>
                      </a:lnTo>
                      <a:lnTo>
                        <a:pt x="0" y="61"/>
                      </a:lnTo>
                      <a:lnTo>
                        <a:pt x="9" y="69"/>
                      </a:lnTo>
                      <a:lnTo>
                        <a:pt x="18" y="61"/>
                      </a:lnTo>
                      <a:lnTo>
                        <a:pt x="26" y="61"/>
                      </a:lnTo>
                      <a:lnTo>
                        <a:pt x="44" y="78"/>
                      </a:lnTo>
                      <a:lnTo>
                        <a:pt x="70" y="61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1" name="Freeform 286"/>
                <p:cNvSpPr>
                  <a:spLocks/>
                </p:cNvSpPr>
                <p:nvPr/>
              </p:nvSpPr>
              <p:spPr bwMode="auto">
                <a:xfrm>
                  <a:off x="4613781" y="1895501"/>
                  <a:ext cx="84632" cy="83527"/>
                </a:xfrm>
                <a:custGeom>
                  <a:avLst/>
                  <a:gdLst>
                    <a:gd name="T0" fmla="*/ 2147483647 w 79"/>
                    <a:gd name="T1" fmla="*/ 2147483647 h 78"/>
                    <a:gd name="T2" fmla="*/ 2147483647 w 79"/>
                    <a:gd name="T3" fmla="*/ 2147483647 h 78"/>
                    <a:gd name="T4" fmla="*/ 2147483647 w 79"/>
                    <a:gd name="T5" fmla="*/ 2147483647 h 78"/>
                    <a:gd name="T6" fmla="*/ 2147483647 w 79"/>
                    <a:gd name="T7" fmla="*/ 0 h 78"/>
                    <a:gd name="T8" fmla="*/ 2147483647 w 79"/>
                    <a:gd name="T9" fmla="*/ 0 h 78"/>
                    <a:gd name="T10" fmla="*/ 2147483647 w 79"/>
                    <a:gd name="T11" fmla="*/ 2147483647 h 78"/>
                    <a:gd name="T12" fmla="*/ 0 w 79"/>
                    <a:gd name="T13" fmla="*/ 2147483647 h 78"/>
                    <a:gd name="T14" fmla="*/ 2147483647 w 79"/>
                    <a:gd name="T15" fmla="*/ 2147483647 h 78"/>
                    <a:gd name="T16" fmla="*/ 0 w 79"/>
                    <a:gd name="T17" fmla="*/ 2147483647 h 78"/>
                    <a:gd name="T18" fmla="*/ 2147483647 w 79"/>
                    <a:gd name="T19" fmla="*/ 2147483647 h 78"/>
                    <a:gd name="T20" fmla="*/ 2147483647 w 79"/>
                    <a:gd name="T21" fmla="*/ 2147483647 h 78"/>
                    <a:gd name="T22" fmla="*/ 2147483647 w 79"/>
                    <a:gd name="T23" fmla="*/ 2147483647 h 78"/>
                    <a:gd name="T24" fmla="*/ 2147483647 w 79"/>
                    <a:gd name="T25" fmla="*/ 2147483647 h 78"/>
                    <a:gd name="T26" fmla="*/ 2147483647 w 79"/>
                    <a:gd name="T27" fmla="*/ 2147483647 h 7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9"/>
                    <a:gd name="T43" fmla="*/ 0 h 78"/>
                    <a:gd name="T44" fmla="*/ 79 w 79"/>
                    <a:gd name="T45" fmla="*/ 78 h 7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9" h="78">
                      <a:moveTo>
                        <a:pt x="70" y="61"/>
                      </a:move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8"/>
                      </a:lnTo>
                      <a:lnTo>
                        <a:pt x="18" y="34"/>
                      </a:lnTo>
                      <a:lnTo>
                        <a:pt x="0" y="61"/>
                      </a:lnTo>
                      <a:lnTo>
                        <a:pt x="9" y="69"/>
                      </a:lnTo>
                      <a:lnTo>
                        <a:pt x="18" y="61"/>
                      </a:lnTo>
                      <a:lnTo>
                        <a:pt x="26" y="61"/>
                      </a:lnTo>
                      <a:lnTo>
                        <a:pt x="44" y="78"/>
                      </a:lnTo>
                      <a:lnTo>
                        <a:pt x="70" y="61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2" name="Freeform 287"/>
                <p:cNvSpPr>
                  <a:spLocks/>
                </p:cNvSpPr>
                <p:nvPr/>
              </p:nvSpPr>
              <p:spPr bwMode="auto">
                <a:xfrm>
                  <a:off x="4623422" y="1960823"/>
                  <a:ext cx="46066" cy="55685"/>
                </a:xfrm>
                <a:custGeom>
                  <a:avLst/>
                  <a:gdLst>
                    <a:gd name="T0" fmla="*/ 2147483647 w 43"/>
                    <a:gd name="T1" fmla="*/ 2147483647 h 52"/>
                    <a:gd name="T2" fmla="*/ 2147483647 w 43"/>
                    <a:gd name="T3" fmla="*/ 2147483647 h 52"/>
                    <a:gd name="T4" fmla="*/ 2147483647 w 43"/>
                    <a:gd name="T5" fmla="*/ 0 h 52"/>
                    <a:gd name="T6" fmla="*/ 2147483647 w 43"/>
                    <a:gd name="T7" fmla="*/ 0 h 52"/>
                    <a:gd name="T8" fmla="*/ 0 w 43"/>
                    <a:gd name="T9" fmla="*/ 2147483647 h 52"/>
                    <a:gd name="T10" fmla="*/ 2147483647 w 43"/>
                    <a:gd name="T11" fmla="*/ 2147483647 h 52"/>
                    <a:gd name="T12" fmla="*/ 2147483647 w 43"/>
                    <a:gd name="T13" fmla="*/ 2147483647 h 52"/>
                    <a:gd name="T14" fmla="*/ 2147483647 w 43"/>
                    <a:gd name="T15" fmla="*/ 2147483647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"/>
                    <a:gd name="T25" fmla="*/ 0 h 52"/>
                    <a:gd name="T26" fmla="*/ 43 w 43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" h="52">
                      <a:moveTo>
                        <a:pt x="43" y="34"/>
                      </a:moveTo>
                      <a:lnTo>
                        <a:pt x="35" y="17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9" y="43"/>
                      </a:lnTo>
                      <a:lnTo>
                        <a:pt x="26" y="52"/>
                      </a:lnTo>
                      <a:lnTo>
                        <a:pt x="43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3" name="Freeform 288"/>
                <p:cNvSpPr>
                  <a:spLocks/>
                </p:cNvSpPr>
                <p:nvPr/>
              </p:nvSpPr>
              <p:spPr bwMode="auto">
                <a:xfrm>
                  <a:off x="4623422" y="1960823"/>
                  <a:ext cx="46066" cy="55685"/>
                </a:xfrm>
                <a:custGeom>
                  <a:avLst/>
                  <a:gdLst>
                    <a:gd name="T0" fmla="*/ 2147483647 w 43"/>
                    <a:gd name="T1" fmla="*/ 2147483647 h 52"/>
                    <a:gd name="T2" fmla="*/ 2147483647 w 43"/>
                    <a:gd name="T3" fmla="*/ 2147483647 h 52"/>
                    <a:gd name="T4" fmla="*/ 2147483647 w 43"/>
                    <a:gd name="T5" fmla="*/ 0 h 52"/>
                    <a:gd name="T6" fmla="*/ 2147483647 w 43"/>
                    <a:gd name="T7" fmla="*/ 0 h 52"/>
                    <a:gd name="T8" fmla="*/ 0 w 43"/>
                    <a:gd name="T9" fmla="*/ 2147483647 h 52"/>
                    <a:gd name="T10" fmla="*/ 2147483647 w 43"/>
                    <a:gd name="T11" fmla="*/ 2147483647 h 52"/>
                    <a:gd name="T12" fmla="*/ 2147483647 w 43"/>
                    <a:gd name="T13" fmla="*/ 2147483647 h 52"/>
                    <a:gd name="T14" fmla="*/ 2147483647 w 43"/>
                    <a:gd name="T15" fmla="*/ 2147483647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"/>
                    <a:gd name="T25" fmla="*/ 0 h 52"/>
                    <a:gd name="T26" fmla="*/ 43 w 43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" h="52">
                      <a:moveTo>
                        <a:pt x="43" y="34"/>
                      </a:moveTo>
                      <a:lnTo>
                        <a:pt x="35" y="17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9" y="43"/>
                      </a:lnTo>
                      <a:lnTo>
                        <a:pt x="26" y="52"/>
                      </a:lnTo>
                      <a:lnTo>
                        <a:pt x="43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4" name="Freeform 289"/>
                <p:cNvSpPr>
                  <a:spLocks/>
                </p:cNvSpPr>
                <p:nvPr/>
              </p:nvSpPr>
              <p:spPr bwMode="auto">
                <a:xfrm>
                  <a:off x="4660917" y="1960823"/>
                  <a:ext cx="46066" cy="36409"/>
                </a:xfrm>
                <a:custGeom>
                  <a:avLst/>
                  <a:gdLst>
                    <a:gd name="T0" fmla="*/ 2147483647 w 43"/>
                    <a:gd name="T1" fmla="*/ 0 h 34"/>
                    <a:gd name="T2" fmla="*/ 2147483647 w 43"/>
                    <a:gd name="T3" fmla="*/ 0 h 34"/>
                    <a:gd name="T4" fmla="*/ 0 w 43"/>
                    <a:gd name="T5" fmla="*/ 2147483647 h 34"/>
                    <a:gd name="T6" fmla="*/ 2147483647 w 43"/>
                    <a:gd name="T7" fmla="*/ 2147483647 h 34"/>
                    <a:gd name="T8" fmla="*/ 2147483647 w 43"/>
                    <a:gd name="T9" fmla="*/ 2147483647 h 34"/>
                    <a:gd name="T10" fmla="*/ 2147483647 w 43"/>
                    <a:gd name="T11" fmla="*/ 0 h 3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34"/>
                    <a:gd name="T20" fmla="*/ 43 w 43"/>
                    <a:gd name="T21" fmla="*/ 34 h 3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34">
                      <a:moveTo>
                        <a:pt x="43" y="0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43" y="17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5" name="Freeform 290"/>
                <p:cNvSpPr>
                  <a:spLocks/>
                </p:cNvSpPr>
                <p:nvPr/>
              </p:nvSpPr>
              <p:spPr bwMode="auto">
                <a:xfrm>
                  <a:off x="4660917" y="1960823"/>
                  <a:ext cx="46066" cy="36409"/>
                </a:xfrm>
                <a:custGeom>
                  <a:avLst/>
                  <a:gdLst>
                    <a:gd name="T0" fmla="*/ 2147483647 w 43"/>
                    <a:gd name="T1" fmla="*/ 0 h 34"/>
                    <a:gd name="T2" fmla="*/ 2147483647 w 43"/>
                    <a:gd name="T3" fmla="*/ 0 h 34"/>
                    <a:gd name="T4" fmla="*/ 0 w 43"/>
                    <a:gd name="T5" fmla="*/ 2147483647 h 34"/>
                    <a:gd name="T6" fmla="*/ 2147483647 w 43"/>
                    <a:gd name="T7" fmla="*/ 2147483647 h 34"/>
                    <a:gd name="T8" fmla="*/ 2147483647 w 43"/>
                    <a:gd name="T9" fmla="*/ 2147483647 h 34"/>
                    <a:gd name="T10" fmla="*/ 2147483647 w 43"/>
                    <a:gd name="T11" fmla="*/ 0 h 3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34"/>
                    <a:gd name="T20" fmla="*/ 43 w 43"/>
                    <a:gd name="T21" fmla="*/ 34 h 3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34">
                      <a:moveTo>
                        <a:pt x="43" y="0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43" y="17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6" name="Freeform 291"/>
                <p:cNvSpPr>
                  <a:spLocks/>
                </p:cNvSpPr>
                <p:nvPr/>
              </p:nvSpPr>
              <p:spPr bwMode="auto">
                <a:xfrm>
                  <a:off x="4165983" y="1931910"/>
                  <a:ext cx="196046" cy="159559"/>
                </a:xfrm>
                <a:custGeom>
                  <a:avLst/>
                  <a:gdLst>
                    <a:gd name="T0" fmla="*/ 2147483647 w 183"/>
                    <a:gd name="T1" fmla="*/ 2147483647 h 149"/>
                    <a:gd name="T2" fmla="*/ 2147483647 w 183"/>
                    <a:gd name="T3" fmla="*/ 2147483647 h 149"/>
                    <a:gd name="T4" fmla="*/ 2147483647 w 183"/>
                    <a:gd name="T5" fmla="*/ 2147483647 h 149"/>
                    <a:gd name="T6" fmla="*/ 2147483647 w 183"/>
                    <a:gd name="T7" fmla="*/ 2147483647 h 149"/>
                    <a:gd name="T8" fmla="*/ 2147483647 w 183"/>
                    <a:gd name="T9" fmla="*/ 2147483647 h 149"/>
                    <a:gd name="T10" fmla="*/ 2147483647 w 183"/>
                    <a:gd name="T11" fmla="*/ 2147483647 h 149"/>
                    <a:gd name="T12" fmla="*/ 2147483647 w 183"/>
                    <a:gd name="T13" fmla="*/ 0 h 149"/>
                    <a:gd name="T14" fmla="*/ 0 w 183"/>
                    <a:gd name="T15" fmla="*/ 2147483647 h 149"/>
                    <a:gd name="T16" fmla="*/ 0 w 183"/>
                    <a:gd name="T17" fmla="*/ 2147483647 h 149"/>
                    <a:gd name="T18" fmla="*/ 2147483647 w 183"/>
                    <a:gd name="T19" fmla="*/ 2147483647 h 149"/>
                    <a:gd name="T20" fmla="*/ 2147483647 w 183"/>
                    <a:gd name="T21" fmla="*/ 2147483647 h 149"/>
                    <a:gd name="T22" fmla="*/ 2147483647 w 183"/>
                    <a:gd name="T23" fmla="*/ 2147483647 h 149"/>
                    <a:gd name="T24" fmla="*/ 2147483647 w 183"/>
                    <a:gd name="T25" fmla="*/ 2147483647 h 149"/>
                    <a:gd name="T26" fmla="*/ 2147483647 w 183"/>
                    <a:gd name="T27" fmla="*/ 2147483647 h 149"/>
                    <a:gd name="T28" fmla="*/ 2147483647 w 183"/>
                    <a:gd name="T29" fmla="*/ 2147483647 h 149"/>
                    <a:gd name="T30" fmla="*/ 2147483647 w 183"/>
                    <a:gd name="T31" fmla="*/ 2147483647 h 149"/>
                    <a:gd name="T32" fmla="*/ 2147483647 w 183"/>
                    <a:gd name="T33" fmla="*/ 2147483647 h 149"/>
                    <a:gd name="T34" fmla="*/ 2147483647 w 183"/>
                    <a:gd name="T35" fmla="*/ 2147483647 h 149"/>
                    <a:gd name="T36" fmla="*/ 2147483647 w 183"/>
                    <a:gd name="T37" fmla="*/ 2147483647 h 14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83"/>
                    <a:gd name="T58" fmla="*/ 0 h 149"/>
                    <a:gd name="T59" fmla="*/ 183 w 183"/>
                    <a:gd name="T60" fmla="*/ 149 h 14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83" h="149">
                      <a:moveTo>
                        <a:pt x="183" y="27"/>
                      </a:moveTo>
                      <a:lnTo>
                        <a:pt x="165" y="27"/>
                      </a:lnTo>
                      <a:lnTo>
                        <a:pt x="157" y="35"/>
                      </a:lnTo>
                      <a:lnTo>
                        <a:pt x="157" y="27"/>
                      </a:lnTo>
                      <a:lnTo>
                        <a:pt x="113" y="9"/>
                      </a:lnTo>
                      <a:lnTo>
                        <a:pt x="104" y="18"/>
                      </a:lnTo>
                      <a:lnTo>
                        <a:pt x="17" y="0"/>
                      </a:lnTo>
                      <a:lnTo>
                        <a:pt x="0" y="18"/>
                      </a:lnTo>
                      <a:lnTo>
                        <a:pt x="0" y="35"/>
                      </a:lnTo>
                      <a:lnTo>
                        <a:pt x="43" y="44"/>
                      </a:lnTo>
                      <a:lnTo>
                        <a:pt x="34" y="88"/>
                      </a:lnTo>
                      <a:lnTo>
                        <a:pt x="26" y="122"/>
                      </a:lnTo>
                      <a:lnTo>
                        <a:pt x="52" y="149"/>
                      </a:lnTo>
                      <a:lnTo>
                        <a:pt x="69" y="140"/>
                      </a:lnTo>
                      <a:lnTo>
                        <a:pt x="104" y="131"/>
                      </a:lnTo>
                      <a:lnTo>
                        <a:pt x="122" y="114"/>
                      </a:lnTo>
                      <a:lnTo>
                        <a:pt x="148" y="70"/>
                      </a:lnTo>
                      <a:lnTo>
                        <a:pt x="183" y="44"/>
                      </a:lnTo>
                      <a:lnTo>
                        <a:pt x="183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7" name="Freeform 292"/>
                <p:cNvSpPr>
                  <a:spLocks/>
                </p:cNvSpPr>
                <p:nvPr/>
              </p:nvSpPr>
              <p:spPr bwMode="auto">
                <a:xfrm>
                  <a:off x="4165983" y="1931910"/>
                  <a:ext cx="196046" cy="159559"/>
                </a:xfrm>
                <a:custGeom>
                  <a:avLst/>
                  <a:gdLst>
                    <a:gd name="T0" fmla="*/ 2147483647 w 183"/>
                    <a:gd name="T1" fmla="*/ 2147483647 h 149"/>
                    <a:gd name="T2" fmla="*/ 2147483647 w 183"/>
                    <a:gd name="T3" fmla="*/ 2147483647 h 149"/>
                    <a:gd name="T4" fmla="*/ 2147483647 w 183"/>
                    <a:gd name="T5" fmla="*/ 2147483647 h 149"/>
                    <a:gd name="T6" fmla="*/ 2147483647 w 183"/>
                    <a:gd name="T7" fmla="*/ 2147483647 h 149"/>
                    <a:gd name="T8" fmla="*/ 2147483647 w 183"/>
                    <a:gd name="T9" fmla="*/ 2147483647 h 149"/>
                    <a:gd name="T10" fmla="*/ 2147483647 w 183"/>
                    <a:gd name="T11" fmla="*/ 2147483647 h 149"/>
                    <a:gd name="T12" fmla="*/ 2147483647 w 183"/>
                    <a:gd name="T13" fmla="*/ 0 h 149"/>
                    <a:gd name="T14" fmla="*/ 0 w 183"/>
                    <a:gd name="T15" fmla="*/ 2147483647 h 149"/>
                    <a:gd name="T16" fmla="*/ 0 w 183"/>
                    <a:gd name="T17" fmla="*/ 2147483647 h 149"/>
                    <a:gd name="T18" fmla="*/ 2147483647 w 183"/>
                    <a:gd name="T19" fmla="*/ 2147483647 h 149"/>
                    <a:gd name="T20" fmla="*/ 2147483647 w 183"/>
                    <a:gd name="T21" fmla="*/ 2147483647 h 149"/>
                    <a:gd name="T22" fmla="*/ 2147483647 w 183"/>
                    <a:gd name="T23" fmla="*/ 2147483647 h 149"/>
                    <a:gd name="T24" fmla="*/ 2147483647 w 183"/>
                    <a:gd name="T25" fmla="*/ 2147483647 h 149"/>
                    <a:gd name="T26" fmla="*/ 2147483647 w 183"/>
                    <a:gd name="T27" fmla="*/ 2147483647 h 149"/>
                    <a:gd name="T28" fmla="*/ 2147483647 w 183"/>
                    <a:gd name="T29" fmla="*/ 2147483647 h 149"/>
                    <a:gd name="T30" fmla="*/ 2147483647 w 183"/>
                    <a:gd name="T31" fmla="*/ 2147483647 h 149"/>
                    <a:gd name="T32" fmla="*/ 2147483647 w 183"/>
                    <a:gd name="T33" fmla="*/ 2147483647 h 149"/>
                    <a:gd name="T34" fmla="*/ 2147483647 w 183"/>
                    <a:gd name="T35" fmla="*/ 2147483647 h 149"/>
                    <a:gd name="T36" fmla="*/ 2147483647 w 183"/>
                    <a:gd name="T37" fmla="*/ 2147483647 h 14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83"/>
                    <a:gd name="T58" fmla="*/ 0 h 149"/>
                    <a:gd name="T59" fmla="*/ 183 w 183"/>
                    <a:gd name="T60" fmla="*/ 149 h 14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83" h="149">
                      <a:moveTo>
                        <a:pt x="183" y="27"/>
                      </a:moveTo>
                      <a:lnTo>
                        <a:pt x="165" y="27"/>
                      </a:lnTo>
                      <a:lnTo>
                        <a:pt x="157" y="35"/>
                      </a:lnTo>
                      <a:lnTo>
                        <a:pt x="157" y="27"/>
                      </a:lnTo>
                      <a:lnTo>
                        <a:pt x="113" y="9"/>
                      </a:lnTo>
                      <a:lnTo>
                        <a:pt x="104" y="18"/>
                      </a:lnTo>
                      <a:lnTo>
                        <a:pt x="17" y="0"/>
                      </a:lnTo>
                      <a:lnTo>
                        <a:pt x="0" y="18"/>
                      </a:lnTo>
                      <a:lnTo>
                        <a:pt x="0" y="35"/>
                      </a:lnTo>
                      <a:lnTo>
                        <a:pt x="43" y="44"/>
                      </a:lnTo>
                      <a:lnTo>
                        <a:pt x="34" y="88"/>
                      </a:lnTo>
                      <a:lnTo>
                        <a:pt x="26" y="122"/>
                      </a:lnTo>
                      <a:lnTo>
                        <a:pt x="52" y="149"/>
                      </a:lnTo>
                      <a:lnTo>
                        <a:pt x="69" y="140"/>
                      </a:lnTo>
                      <a:lnTo>
                        <a:pt x="104" y="131"/>
                      </a:lnTo>
                      <a:lnTo>
                        <a:pt x="122" y="114"/>
                      </a:lnTo>
                      <a:lnTo>
                        <a:pt x="148" y="70"/>
                      </a:lnTo>
                      <a:lnTo>
                        <a:pt x="183" y="44"/>
                      </a:lnTo>
                      <a:lnTo>
                        <a:pt x="183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8" name="Freeform 293"/>
                <p:cNvSpPr>
                  <a:spLocks/>
                </p:cNvSpPr>
                <p:nvPr/>
              </p:nvSpPr>
              <p:spPr bwMode="auto">
                <a:xfrm>
                  <a:off x="4352387" y="2006871"/>
                  <a:ext cx="18212" cy="19276"/>
                </a:xfrm>
                <a:custGeom>
                  <a:avLst/>
                  <a:gdLst>
                    <a:gd name="T0" fmla="*/ 0 w 17"/>
                    <a:gd name="T1" fmla="*/ 0 h 18"/>
                    <a:gd name="T2" fmla="*/ 2147483647 w 17"/>
                    <a:gd name="T3" fmla="*/ 2147483647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0"/>
                      </a:moveTo>
                      <a:lnTo>
                        <a:pt x="17" y="18"/>
                      </a:ln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9" name="Freeform 294"/>
                <p:cNvSpPr>
                  <a:spLocks/>
                </p:cNvSpPr>
                <p:nvPr/>
              </p:nvSpPr>
              <p:spPr bwMode="auto">
                <a:xfrm>
                  <a:off x="4352387" y="2006871"/>
                  <a:ext cx="18212" cy="19276"/>
                </a:xfrm>
                <a:custGeom>
                  <a:avLst/>
                  <a:gdLst>
                    <a:gd name="T0" fmla="*/ 0 w 17"/>
                    <a:gd name="T1" fmla="*/ 0 h 18"/>
                    <a:gd name="T2" fmla="*/ 2147483647 w 17"/>
                    <a:gd name="T3" fmla="*/ 2147483647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0"/>
                      </a:moveTo>
                      <a:lnTo>
                        <a:pt x="17" y="18"/>
                      </a:ln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0" name="Freeform 301"/>
                <p:cNvSpPr>
                  <a:spLocks/>
                </p:cNvSpPr>
                <p:nvPr/>
              </p:nvSpPr>
              <p:spPr bwMode="auto">
                <a:xfrm>
                  <a:off x="4156341" y="1969390"/>
                  <a:ext cx="55707" cy="93166"/>
                </a:xfrm>
                <a:custGeom>
                  <a:avLst/>
                  <a:gdLst>
                    <a:gd name="T0" fmla="*/ 2147483647 w 52"/>
                    <a:gd name="T1" fmla="*/ 2147483647 h 87"/>
                    <a:gd name="T2" fmla="*/ 2147483647 w 52"/>
                    <a:gd name="T3" fmla="*/ 0 h 87"/>
                    <a:gd name="T4" fmla="*/ 2147483647 w 52"/>
                    <a:gd name="T5" fmla="*/ 2147483647 h 87"/>
                    <a:gd name="T6" fmla="*/ 0 w 52"/>
                    <a:gd name="T7" fmla="*/ 2147483647 h 87"/>
                    <a:gd name="T8" fmla="*/ 2147483647 w 52"/>
                    <a:gd name="T9" fmla="*/ 2147483647 h 87"/>
                    <a:gd name="T10" fmla="*/ 2147483647 w 52"/>
                    <a:gd name="T11" fmla="*/ 2147483647 h 87"/>
                    <a:gd name="T12" fmla="*/ 2147483647 w 52"/>
                    <a:gd name="T13" fmla="*/ 2147483647 h 87"/>
                    <a:gd name="T14" fmla="*/ 2147483647 w 52"/>
                    <a:gd name="T15" fmla="*/ 2147483647 h 8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2"/>
                    <a:gd name="T25" fmla="*/ 0 h 87"/>
                    <a:gd name="T26" fmla="*/ 52 w 52"/>
                    <a:gd name="T27" fmla="*/ 87 h 8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2" h="87">
                      <a:moveTo>
                        <a:pt x="52" y="9"/>
                      </a:moveTo>
                      <a:lnTo>
                        <a:pt x="9" y="0"/>
                      </a:lnTo>
                      <a:lnTo>
                        <a:pt x="9" y="26"/>
                      </a:lnTo>
                      <a:lnTo>
                        <a:pt x="0" y="53"/>
                      </a:lnTo>
                      <a:lnTo>
                        <a:pt x="9" y="87"/>
                      </a:lnTo>
                      <a:lnTo>
                        <a:pt x="35" y="87"/>
                      </a:lnTo>
                      <a:lnTo>
                        <a:pt x="43" y="53"/>
                      </a:lnTo>
                      <a:lnTo>
                        <a:pt x="52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1" name="Freeform 302"/>
                <p:cNvSpPr>
                  <a:spLocks/>
                </p:cNvSpPr>
                <p:nvPr/>
              </p:nvSpPr>
              <p:spPr bwMode="auto">
                <a:xfrm>
                  <a:off x="4156341" y="1969390"/>
                  <a:ext cx="55707" cy="93166"/>
                </a:xfrm>
                <a:custGeom>
                  <a:avLst/>
                  <a:gdLst>
                    <a:gd name="T0" fmla="*/ 2147483647 w 52"/>
                    <a:gd name="T1" fmla="*/ 2147483647 h 87"/>
                    <a:gd name="T2" fmla="*/ 2147483647 w 52"/>
                    <a:gd name="T3" fmla="*/ 0 h 87"/>
                    <a:gd name="T4" fmla="*/ 2147483647 w 52"/>
                    <a:gd name="T5" fmla="*/ 2147483647 h 87"/>
                    <a:gd name="T6" fmla="*/ 0 w 52"/>
                    <a:gd name="T7" fmla="*/ 2147483647 h 87"/>
                    <a:gd name="T8" fmla="*/ 2147483647 w 52"/>
                    <a:gd name="T9" fmla="*/ 2147483647 h 87"/>
                    <a:gd name="T10" fmla="*/ 2147483647 w 52"/>
                    <a:gd name="T11" fmla="*/ 2147483647 h 87"/>
                    <a:gd name="T12" fmla="*/ 2147483647 w 52"/>
                    <a:gd name="T13" fmla="*/ 2147483647 h 87"/>
                    <a:gd name="T14" fmla="*/ 2147483647 w 52"/>
                    <a:gd name="T15" fmla="*/ 2147483647 h 8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2"/>
                    <a:gd name="T25" fmla="*/ 0 h 87"/>
                    <a:gd name="T26" fmla="*/ 52 w 52"/>
                    <a:gd name="T27" fmla="*/ 87 h 8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2" h="87">
                      <a:moveTo>
                        <a:pt x="52" y="9"/>
                      </a:moveTo>
                      <a:lnTo>
                        <a:pt x="9" y="0"/>
                      </a:lnTo>
                      <a:lnTo>
                        <a:pt x="9" y="26"/>
                      </a:lnTo>
                      <a:lnTo>
                        <a:pt x="0" y="53"/>
                      </a:lnTo>
                      <a:lnTo>
                        <a:pt x="9" y="87"/>
                      </a:lnTo>
                      <a:lnTo>
                        <a:pt x="35" y="87"/>
                      </a:lnTo>
                      <a:lnTo>
                        <a:pt x="43" y="53"/>
                      </a:lnTo>
                      <a:lnTo>
                        <a:pt x="52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2" name="Freeform 303"/>
                <p:cNvSpPr>
                  <a:spLocks/>
                </p:cNvSpPr>
                <p:nvPr/>
              </p:nvSpPr>
              <p:spPr bwMode="auto">
                <a:xfrm>
                  <a:off x="4239901" y="1792697"/>
                  <a:ext cx="205687" cy="168126"/>
                </a:xfrm>
                <a:custGeom>
                  <a:avLst/>
                  <a:gdLst>
                    <a:gd name="T0" fmla="*/ 2147483647 w 192"/>
                    <a:gd name="T1" fmla="*/ 2147483647 h 157"/>
                    <a:gd name="T2" fmla="*/ 2147483647 w 192"/>
                    <a:gd name="T3" fmla="*/ 2147483647 h 157"/>
                    <a:gd name="T4" fmla="*/ 2147483647 w 192"/>
                    <a:gd name="T5" fmla="*/ 2147483647 h 157"/>
                    <a:gd name="T6" fmla="*/ 2147483647 w 192"/>
                    <a:gd name="T7" fmla="*/ 2147483647 h 157"/>
                    <a:gd name="T8" fmla="*/ 0 w 192"/>
                    <a:gd name="T9" fmla="*/ 2147483647 h 157"/>
                    <a:gd name="T10" fmla="*/ 2147483647 w 192"/>
                    <a:gd name="T11" fmla="*/ 2147483647 h 157"/>
                    <a:gd name="T12" fmla="*/ 2147483647 w 192"/>
                    <a:gd name="T13" fmla="*/ 2147483647 h 157"/>
                    <a:gd name="T14" fmla="*/ 2147483647 w 192"/>
                    <a:gd name="T15" fmla="*/ 2147483647 h 157"/>
                    <a:gd name="T16" fmla="*/ 2147483647 w 192"/>
                    <a:gd name="T17" fmla="*/ 2147483647 h 157"/>
                    <a:gd name="T18" fmla="*/ 2147483647 w 192"/>
                    <a:gd name="T19" fmla="*/ 2147483647 h 157"/>
                    <a:gd name="T20" fmla="*/ 2147483647 w 192"/>
                    <a:gd name="T21" fmla="*/ 2147483647 h 157"/>
                    <a:gd name="T22" fmla="*/ 2147483647 w 192"/>
                    <a:gd name="T23" fmla="*/ 2147483647 h 157"/>
                    <a:gd name="T24" fmla="*/ 2147483647 w 192"/>
                    <a:gd name="T25" fmla="*/ 2147483647 h 157"/>
                    <a:gd name="T26" fmla="*/ 2147483647 w 192"/>
                    <a:gd name="T27" fmla="*/ 2147483647 h 157"/>
                    <a:gd name="T28" fmla="*/ 2147483647 w 192"/>
                    <a:gd name="T29" fmla="*/ 2147483647 h 157"/>
                    <a:gd name="T30" fmla="*/ 2147483647 w 192"/>
                    <a:gd name="T31" fmla="*/ 2147483647 h 157"/>
                    <a:gd name="T32" fmla="*/ 2147483647 w 192"/>
                    <a:gd name="T33" fmla="*/ 2147483647 h 157"/>
                    <a:gd name="T34" fmla="*/ 2147483647 w 192"/>
                    <a:gd name="T35" fmla="*/ 2147483647 h 157"/>
                    <a:gd name="T36" fmla="*/ 2147483647 w 192"/>
                    <a:gd name="T37" fmla="*/ 2147483647 h 157"/>
                    <a:gd name="T38" fmla="*/ 2147483647 w 192"/>
                    <a:gd name="T39" fmla="*/ 2147483647 h 157"/>
                    <a:gd name="T40" fmla="*/ 2147483647 w 192"/>
                    <a:gd name="T41" fmla="*/ 0 h 157"/>
                    <a:gd name="T42" fmla="*/ 2147483647 w 192"/>
                    <a:gd name="T43" fmla="*/ 2147483647 h 157"/>
                    <a:gd name="T44" fmla="*/ 2147483647 w 192"/>
                    <a:gd name="T45" fmla="*/ 2147483647 h 157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92"/>
                    <a:gd name="T70" fmla="*/ 0 h 157"/>
                    <a:gd name="T71" fmla="*/ 192 w 192"/>
                    <a:gd name="T72" fmla="*/ 157 h 157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92" h="157">
                      <a:moveTo>
                        <a:pt x="61" y="35"/>
                      </a:moveTo>
                      <a:lnTo>
                        <a:pt x="44" y="26"/>
                      </a:lnTo>
                      <a:lnTo>
                        <a:pt x="44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44" y="78"/>
                      </a:lnTo>
                      <a:lnTo>
                        <a:pt x="44" y="139"/>
                      </a:lnTo>
                      <a:lnTo>
                        <a:pt x="88" y="157"/>
                      </a:lnTo>
                      <a:lnTo>
                        <a:pt x="96" y="157"/>
                      </a:lnTo>
                      <a:lnTo>
                        <a:pt x="114" y="157"/>
                      </a:lnTo>
                      <a:lnTo>
                        <a:pt x="140" y="139"/>
                      </a:lnTo>
                      <a:lnTo>
                        <a:pt x="157" y="148"/>
                      </a:lnTo>
                      <a:lnTo>
                        <a:pt x="192" y="130"/>
                      </a:lnTo>
                      <a:lnTo>
                        <a:pt x="183" y="96"/>
                      </a:lnTo>
                      <a:lnTo>
                        <a:pt x="175" y="87"/>
                      </a:lnTo>
                      <a:lnTo>
                        <a:pt x="192" y="69"/>
                      </a:lnTo>
                      <a:lnTo>
                        <a:pt x="192" y="43"/>
                      </a:lnTo>
                      <a:lnTo>
                        <a:pt x="175" y="35"/>
                      </a:lnTo>
                      <a:lnTo>
                        <a:pt x="157" y="35"/>
                      </a:lnTo>
                      <a:lnTo>
                        <a:pt x="114" y="0"/>
                      </a:lnTo>
                      <a:lnTo>
                        <a:pt x="96" y="8"/>
                      </a:lnTo>
                      <a:lnTo>
                        <a:pt x="61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3" name="Freeform 304"/>
                <p:cNvSpPr>
                  <a:spLocks/>
                </p:cNvSpPr>
                <p:nvPr/>
              </p:nvSpPr>
              <p:spPr bwMode="auto">
                <a:xfrm>
                  <a:off x="4239901" y="1792697"/>
                  <a:ext cx="205687" cy="168126"/>
                </a:xfrm>
                <a:custGeom>
                  <a:avLst/>
                  <a:gdLst>
                    <a:gd name="T0" fmla="*/ 2147483647 w 192"/>
                    <a:gd name="T1" fmla="*/ 2147483647 h 157"/>
                    <a:gd name="T2" fmla="*/ 2147483647 w 192"/>
                    <a:gd name="T3" fmla="*/ 2147483647 h 157"/>
                    <a:gd name="T4" fmla="*/ 2147483647 w 192"/>
                    <a:gd name="T5" fmla="*/ 2147483647 h 157"/>
                    <a:gd name="T6" fmla="*/ 2147483647 w 192"/>
                    <a:gd name="T7" fmla="*/ 2147483647 h 157"/>
                    <a:gd name="T8" fmla="*/ 0 w 192"/>
                    <a:gd name="T9" fmla="*/ 2147483647 h 157"/>
                    <a:gd name="T10" fmla="*/ 2147483647 w 192"/>
                    <a:gd name="T11" fmla="*/ 2147483647 h 157"/>
                    <a:gd name="T12" fmla="*/ 2147483647 w 192"/>
                    <a:gd name="T13" fmla="*/ 2147483647 h 157"/>
                    <a:gd name="T14" fmla="*/ 2147483647 w 192"/>
                    <a:gd name="T15" fmla="*/ 2147483647 h 157"/>
                    <a:gd name="T16" fmla="*/ 2147483647 w 192"/>
                    <a:gd name="T17" fmla="*/ 2147483647 h 157"/>
                    <a:gd name="T18" fmla="*/ 2147483647 w 192"/>
                    <a:gd name="T19" fmla="*/ 2147483647 h 157"/>
                    <a:gd name="T20" fmla="*/ 2147483647 w 192"/>
                    <a:gd name="T21" fmla="*/ 2147483647 h 157"/>
                    <a:gd name="T22" fmla="*/ 2147483647 w 192"/>
                    <a:gd name="T23" fmla="*/ 2147483647 h 157"/>
                    <a:gd name="T24" fmla="*/ 2147483647 w 192"/>
                    <a:gd name="T25" fmla="*/ 2147483647 h 157"/>
                    <a:gd name="T26" fmla="*/ 2147483647 w 192"/>
                    <a:gd name="T27" fmla="*/ 2147483647 h 157"/>
                    <a:gd name="T28" fmla="*/ 2147483647 w 192"/>
                    <a:gd name="T29" fmla="*/ 2147483647 h 157"/>
                    <a:gd name="T30" fmla="*/ 2147483647 w 192"/>
                    <a:gd name="T31" fmla="*/ 2147483647 h 157"/>
                    <a:gd name="T32" fmla="*/ 2147483647 w 192"/>
                    <a:gd name="T33" fmla="*/ 2147483647 h 157"/>
                    <a:gd name="T34" fmla="*/ 2147483647 w 192"/>
                    <a:gd name="T35" fmla="*/ 2147483647 h 157"/>
                    <a:gd name="T36" fmla="*/ 2147483647 w 192"/>
                    <a:gd name="T37" fmla="*/ 2147483647 h 157"/>
                    <a:gd name="T38" fmla="*/ 2147483647 w 192"/>
                    <a:gd name="T39" fmla="*/ 2147483647 h 157"/>
                    <a:gd name="T40" fmla="*/ 2147483647 w 192"/>
                    <a:gd name="T41" fmla="*/ 0 h 157"/>
                    <a:gd name="T42" fmla="*/ 2147483647 w 192"/>
                    <a:gd name="T43" fmla="*/ 2147483647 h 157"/>
                    <a:gd name="T44" fmla="*/ 2147483647 w 192"/>
                    <a:gd name="T45" fmla="*/ 2147483647 h 157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92"/>
                    <a:gd name="T70" fmla="*/ 0 h 157"/>
                    <a:gd name="T71" fmla="*/ 192 w 192"/>
                    <a:gd name="T72" fmla="*/ 157 h 157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92" h="157">
                      <a:moveTo>
                        <a:pt x="61" y="35"/>
                      </a:moveTo>
                      <a:lnTo>
                        <a:pt x="44" y="26"/>
                      </a:lnTo>
                      <a:lnTo>
                        <a:pt x="44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44" y="78"/>
                      </a:lnTo>
                      <a:lnTo>
                        <a:pt x="44" y="139"/>
                      </a:lnTo>
                      <a:lnTo>
                        <a:pt x="88" y="157"/>
                      </a:lnTo>
                      <a:lnTo>
                        <a:pt x="96" y="157"/>
                      </a:lnTo>
                      <a:lnTo>
                        <a:pt x="114" y="157"/>
                      </a:lnTo>
                      <a:lnTo>
                        <a:pt x="140" y="139"/>
                      </a:lnTo>
                      <a:lnTo>
                        <a:pt x="157" y="148"/>
                      </a:lnTo>
                      <a:lnTo>
                        <a:pt x="192" y="130"/>
                      </a:lnTo>
                      <a:lnTo>
                        <a:pt x="183" y="96"/>
                      </a:lnTo>
                      <a:lnTo>
                        <a:pt x="175" y="87"/>
                      </a:lnTo>
                      <a:lnTo>
                        <a:pt x="192" y="69"/>
                      </a:lnTo>
                      <a:lnTo>
                        <a:pt x="192" y="43"/>
                      </a:lnTo>
                      <a:lnTo>
                        <a:pt x="175" y="35"/>
                      </a:lnTo>
                      <a:lnTo>
                        <a:pt x="157" y="35"/>
                      </a:lnTo>
                      <a:lnTo>
                        <a:pt x="114" y="0"/>
                      </a:lnTo>
                      <a:lnTo>
                        <a:pt x="96" y="8"/>
                      </a:lnTo>
                      <a:lnTo>
                        <a:pt x="61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4" name="Freeform 305"/>
                <p:cNvSpPr>
                  <a:spLocks/>
                </p:cNvSpPr>
                <p:nvPr/>
              </p:nvSpPr>
              <p:spPr bwMode="auto">
                <a:xfrm>
                  <a:off x="4455230" y="1951186"/>
                  <a:ext cx="9642" cy="27842"/>
                </a:xfrm>
                <a:custGeom>
                  <a:avLst/>
                  <a:gdLst>
                    <a:gd name="T0" fmla="*/ 2147483647 w 9"/>
                    <a:gd name="T1" fmla="*/ 0 h 26"/>
                    <a:gd name="T2" fmla="*/ 0 w 9"/>
                    <a:gd name="T3" fmla="*/ 2147483647 h 26"/>
                    <a:gd name="T4" fmla="*/ 0 w 9"/>
                    <a:gd name="T5" fmla="*/ 2147483647 h 26"/>
                    <a:gd name="T6" fmla="*/ 2147483647 w 9"/>
                    <a:gd name="T7" fmla="*/ 2147483647 h 26"/>
                    <a:gd name="T8" fmla="*/ 2147483647 w 9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26"/>
                    <a:gd name="T17" fmla="*/ 9 w 9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5" name="Freeform 306"/>
                <p:cNvSpPr>
                  <a:spLocks/>
                </p:cNvSpPr>
                <p:nvPr/>
              </p:nvSpPr>
              <p:spPr bwMode="auto">
                <a:xfrm>
                  <a:off x="4455230" y="1951186"/>
                  <a:ext cx="9642" cy="27842"/>
                </a:xfrm>
                <a:custGeom>
                  <a:avLst/>
                  <a:gdLst>
                    <a:gd name="T0" fmla="*/ 2147483647 w 9"/>
                    <a:gd name="T1" fmla="*/ 0 h 26"/>
                    <a:gd name="T2" fmla="*/ 0 w 9"/>
                    <a:gd name="T3" fmla="*/ 2147483647 h 26"/>
                    <a:gd name="T4" fmla="*/ 0 w 9"/>
                    <a:gd name="T5" fmla="*/ 2147483647 h 26"/>
                    <a:gd name="T6" fmla="*/ 2147483647 w 9"/>
                    <a:gd name="T7" fmla="*/ 2147483647 h 26"/>
                    <a:gd name="T8" fmla="*/ 2147483647 w 9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26"/>
                    <a:gd name="T17" fmla="*/ 9 w 9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6" name="Freeform 309"/>
                <p:cNvSpPr>
                  <a:spLocks/>
                </p:cNvSpPr>
                <p:nvPr/>
              </p:nvSpPr>
              <p:spPr bwMode="auto">
                <a:xfrm>
                  <a:off x="4202407" y="1717737"/>
                  <a:ext cx="19283" cy="27842"/>
                </a:xfrm>
                <a:custGeom>
                  <a:avLst/>
                  <a:gdLst>
                    <a:gd name="T0" fmla="*/ 2147483647 w 18"/>
                    <a:gd name="T1" fmla="*/ 0 h 26"/>
                    <a:gd name="T2" fmla="*/ 0 w 18"/>
                    <a:gd name="T3" fmla="*/ 2147483647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2147483647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18" y="26"/>
                      </a:lnTo>
                      <a:lnTo>
                        <a:pt x="18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7" name="Freeform 310"/>
                <p:cNvSpPr>
                  <a:spLocks/>
                </p:cNvSpPr>
                <p:nvPr/>
              </p:nvSpPr>
              <p:spPr bwMode="auto">
                <a:xfrm>
                  <a:off x="4202407" y="1717737"/>
                  <a:ext cx="19283" cy="27842"/>
                </a:xfrm>
                <a:custGeom>
                  <a:avLst/>
                  <a:gdLst>
                    <a:gd name="T0" fmla="*/ 2147483647 w 18"/>
                    <a:gd name="T1" fmla="*/ 0 h 26"/>
                    <a:gd name="T2" fmla="*/ 0 w 18"/>
                    <a:gd name="T3" fmla="*/ 2147483647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2147483647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18" y="26"/>
                      </a:lnTo>
                      <a:lnTo>
                        <a:pt x="18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8" name="Freeform 313"/>
                <p:cNvSpPr>
                  <a:spLocks/>
                </p:cNvSpPr>
                <p:nvPr/>
              </p:nvSpPr>
              <p:spPr bwMode="auto">
                <a:xfrm>
                  <a:off x="4417735" y="1717737"/>
                  <a:ext cx="140339" cy="148851"/>
                </a:xfrm>
                <a:custGeom>
                  <a:avLst/>
                  <a:gdLst>
                    <a:gd name="T0" fmla="*/ 2147483647 w 131"/>
                    <a:gd name="T1" fmla="*/ 2147483647 h 139"/>
                    <a:gd name="T2" fmla="*/ 2147483647 w 131"/>
                    <a:gd name="T3" fmla="*/ 2147483647 h 139"/>
                    <a:gd name="T4" fmla="*/ 2147483647 w 131"/>
                    <a:gd name="T5" fmla="*/ 2147483647 h 139"/>
                    <a:gd name="T6" fmla="*/ 2147483647 w 131"/>
                    <a:gd name="T7" fmla="*/ 0 h 139"/>
                    <a:gd name="T8" fmla="*/ 2147483647 w 131"/>
                    <a:gd name="T9" fmla="*/ 0 h 139"/>
                    <a:gd name="T10" fmla="*/ 2147483647 w 131"/>
                    <a:gd name="T11" fmla="*/ 2147483647 h 139"/>
                    <a:gd name="T12" fmla="*/ 2147483647 w 131"/>
                    <a:gd name="T13" fmla="*/ 2147483647 h 139"/>
                    <a:gd name="T14" fmla="*/ 2147483647 w 131"/>
                    <a:gd name="T15" fmla="*/ 2147483647 h 139"/>
                    <a:gd name="T16" fmla="*/ 2147483647 w 131"/>
                    <a:gd name="T17" fmla="*/ 2147483647 h 139"/>
                    <a:gd name="T18" fmla="*/ 2147483647 w 131"/>
                    <a:gd name="T19" fmla="*/ 2147483647 h 139"/>
                    <a:gd name="T20" fmla="*/ 0 w 131"/>
                    <a:gd name="T21" fmla="*/ 2147483647 h 139"/>
                    <a:gd name="T22" fmla="*/ 2147483647 w 131"/>
                    <a:gd name="T23" fmla="*/ 2147483647 h 139"/>
                    <a:gd name="T24" fmla="*/ 2147483647 w 131"/>
                    <a:gd name="T25" fmla="*/ 2147483647 h 139"/>
                    <a:gd name="T26" fmla="*/ 2147483647 w 131"/>
                    <a:gd name="T27" fmla="*/ 2147483647 h 139"/>
                    <a:gd name="T28" fmla="*/ 2147483647 w 131"/>
                    <a:gd name="T29" fmla="*/ 2147483647 h 139"/>
                    <a:gd name="T30" fmla="*/ 2147483647 w 131"/>
                    <a:gd name="T31" fmla="*/ 2147483647 h 139"/>
                    <a:gd name="T32" fmla="*/ 2147483647 w 131"/>
                    <a:gd name="T33" fmla="*/ 2147483647 h 139"/>
                    <a:gd name="T34" fmla="*/ 2147483647 w 131"/>
                    <a:gd name="T35" fmla="*/ 2147483647 h 139"/>
                    <a:gd name="T36" fmla="*/ 2147483647 w 131"/>
                    <a:gd name="T37" fmla="*/ 2147483647 h 139"/>
                    <a:gd name="T38" fmla="*/ 2147483647 w 131"/>
                    <a:gd name="T39" fmla="*/ 2147483647 h 139"/>
                    <a:gd name="T40" fmla="*/ 2147483647 w 131"/>
                    <a:gd name="T41" fmla="*/ 2147483647 h 139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31"/>
                    <a:gd name="T64" fmla="*/ 0 h 139"/>
                    <a:gd name="T65" fmla="*/ 131 w 131"/>
                    <a:gd name="T66" fmla="*/ 139 h 139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31" h="139">
                      <a:moveTo>
                        <a:pt x="78" y="17"/>
                      </a:moveTo>
                      <a:lnTo>
                        <a:pt x="70" y="26"/>
                      </a:lnTo>
                      <a:lnTo>
                        <a:pt x="44" y="17"/>
                      </a:lnTo>
                      <a:lnTo>
                        <a:pt x="35" y="0"/>
                      </a:lnTo>
                      <a:lnTo>
                        <a:pt x="26" y="0"/>
                      </a:lnTo>
                      <a:lnTo>
                        <a:pt x="26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9" y="52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9" y="96"/>
                      </a:lnTo>
                      <a:lnTo>
                        <a:pt x="9" y="105"/>
                      </a:lnTo>
                      <a:lnTo>
                        <a:pt x="26" y="113"/>
                      </a:lnTo>
                      <a:lnTo>
                        <a:pt x="26" y="139"/>
                      </a:lnTo>
                      <a:lnTo>
                        <a:pt x="105" y="139"/>
                      </a:lnTo>
                      <a:lnTo>
                        <a:pt x="105" y="113"/>
                      </a:lnTo>
                      <a:lnTo>
                        <a:pt x="96" y="87"/>
                      </a:lnTo>
                      <a:lnTo>
                        <a:pt x="131" y="70"/>
                      </a:lnTo>
                      <a:lnTo>
                        <a:pt x="105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9" name="Freeform 314"/>
                <p:cNvSpPr>
                  <a:spLocks/>
                </p:cNvSpPr>
                <p:nvPr/>
              </p:nvSpPr>
              <p:spPr bwMode="auto">
                <a:xfrm>
                  <a:off x="4417735" y="1717737"/>
                  <a:ext cx="140339" cy="148851"/>
                </a:xfrm>
                <a:custGeom>
                  <a:avLst/>
                  <a:gdLst>
                    <a:gd name="T0" fmla="*/ 2147483647 w 131"/>
                    <a:gd name="T1" fmla="*/ 2147483647 h 139"/>
                    <a:gd name="T2" fmla="*/ 2147483647 w 131"/>
                    <a:gd name="T3" fmla="*/ 2147483647 h 139"/>
                    <a:gd name="T4" fmla="*/ 2147483647 w 131"/>
                    <a:gd name="T5" fmla="*/ 2147483647 h 139"/>
                    <a:gd name="T6" fmla="*/ 2147483647 w 131"/>
                    <a:gd name="T7" fmla="*/ 0 h 139"/>
                    <a:gd name="T8" fmla="*/ 2147483647 w 131"/>
                    <a:gd name="T9" fmla="*/ 0 h 139"/>
                    <a:gd name="T10" fmla="*/ 2147483647 w 131"/>
                    <a:gd name="T11" fmla="*/ 2147483647 h 139"/>
                    <a:gd name="T12" fmla="*/ 2147483647 w 131"/>
                    <a:gd name="T13" fmla="*/ 2147483647 h 139"/>
                    <a:gd name="T14" fmla="*/ 2147483647 w 131"/>
                    <a:gd name="T15" fmla="*/ 2147483647 h 139"/>
                    <a:gd name="T16" fmla="*/ 2147483647 w 131"/>
                    <a:gd name="T17" fmla="*/ 2147483647 h 139"/>
                    <a:gd name="T18" fmla="*/ 2147483647 w 131"/>
                    <a:gd name="T19" fmla="*/ 2147483647 h 139"/>
                    <a:gd name="T20" fmla="*/ 0 w 131"/>
                    <a:gd name="T21" fmla="*/ 2147483647 h 139"/>
                    <a:gd name="T22" fmla="*/ 2147483647 w 131"/>
                    <a:gd name="T23" fmla="*/ 2147483647 h 139"/>
                    <a:gd name="T24" fmla="*/ 2147483647 w 131"/>
                    <a:gd name="T25" fmla="*/ 2147483647 h 139"/>
                    <a:gd name="T26" fmla="*/ 2147483647 w 131"/>
                    <a:gd name="T27" fmla="*/ 2147483647 h 139"/>
                    <a:gd name="T28" fmla="*/ 2147483647 w 131"/>
                    <a:gd name="T29" fmla="*/ 2147483647 h 139"/>
                    <a:gd name="T30" fmla="*/ 2147483647 w 131"/>
                    <a:gd name="T31" fmla="*/ 2147483647 h 139"/>
                    <a:gd name="T32" fmla="*/ 2147483647 w 131"/>
                    <a:gd name="T33" fmla="*/ 2147483647 h 139"/>
                    <a:gd name="T34" fmla="*/ 2147483647 w 131"/>
                    <a:gd name="T35" fmla="*/ 2147483647 h 139"/>
                    <a:gd name="T36" fmla="*/ 2147483647 w 131"/>
                    <a:gd name="T37" fmla="*/ 2147483647 h 139"/>
                    <a:gd name="T38" fmla="*/ 2147483647 w 131"/>
                    <a:gd name="T39" fmla="*/ 2147483647 h 139"/>
                    <a:gd name="T40" fmla="*/ 2147483647 w 131"/>
                    <a:gd name="T41" fmla="*/ 2147483647 h 139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31"/>
                    <a:gd name="T64" fmla="*/ 0 h 139"/>
                    <a:gd name="T65" fmla="*/ 131 w 131"/>
                    <a:gd name="T66" fmla="*/ 139 h 139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31" h="139">
                      <a:moveTo>
                        <a:pt x="78" y="17"/>
                      </a:moveTo>
                      <a:lnTo>
                        <a:pt x="70" y="26"/>
                      </a:lnTo>
                      <a:lnTo>
                        <a:pt x="44" y="17"/>
                      </a:lnTo>
                      <a:lnTo>
                        <a:pt x="35" y="0"/>
                      </a:lnTo>
                      <a:lnTo>
                        <a:pt x="26" y="0"/>
                      </a:lnTo>
                      <a:lnTo>
                        <a:pt x="26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9" y="52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9" y="96"/>
                      </a:lnTo>
                      <a:lnTo>
                        <a:pt x="9" y="105"/>
                      </a:lnTo>
                      <a:lnTo>
                        <a:pt x="26" y="113"/>
                      </a:lnTo>
                      <a:lnTo>
                        <a:pt x="26" y="139"/>
                      </a:lnTo>
                      <a:lnTo>
                        <a:pt x="105" y="139"/>
                      </a:lnTo>
                      <a:lnTo>
                        <a:pt x="105" y="113"/>
                      </a:lnTo>
                      <a:lnTo>
                        <a:pt x="96" y="87"/>
                      </a:lnTo>
                      <a:lnTo>
                        <a:pt x="131" y="70"/>
                      </a:lnTo>
                      <a:lnTo>
                        <a:pt x="105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0" name="Freeform 315"/>
                <p:cNvSpPr>
                  <a:spLocks/>
                </p:cNvSpPr>
                <p:nvPr/>
              </p:nvSpPr>
              <p:spPr bwMode="auto">
                <a:xfrm>
                  <a:off x="4380240" y="1745579"/>
                  <a:ext cx="55707" cy="47118"/>
                </a:xfrm>
                <a:custGeom>
                  <a:avLst/>
                  <a:gdLst>
                    <a:gd name="T0" fmla="*/ 2147483647 w 52"/>
                    <a:gd name="T1" fmla="*/ 0 h 44"/>
                    <a:gd name="T2" fmla="*/ 2147483647 w 52"/>
                    <a:gd name="T3" fmla="*/ 0 h 44"/>
                    <a:gd name="T4" fmla="*/ 2147483647 w 52"/>
                    <a:gd name="T5" fmla="*/ 2147483647 h 44"/>
                    <a:gd name="T6" fmla="*/ 2147483647 w 52"/>
                    <a:gd name="T7" fmla="*/ 2147483647 h 44"/>
                    <a:gd name="T8" fmla="*/ 2147483647 w 52"/>
                    <a:gd name="T9" fmla="*/ 2147483647 h 44"/>
                    <a:gd name="T10" fmla="*/ 0 w 52"/>
                    <a:gd name="T11" fmla="*/ 2147483647 h 44"/>
                    <a:gd name="T12" fmla="*/ 2147483647 w 52"/>
                    <a:gd name="T13" fmla="*/ 2147483647 h 44"/>
                    <a:gd name="T14" fmla="*/ 2147483647 w 52"/>
                    <a:gd name="T15" fmla="*/ 2147483647 h 44"/>
                    <a:gd name="T16" fmla="*/ 2147483647 w 52"/>
                    <a:gd name="T17" fmla="*/ 2147483647 h 44"/>
                    <a:gd name="T18" fmla="*/ 2147483647 w 52"/>
                    <a:gd name="T19" fmla="*/ 0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2"/>
                    <a:gd name="T31" fmla="*/ 0 h 44"/>
                    <a:gd name="T32" fmla="*/ 52 w 52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2" h="44">
                      <a:moveTo>
                        <a:pt x="52" y="0"/>
                      </a:move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44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44" y="26"/>
                      </a:lnTo>
                      <a:lnTo>
                        <a:pt x="5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1" name="Freeform 316"/>
                <p:cNvSpPr>
                  <a:spLocks/>
                </p:cNvSpPr>
                <p:nvPr/>
              </p:nvSpPr>
              <p:spPr bwMode="auto">
                <a:xfrm>
                  <a:off x="4380240" y="1745579"/>
                  <a:ext cx="55707" cy="47118"/>
                </a:xfrm>
                <a:custGeom>
                  <a:avLst/>
                  <a:gdLst>
                    <a:gd name="T0" fmla="*/ 2147483647 w 52"/>
                    <a:gd name="T1" fmla="*/ 0 h 44"/>
                    <a:gd name="T2" fmla="*/ 2147483647 w 52"/>
                    <a:gd name="T3" fmla="*/ 0 h 44"/>
                    <a:gd name="T4" fmla="*/ 2147483647 w 52"/>
                    <a:gd name="T5" fmla="*/ 2147483647 h 44"/>
                    <a:gd name="T6" fmla="*/ 2147483647 w 52"/>
                    <a:gd name="T7" fmla="*/ 2147483647 h 44"/>
                    <a:gd name="T8" fmla="*/ 2147483647 w 52"/>
                    <a:gd name="T9" fmla="*/ 2147483647 h 44"/>
                    <a:gd name="T10" fmla="*/ 0 w 52"/>
                    <a:gd name="T11" fmla="*/ 2147483647 h 44"/>
                    <a:gd name="T12" fmla="*/ 2147483647 w 52"/>
                    <a:gd name="T13" fmla="*/ 2147483647 h 44"/>
                    <a:gd name="T14" fmla="*/ 2147483647 w 52"/>
                    <a:gd name="T15" fmla="*/ 2147483647 h 44"/>
                    <a:gd name="T16" fmla="*/ 2147483647 w 52"/>
                    <a:gd name="T17" fmla="*/ 2147483647 h 44"/>
                    <a:gd name="T18" fmla="*/ 2147483647 w 52"/>
                    <a:gd name="T19" fmla="*/ 0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2"/>
                    <a:gd name="T31" fmla="*/ 0 h 44"/>
                    <a:gd name="T32" fmla="*/ 52 w 52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2" h="44">
                      <a:moveTo>
                        <a:pt x="52" y="0"/>
                      </a:move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44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44" y="26"/>
                      </a:lnTo>
                      <a:lnTo>
                        <a:pt x="5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2" name="Freeform 317"/>
                <p:cNvSpPr>
                  <a:spLocks/>
                </p:cNvSpPr>
                <p:nvPr/>
              </p:nvSpPr>
              <p:spPr bwMode="auto">
                <a:xfrm>
                  <a:off x="4362028" y="1792697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0 w 61"/>
                    <a:gd name="T3" fmla="*/ 0 h 35"/>
                    <a:gd name="T4" fmla="*/ 2147483647 w 61"/>
                    <a:gd name="T5" fmla="*/ 2147483647 h 35"/>
                    <a:gd name="T6" fmla="*/ 2147483647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0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43" y="35"/>
                      </a:lnTo>
                      <a:lnTo>
                        <a:pt x="43" y="26"/>
                      </a:lnTo>
                      <a:lnTo>
                        <a:pt x="61" y="8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3" name="Freeform 318"/>
                <p:cNvSpPr>
                  <a:spLocks/>
                </p:cNvSpPr>
                <p:nvPr/>
              </p:nvSpPr>
              <p:spPr bwMode="auto">
                <a:xfrm>
                  <a:off x="4362028" y="1792697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0 w 61"/>
                    <a:gd name="T3" fmla="*/ 0 h 35"/>
                    <a:gd name="T4" fmla="*/ 2147483647 w 61"/>
                    <a:gd name="T5" fmla="*/ 2147483647 h 35"/>
                    <a:gd name="T6" fmla="*/ 2147483647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0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43" y="35"/>
                      </a:lnTo>
                      <a:lnTo>
                        <a:pt x="43" y="26"/>
                      </a:lnTo>
                      <a:lnTo>
                        <a:pt x="61" y="8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4" name="Freeform 319"/>
                <p:cNvSpPr>
                  <a:spLocks/>
                </p:cNvSpPr>
                <p:nvPr/>
              </p:nvSpPr>
              <p:spPr bwMode="auto">
                <a:xfrm>
                  <a:off x="4408094" y="1801264"/>
                  <a:ext cx="19283" cy="28914"/>
                </a:xfrm>
                <a:custGeom>
                  <a:avLst/>
                  <a:gdLst>
                    <a:gd name="T0" fmla="*/ 0 w 18"/>
                    <a:gd name="T1" fmla="*/ 2147483647 h 27"/>
                    <a:gd name="T2" fmla="*/ 0 w 18"/>
                    <a:gd name="T3" fmla="*/ 2147483647 h 27"/>
                    <a:gd name="T4" fmla="*/ 2147483647 w 18"/>
                    <a:gd name="T5" fmla="*/ 2147483647 h 27"/>
                    <a:gd name="T6" fmla="*/ 2147483647 w 18"/>
                    <a:gd name="T7" fmla="*/ 2147483647 h 27"/>
                    <a:gd name="T8" fmla="*/ 2147483647 w 18"/>
                    <a:gd name="T9" fmla="*/ 0 h 27"/>
                    <a:gd name="T10" fmla="*/ 0 w 18"/>
                    <a:gd name="T11" fmla="*/ 2147483647 h 2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8"/>
                    <a:gd name="T19" fmla="*/ 0 h 27"/>
                    <a:gd name="T20" fmla="*/ 18 w 18"/>
                    <a:gd name="T21" fmla="*/ 27 h 2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8" h="27">
                      <a:moveTo>
                        <a:pt x="0" y="18"/>
                      </a:moveTo>
                      <a:lnTo>
                        <a:pt x="0" y="27"/>
                      </a:lnTo>
                      <a:lnTo>
                        <a:pt x="18" y="27"/>
                      </a:lnTo>
                      <a:lnTo>
                        <a:pt x="18" y="18"/>
                      </a:lnTo>
                      <a:lnTo>
                        <a:pt x="1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5" name="Freeform 320"/>
                <p:cNvSpPr>
                  <a:spLocks/>
                </p:cNvSpPr>
                <p:nvPr/>
              </p:nvSpPr>
              <p:spPr bwMode="auto">
                <a:xfrm>
                  <a:off x="4408094" y="1801264"/>
                  <a:ext cx="19283" cy="28914"/>
                </a:xfrm>
                <a:custGeom>
                  <a:avLst/>
                  <a:gdLst>
                    <a:gd name="T0" fmla="*/ 0 w 18"/>
                    <a:gd name="T1" fmla="*/ 2147483647 h 27"/>
                    <a:gd name="T2" fmla="*/ 0 w 18"/>
                    <a:gd name="T3" fmla="*/ 2147483647 h 27"/>
                    <a:gd name="T4" fmla="*/ 2147483647 w 18"/>
                    <a:gd name="T5" fmla="*/ 2147483647 h 27"/>
                    <a:gd name="T6" fmla="*/ 2147483647 w 18"/>
                    <a:gd name="T7" fmla="*/ 2147483647 h 27"/>
                    <a:gd name="T8" fmla="*/ 2147483647 w 18"/>
                    <a:gd name="T9" fmla="*/ 0 h 27"/>
                    <a:gd name="T10" fmla="*/ 0 w 18"/>
                    <a:gd name="T11" fmla="*/ 2147483647 h 2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8"/>
                    <a:gd name="T19" fmla="*/ 0 h 27"/>
                    <a:gd name="T20" fmla="*/ 18 w 18"/>
                    <a:gd name="T21" fmla="*/ 27 h 2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8" h="27">
                      <a:moveTo>
                        <a:pt x="0" y="18"/>
                      </a:moveTo>
                      <a:lnTo>
                        <a:pt x="0" y="27"/>
                      </a:lnTo>
                      <a:lnTo>
                        <a:pt x="18" y="27"/>
                      </a:lnTo>
                      <a:lnTo>
                        <a:pt x="18" y="18"/>
                      </a:lnTo>
                      <a:lnTo>
                        <a:pt x="1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6" name="Freeform 321"/>
                <p:cNvSpPr>
                  <a:spLocks/>
                </p:cNvSpPr>
                <p:nvPr/>
              </p:nvSpPr>
              <p:spPr bwMode="auto">
                <a:xfrm>
                  <a:off x="4427376" y="1866586"/>
                  <a:ext cx="55707" cy="28914"/>
                </a:xfrm>
                <a:custGeom>
                  <a:avLst/>
                  <a:gdLst>
                    <a:gd name="T0" fmla="*/ 2147483647 w 52"/>
                    <a:gd name="T1" fmla="*/ 0 h 27"/>
                    <a:gd name="T2" fmla="*/ 0 w 52"/>
                    <a:gd name="T3" fmla="*/ 2147483647 h 27"/>
                    <a:gd name="T4" fmla="*/ 2147483647 w 52"/>
                    <a:gd name="T5" fmla="*/ 2147483647 h 27"/>
                    <a:gd name="T6" fmla="*/ 2147483647 w 52"/>
                    <a:gd name="T7" fmla="*/ 2147483647 h 27"/>
                    <a:gd name="T8" fmla="*/ 2147483647 w 52"/>
                    <a:gd name="T9" fmla="*/ 2147483647 h 27"/>
                    <a:gd name="T10" fmla="*/ 2147483647 w 52"/>
                    <a:gd name="T11" fmla="*/ 2147483647 h 27"/>
                    <a:gd name="T12" fmla="*/ 2147483647 w 52"/>
                    <a:gd name="T13" fmla="*/ 2147483647 h 27"/>
                    <a:gd name="T14" fmla="*/ 2147483647 w 52"/>
                    <a:gd name="T15" fmla="*/ 0 h 27"/>
                    <a:gd name="T16" fmla="*/ 2147483647 w 52"/>
                    <a:gd name="T17" fmla="*/ 0 h 2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7"/>
                    <a:gd name="T29" fmla="*/ 52 w 52"/>
                    <a:gd name="T30" fmla="*/ 27 h 2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7">
                      <a:moveTo>
                        <a:pt x="17" y="0"/>
                      </a:moveTo>
                      <a:lnTo>
                        <a:pt x="0" y="18"/>
                      </a:lnTo>
                      <a:lnTo>
                        <a:pt x="8" y="27"/>
                      </a:lnTo>
                      <a:lnTo>
                        <a:pt x="26" y="27"/>
                      </a:lnTo>
                      <a:lnTo>
                        <a:pt x="35" y="27"/>
                      </a:lnTo>
                      <a:lnTo>
                        <a:pt x="43" y="18"/>
                      </a:lnTo>
                      <a:lnTo>
                        <a:pt x="43" y="9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7" name="Freeform 322"/>
                <p:cNvSpPr>
                  <a:spLocks/>
                </p:cNvSpPr>
                <p:nvPr/>
              </p:nvSpPr>
              <p:spPr bwMode="auto">
                <a:xfrm>
                  <a:off x="4427376" y="1866586"/>
                  <a:ext cx="55707" cy="28914"/>
                </a:xfrm>
                <a:custGeom>
                  <a:avLst/>
                  <a:gdLst>
                    <a:gd name="T0" fmla="*/ 2147483647 w 52"/>
                    <a:gd name="T1" fmla="*/ 0 h 27"/>
                    <a:gd name="T2" fmla="*/ 0 w 52"/>
                    <a:gd name="T3" fmla="*/ 2147483647 h 27"/>
                    <a:gd name="T4" fmla="*/ 2147483647 w 52"/>
                    <a:gd name="T5" fmla="*/ 2147483647 h 27"/>
                    <a:gd name="T6" fmla="*/ 2147483647 w 52"/>
                    <a:gd name="T7" fmla="*/ 2147483647 h 27"/>
                    <a:gd name="T8" fmla="*/ 2147483647 w 52"/>
                    <a:gd name="T9" fmla="*/ 2147483647 h 27"/>
                    <a:gd name="T10" fmla="*/ 2147483647 w 52"/>
                    <a:gd name="T11" fmla="*/ 2147483647 h 27"/>
                    <a:gd name="T12" fmla="*/ 2147483647 w 52"/>
                    <a:gd name="T13" fmla="*/ 2147483647 h 27"/>
                    <a:gd name="T14" fmla="*/ 2147483647 w 52"/>
                    <a:gd name="T15" fmla="*/ 0 h 27"/>
                    <a:gd name="T16" fmla="*/ 2147483647 w 52"/>
                    <a:gd name="T17" fmla="*/ 0 h 2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7"/>
                    <a:gd name="T29" fmla="*/ 52 w 52"/>
                    <a:gd name="T30" fmla="*/ 27 h 2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7">
                      <a:moveTo>
                        <a:pt x="17" y="0"/>
                      </a:moveTo>
                      <a:lnTo>
                        <a:pt x="0" y="18"/>
                      </a:lnTo>
                      <a:lnTo>
                        <a:pt x="8" y="27"/>
                      </a:lnTo>
                      <a:lnTo>
                        <a:pt x="26" y="27"/>
                      </a:lnTo>
                      <a:lnTo>
                        <a:pt x="35" y="27"/>
                      </a:lnTo>
                      <a:lnTo>
                        <a:pt x="43" y="18"/>
                      </a:lnTo>
                      <a:lnTo>
                        <a:pt x="43" y="9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8" name="Freeform 323"/>
                <p:cNvSpPr>
                  <a:spLocks/>
                </p:cNvSpPr>
                <p:nvPr/>
              </p:nvSpPr>
              <p:spPr bwMode="auto">
                <a:xfrm>
                  <a:off x="4473442" y="1838745"/>
                  <a:ext cx="122127" cy="47118"/>
                </a:xfrm>
                <a:custGeom>
                  <a:avLst/>
                  <a:gdLst>
                    <a:gd name="T0" fmla="*/ 2147483647 w 114"/>
                    <a:gd name="T1" fmla="*/ 2147483647 h 44"/>
                    <a:gd name="T2" fmla="*/ 2147483647 w 114"/>
                    <a:gd name="T3" fmla="*/ 2147483647 h 44"/>
                    <a:gd name="T4" fmla="*/ 2147483647 w 114"/>
                    <a:gd name="T5" fmla="*/ 0 h 44"/>
                    <a:gd name="T6" fmla="*/ 2147483647 w 114"/>
                    <a:gd name="T7" fmla="*/ 0 h 44"/>
                    <a:gd name="T8" fmla="*/ 2147483647 w 114"/>
                    <a:gd name="T9" fmla="*/ 2147483647 h 44"/>
                    <a:gd name="T10" fmla="*/ 2147483647 w 114"/>
                    <a:gd name="T11" fmla="*/ 2147483647 h 44"/>
                    <a:gd name="T12" fmla="*/ 0 w 114"/>
                    <a:gd name="T13" fmla="*/ 2147483647 h 44"/>
                    <a:gd name="T14" fmla="*/ 0 w 114"/>
                    <a:gd name="T15" fmla="*/ 2147483647 h 44"/>
                    <a:gd name="T16" fmla="*/ 2147483647 w 114"/>
                    <a:gd name="T17" fmla="*/ 2147483647 h 44"/>
                    <a:gd name="T18" fmla="*/ 2147483647 w 114"/>
                    <a:gd name="T19" fmla="*/ 2147483647 h 44"/>
                    <a:gd name="T20" fmla="*/ 2147483647 w 114"/>
                    <a:gd name="T21" fmla="*/ 2147483647 h 44"/>
                    <a:gd name="T22" fmla="*/ 2147483647 w 114"/>
                    <a:gd name="T23" fmla="*/ 2147483647 h 44"/>
                    <a:gd name="T24" fmla="*/ 2147483647 w 114"/>
                    <a:gd name="T25" fmla="*/ 2147483647 h 44"/>
                    <a:gd name="T26" fmla="*/ 2147483647 w 114"/>
                    <a:gd name="T27" fmla="*/ 2147483647 h 4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14"/>
                    <a:gd name="T43" fmla="*/ 0 h 44"/>
                    <a:gd name="T44" fmla="*/ 114 w 114"/>
                    <a:gd name="T45" fmla="*/ 44 h 4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14" h="44">
                      <a:moveTo>
                        <a:pt x="114" y="18"/>
                      </a:moveTo>
                      <a:lnTo>
                        <a:pt x="105" y="9"/>
                      </a:lnTo>
                      <a:lnTo>
                        <a:pt x="96" y="0"/>
                      </a:lnTo>
                      <a:lnTo>
                        <a:pt x="53" y="0"/>
                      </a:lnTo>
                      <a:lnTo>
                        <a:pt x="53" y="26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35"/>
                      </a:lnTo>
                      <a:lnTo>
                        <a:pt x="35" y="35"/>
                      </a:lnTo>
                      <a:lnTo>
                        <a:pt x="44" y="44"/>
                      </a:lnTo>
                      <a:lnTo>
                        <a:pt x="61" y="44"/>
                      </a:lnTo>
                      <a:lnTo>
                        <a:pt x="96" y="35"/>
                      </a:lnTo>
                      <a:lnTo>
                        <a:pt x="114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9" name="Freeform 324"/>
                <p:cNvSpPr>
                  <a:spLocks/>
                </p:cNvSpPr>
                <p:nvPr/>
              </p:nvSpPr>
              <p:spPr bwMode="auto">
                <a:xfrm>
                  <a:off x="4473442" y="1838745"/>
                  <a:ext cx="122127" cy="47118"/>
                </a:xfrm>
                <a:custGeom>
                  <a:avLst/>
                  <a:gdLst>
                    <a:gd name="T0" fmla="*/ 2147483647 w 114"/>
                    <a:gd name="T1" fmla="*/ 2147483647 h 44"/>
                    <a:gd name="T2" fmla="*/ 2147483647 w 114"/>
                    <a:gd name="T3" fmla="*/ 2147483647 h 44"/>
                    <a:gd name="T4" fmla="*/ 2147483647 w 114"/>
                    <a:gd name="T5" fmla="*/ 0 h 44"/>
                    <a:gd name="T6" fmla="*/ 2147483647 w 114"/>
                    <a:gd name="T7" fmla="*/ 0 h 44"/>
                    <a:gd name="T8" fmla="*/ 2147483647 w 114"/>
                    <a:gd name="T9" fmla="*/ 2147483647 h 44"/>
                    <a:gd name="T10" fmla="*/ 2147483647 w 114"/>
                    <a:gd name="T11" fmla="*/ 2147483647 h 44"/>
                    <a:gd name="T12" fmla="*/ 0 w 114"/>
                    <a:gd name="T13" fmla="*/ 2147483647 h 44"/>
                    <a:gd name="T14" fmla="*/ 0 w 114"/>
                    <a:gd name="T15" fmla="*/ 2147483647 h 44"/>
                    <a:gd name="T16" fmla="*/ 2147483647 w 114"/>
                    <a:gd name="T17" fmla="*/ 2147483647 h 44"/>
                    <a:gd name="T18" fmla="*/ 2147483647 w 114"/>
                    <a:gd name="T19" fmla="*/ 2147483647 h 44"/>
                    <a:gd name="T20" fmla="*/ 2147483647 w 114"/>
                    <a:gd name="T21" fmla="*/ 2147483647 h 44"/>
                    <a:gd name="T22" fmla="*/ 2147483647 w 114"/>
                    <a:gd name="T23" fmla="*/ 2147483647 h 44"/>
                    <a:gd name="T24" fmla="*/ 2147483647 w 114"/>
                    <a:gd name="T25" fmla="*/ 2147483647 h 44"/>
                    <a:gd name="T26" fmla="*/ 2147483647 w 114"/>
                    <a:gd name="T27" fmla="*/ 2147483647 h 4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14"/>
                    <a:gd name="T43" fmla="*/ 0 h 44"/>
                    <a:gd name="T44" fmla="*/ 114 w 114"/>
                    <a:gd name="T45" fmla="*/ 44 h 4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14" h="44">
                      <a:moveTo>
                        <a:pt x="114" y="18"/>
                      </a:moveTo>
                      <a:lnTo>
                        <a:pt x="105" y="9"/>
                      </a:lnTo>
                      <a:lnTo>
                        <a:pt x="96" y="0"/>
                      </a:lnTo>
                      <a:lnTo>
                        <a:pt x="53" y="0"/>
                      </a:lnTo>
                      <a:lnTo>
                        <a:pt x="53" y="26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35"/>
                      </a:lnTo>
                      <a:lnTo>
                        <a:pt x="35" y="35"/>
                      </a:lnTo>
                      <a:lnTo>
                        <a:pt x="44" y="44"/>
                      </a:lnTo>
                      <a:lnTo>
                        <a:pt x="61" y="44"/>
                      </a:lnTo>
                      <a:lnTo>
                        <a:pt x="96" y="35"/>
                      </a:lnTo>
                      <a:lnTo>
                        <a:pt x="114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0" name="Freeform 325"/>
                <p:cNvSpPr>
                  <a:spLocks/>
                </p:cNvSpPr>
                <p:nvPr/>
              </p:nvSpPr>
              <p:spPr bwMode="auto">
                <a:xfrm>
                  <a:off x="4520578" y="1792697"/>
                  <a:ext cx="102844" cy="55685"/>
                </a:xfrm>
                <a:custGeom>
                  <a:avLst/>
                  <a:gdLst>
                    <a:gd name="T0" fmla="*/ 0 w 96"/>
                    <a:gd name="T1" fmla="*/ 2147483647 h 52"/>
                    <a:gd name="T2" fmla="*/ 2147483647 w 96"/>
                    <a:gd name="T3" fmla="*/ 2147483647 h 52"/>
                    <a:gd name="T4" fmla="*/ 2147483647 w 96"/>
                    <a:gd name="T5" fmla="*/ 2147483647 h 52"/>
                    <a:gd name="T6" fmla="*/ 2147483647 w 96"/>
                    <a:gd name="T7" fmla="*/ 2147483647 h 52"/>
                    <a:gd name="T8" fmla="*/ 2147483647 w 96"/>
                    <a:gd name="T9" fmla="*/ 2147483647 h 52"/>
                    <a:gd name="T10" fmla="*/ 2147483647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0 h 52"/>
                    <a:gd name="T16" fmla="*/ 0 w 96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6"/>
                    <a:gd name="T28" fmla="*/ 0 h 52"/>
                    <a:gd name="T29" fmla="*/ 96 w 96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6" h="52">
                      <a:moveTo>
                        <a:pt x="0" y="17"/>
                      </a:moveTo>
                      <a:lnTo>
                        <a:pt x="9" y="43"/>
                      </a:lnTo>
                      <a:lnTo>
                        <a:pt x="52" y="43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35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1" name="Freeform 326"/>
                <p:cNvSpPr>
                  <a:spLocks/>
                </p:cNvSpPr>
                <p:nvPr/>
              </p:nvSpPr>
              <p:spPr bwMode="auto">
                <a:xfrm>
                  <a:off x="4520578" y="1792697"/>
                  <a:ext cx="102844" cy="55685"/>
                </a:xfrm>
                <a:custGeom>
                  <a:avLst/>
                  <a:gdLst>
                    <a:gd name="T0" fmla="*/ 0 w 96"/>
                    <a:gd name="T1" fmla="*/ 2147483647 h 52"/>
                    <a:gd name="T2" fmla="*/ 2147483647 w 96"/>
                    <a:gd name="T3" fmla="*/ 2147483647 h 52"/>
                    <a:gd name="T4" fmla="*/ 2147483647 w 96"/>
                    <a:gd name="T5" fmla="*/ 2147483647 h 52"/>
                    <a:gd name="T6" fmla="*/ 2147483647 w 96"/>
                    <a:gd name="T7" fmla="*/ 2147483647 h 52"/>
                    <a:gd name="T8" fmla="*/ 2147483647 w 96"/>
                    <a:gd name="T9" fmla="*/ 2147483647 h 52"/>
                    <a:gd name="T10" fmla="*/ 2147483647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0 h 52"/>
                    <a:gd name="T16" fmla="*/ 0 w 96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6"/>
                    <a:gd name="T28" fmla="*/ 0 h 52"/>
                    <a:gd name="T29" fmla="*/ 96 w 96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6" h="52">
                      <a:moveTo>
                        <a:pt x="0" y="17"/>
                      </a:moveTo>
                      <a:lnTo>
                        <a:pt x="9" y="43"/>
                      </a:lnTo>
                      <a:lnTo>
                        <a:pt x="52" y="43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35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2" name="Freeform 327"/>
                <p:cNvSpPr>
                  <a:spLocks/>
                </p:cNvSpPr>
                <p:nvPr/>
              </p:nvSpPr>
              <p:spPr bwMode="auto">
                <a:xfrm>
                  <a:off x="4548431" y="2081831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3" name="Freeform 328"/>
                <p:cNvSpPr>
                  <a:spLocks/>
                </p:cNvSpPr>
                <p:nvPr/>
              </p:nvSpPr>
              <p:spPr bwMode="auto">
                <a:xfrm>
                  <a:off x="4548431" y="2081831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4" name="Freeform 329"/>
                <p:cNvSpPr>
                  <a:spLocks/>
                </p:cNvSpPr>
                <p:nvPr/>
              </p:nvSpPr>
              <p:spPr bwMode="auto">
                <a:xfrm>
                  <a:off x="5557583" y="1745579"/>
                  <a:ext cx="924521" cy="635024"/>
                </a:xfrm>
                <a:custGeom>
                  <a:avLst/>
                  <a:gdLst>
                    <a:gd name="T0" fmla="*/ 2147483647 w 863"/>
                    <a:gd name="T1" fmla="*/ 2147483647 h 593"/>
                    <a:gd name="T2" fmla="*/ 2147483647 w 863"/>
                    <a:gd name="T3" fmla="*/ 2147483647 h 593"/>
                    <a:gd name="T4" fmla="*/ 2147483647 w 863"/>
                    <a:gd name="T5" fmla="*/ 2147483647 h 593"/>
                    <a:gd name="T6" fmla="*/ 2147483647 w 863"/>
                    <a:gd name="T7" fmla="*/ 2147483647 h 593"/>
                    <a:gd name="T8" fmla="*/ 2147483647 w 863"/>
                    <a:gd name="T9" fmla="*/ 2147483647 h 593"/>
                    <a:gd name="T10" fmla="*/ 2147483647 w 863"/>
                    <a:gd name="T11" fmla="*/ 2147483647 h 593"/>
                    <a:gd name="T12" fmla="*/ 2147483647 w 863"/>
                    <a:gd name="T13" fmla="*/ 2147483647 h 593"/>
                    <a:gd name="T14" fmla="*/ 2147483647 w 863"/>
                    <a:gd name="T15" fmla="*/ 2147483647 h 593"/>
                    <a:gd name="T16" fmla="*/ 2147483647 w 863"/>
                    <a:gd name="T17" fmla="*/ 2147483647 h 593"/>
                    <a:gd name="T18" fmla="*/ 2147483647 w 863"/>
                    <a:gd name="T19" fmla="*/ 2147483647 h 593"/>
                    <a:gd name="T20" fmla="*/ 2147483647 w 863"/>
                    <a:gd name="T21" fmla="*/ 2147483647 h 593"/>
                    <a:gd name="T22" fmla="*/ 2147483647 w 863"/>
                    <a:gd name="T23" fmla="*/ 2147483647 h 593"/>
                    <a:gd name="T24" fmla="*/ 2147483647 w 863"/>
                    <a:gd name="T25" fmla="*/ 2147483647 h 593"/>
                    <a:gd name="T26" fmla="*/ 2147483647 w 863"/>
                    <a:gd name="T27" fmla="*/ 2147483647 h 593"/>
                    <a:gd name="T28" fmla="*/ 2147483647 w 863"/>
                    <a:gd name="T29" fmla="*/ 2147483647 h 593"/>
                    <a:gd name="T30" fmla="*/ 2147483647 w 863"/>
                    <a:gd name="T31" fmla="*/ 2147483647 h 593"/>
                    <a:gd name="T32" fmla="*/ 0 w 863"/>
                    <a:gd name="T33" fmla="*/ 2147483647 h 593"/>
                    <a:gd name="T34" fmla="*/ 2147483647 w 863"/>
                    <a:gd name="T35" fmla="*/ 2147483647 h 593"/>
                    <a:gd name="T36" fmla="*/ 2147483647 w 863"/>
                    <a:gd name="T37" fmla="*/ 2147483647 h 593"/>
                    <a:gd name="T38" fmla="*/ 2147483647 w 863"/>
                    <a:gd name="T39" fmla="*/ 2147483647 h 593"/>
                    <a:gd name="T40" fmla="*/ 2147483647 w 863"/>
                    <a:gd name="T41" fmla="*/ 2147483647 h 593"/>
                    <a:gd name="T42" fmla="*/ 2147483647 w 863"/>
                    <a:gd name="T43" fmla="*/ 2147483647 h 593"/>
                    <a:gd name="T44" fmla="*/ 2147483647 w 863"/>
                    <a:gd name="T45" fmla="*/ 2147483647 h 593"/>
                    <a:gd name="T46" fmla="*/ 2147483647 w 863"/>
                    <a:gd name="T47" fmla="*/ 2147483647 h 593"/>
                    <a:gd name="T48" fmla="*/ 2147483647 w 863"/>
                    <a:gd name="T49" fmla="*/ 2147483647 h 593"/>
                    <a:gd name="T50" fmla="*/ 2147483647 w 863"/>
                    <a:gd name="T51" fmla="*/ 2147483647 h 593"/>
                    <a:gd name="T52" fmla="*/ 2147483647 w 863"/>
                    <a:gd name="T53" fmla="*/ 2147483647 h 593"/>
                    <a:gd name="T54" fmla="*/ 2147483647 w 863"/>
                    <a:gd name="T55" fmla="*/ 2147483647 h 593"/>
                    <a:gd name="T56" fmla="*/ 2147483647 w 863"/>
                    <a:gd name="T57" fmla="*/ 2147483647 h 593"/>
                    <a:gd name="T58" fmla="*/ 2147483647 w 863"/>
                    <a:gd name="T59" fmla="*/ 2147483647 h 593"/>
                    <a:gd name="T60" fmla="*/ 2147483647 w 863"/>
                    <a:gd name="T61" fmla="*/ 2147483647 h 593"/>
                    <a:gd name="T62" fmla="*/ 2147483647 w 863"/>
                    <a:gd name="T63" fmla="*/ 2147483647 h 593"/>
                    <a:gd name="T64" fmla="*/ 2147483647 w 863"/>
                    <a:gd name="T65" fmla="*/ 2147483647 h 593"/>
                    <a:gd name="T66" fmla="*/ 2147483647 w 863"/>
                    <a:gd name="T67" fmla="*/ 2147483647 h 593"/>
                    <a:gd name="T68" fmla="*/ 2147483647 w 863"/>
                    <a:gd name="T69" fmla="*/ 2147483647 h 593"/>
                    <a:gd name="T70" fmla="*/ 2147483647 w 863"/>
                    <a:gd name="T71" fmla="*/ 2147483647 h 593"/>
                    <a:gd name="T72" fmla="*/ 2147483647 w 863"/>
                    <a:gd name="T73" fmla="*/ 2147483647 h 593"/>
                    <a:gd name="T74" fmla="*/ 2147483647 w 863"/>
                    <a:gd name="T75" fmla="*/ 2147483647 h 593"/>
                    <a:gd name="T76" fmla="*/ 2147483647 w 863"/>
                    <a:gd name="T77" fmla="*/ 2147483647 h 593"/>
                    <a:gd name="T78" fmla="*/ 2147483647 w 863"/>
                    <a:gd name="T79" fmla="*/ 2147483647 h 593"/>
                    <a:gd name="T80" fmla="*/ 2147483647 w 863"/>
                    <a:gd name="T81" fmla="*/ 2147483647 h 593"/>
                    <a:gd name="T82" fmla="*/ 2147483647 w 863"/>
                    <a:gd name="T83" fmla="*/ 2147483647 h 593"/>
                    <a:gd name="T84" fmla="*/ 2147483647 w 863"/>
                    <a:gd name="T85" fmla="*/ 2147483647 h 593"/>
                    <a:gd name="T86" fmla="*/ 2147483647 w 863"/>
                    <a:gd name="T87" fmla="*/ 2147483647 h 593"/>
                    <a:gd name="T88" fmla="*/ 2147483647 w 863"/>
                    <a:gd name="T89" fmla="*/ 2147483647 h 593"/>
                    <a:gd name="T90" fmla="*/ 2147483647 w 863"/>
                    <a:gd name="T91" fmla="*/ 2147483647 h 593"/>
                    <a:gd name="T92" fmla="*/ 2147483647 w 863"/>
                    <a:gd name="T93" fmla="*/ 2147483647 h 593"/>
                    <a:gd name="T94" fmla="*/ 2147483647 w 863"/>
                    <a:gd name="T95" fmla="*/ 2147483647 h 593"/>
                    <a:gd name="T96" fmla="*/ 2147483647 w 863"/>
                    <a:gd name="T97" fmla="*/ 2147483647 h 593"/>
                    <a:gd name="T98" fmla="*/ 2147483647 w 863"/>
                    <a:gd name="T99" fmla="*/ 2147483647 h 593"/>
                    <a:gd name="T100" fmla="*/ 2147483647 w 863"/>
                    <a:gd name="T101" fmla="*/ 2147483647 h 593"/>
                    <a:gd name="T102" fmla="*/ 2147483647 w 863"/>
                    <a:gd name="T103" fmla="*/ 2147483647 h 593"/>
                    <a:gd name="T104" fmla="*/ 2147483647 w 863"/>
                    <a:gd name="T105" fmla="*/ 2147483647 h 593"/>
                    <a:gd name="T106" fmla="*/ 2147483647 w 863"/>
                    <a:gd name="T107" fmla="*/ 2147483647 h 593"/>
                    <a:gd name="T108" fmla="*/ 2147483647 w 863"/>
                    <a:gd name="T109" fmla="*/ 2147483647 h 593"/>
                    <a:gd name="T110" fmla="*/ 2147483647 w 863"/>
                    <a:gd name="T111" fmla="*/ 2147483647 h 593"/>
                    <a:gd name="T112" fmla="*/ 2147483647 w 863"/>
                    <a:gd name="T113" fmla="*/ 2147483647 h 593"/>
                    <a:gd name="T114" fmla="*/ 2147483647 w 863"/>
                    <a:gd name="T115" fmla="*/ 2147483647 h 593"/>
                    <a:gd name="T116" fmla="*/ 2147483647 w 863"/>
                    <a:gd name="T117" fmla="*/ 2147483647 h 593"/>
                    <a:gd name="T118" fmla="*/ 2147483647 w 863"/>
                    <a:gd name="T119" fmla="*/ 2147483647 h 593"/>
                    <a:gd name="T120" fmla="*/ 2147483647 w 863"/>
                    <a:gd name="T121" fmla="*/ 2147483647 h 593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863"/>
                    <a:gd name="T184" fmla="*/ 0 h 593"/>
                    <a:gd name="T185" fmla="*/ 863 w 863"/>
                    <a:gd name="T186" fmla="*/ 593 h 593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863" h="593">
                      <a:moveTo>
                        <a:pt x="567" y="70"/>
                      </a:moveTo>
                      <a:lnTo>
                        <a:pt x="558" y="87"/>
                      </a:lnTo>
                      <a:lnTo>
                        <a:pt x="575" y="105"/>
                      </a:lnTo>
                      <a:lnTo>
                        <a:pt x="601" y="105"/>
                      </a:lnTo>
                      <a:lnTo>
                        <a:pt x="619" y="105"/>
                      </a:lnTo>
                      <a:lnTo>
                        <a:pt x="636" y="122"/>
                      </a:lnTo>
                      <a:lnTo>
                        <a:pt x="575" y="157"/>
                      </a:lnTo>
                      <a:lnTo>
                        <a:pt x="540" y="157"/>
                      </a:lnTo>
                      <a:lnTo>
                        <a:pt x="558" y="174"/>
                      </a:lnTo>
                      <a:lnTo>
                        <a:pt x="532" y="201"/>
                      </a:lnTo>
                      <a:lnTo>
                        <a:pt x="505" y="201"/>
                      </a:lnTo>
                      <a:lnTo>
                        <a:pt x="471" y="218"/>
                      </a:lnTo>
                      <a:lnTo>
                        <a:pt x="401" y="201"/>
                      </a:lnTo>
                      <a:lnTo>
                        <a:pt x="331" y="201"/>
                      </a:lnTo>
                      <a:lnTo>
                        <a:pt x="296" y="174"/>
                      </a:lnTo>
                      <a:lnTo>
                        <a:pt x="218" y="157"/>
                      </a:lnTo>
                      <a:lnTo>
                        <a:pt x="218" y="131"/>
                      </a:lnTo>
                      <a:lnTo>
                        <a:pt x="192" y="105"/>
                      </a:lnTo>
                      <a:lnTo>
                        <a:pt x="148" y="105"/>
                      </a:lnTo>
                      <a:lnTo>
                        <a:pt x="139" y="79"/>
                      </a:lnTo>
                      <a:lnTo>
                        <a:pt x="122" y="79"/>
                      </a:lnTo>
                      <a:lnTo>
                        <a:pt x="122" y="87"/>
                      </a:lnTo>
                      <a:lnTo>
                        <a:pt x="113" y="105"/>
                      </a:lnTo>
                      <a:lnTo>
                        <a:pt x="122" y="122"/>
                      </a:lnTo>
                      <a:lnTo>
                        <a:pt x="87" y="122"/>
                      </a:lnTo>
                      <a:lnTo>
                        <a:pt x="87" y="157"/>
                      </a:lnTo>
                      <a:lnTo>
                        <a:pt x="61" y="157"/>
                      </a:lnTo>
                      <a:lnTo>
                        <a:pt x="70" y="183"/>
                      </a:lnTo>
                      <a:lnTo>
                        <a:pt x="70" y="209"/>
                      </a:lnTo>
                      <a:lnTo>
                        <a:pt x="70" y="227"/>
                      </a:lnTo>
                      <a:lnTo>
                        <a:pt x="35" y="227"/>
                      </a:lnTo>
                      <a:lnTo>
                        <a:pt x="26" y="244"/>
                      </a:lnTo>
                      <a:lnTo>
                        <a:pt x="0" y="244"/>
                      </a:lnTo>
                      <a:lnTo>
                        <a:pt x="0" y="262"/>
                      </a:lnTo>
                      <a:lnTo>
                        <a:pt x="8" y="270"/>
                      </a:lnTo>
                      <a:lnTo>
                        <a:pt x="17" y="279"/>
                      </a:lnTo>
                      <a:lnTo>
                        <a:pt x="26" y="296"/>
                      </a:lnTo>
                      <a:lnTo>
                        <a:pt x="52" y="323"/>
                      </a:lnTo>
                      <a:lnTo>
                        <a:pt x="70" y="331"/>
                      </a:lnTo>
                      <a:lnTo>
                        <a:pt x="104" y="323"/>
                      </a:lnTo>
                      <a:lnTo>
                        <a:pt x="131" y="349"/>
                      </a:lnTo>
                      <a:lnTo>
                        <a:pt x="113" y="366"/>
                      </a:lnTo>
                      <a:lnTo>
                        <a:pt x="131" y="375"/>
                      </a:lnTo>
                      <a:lnTo>
                        <a:pt x="113" y="392"/>
                      </a:lnTo>
                      <a:lnTo>
                        <a:pt x="122" y="401"/>
                      </a:lnTo>
                      <a:lnTo>
                        <a:pt x="148" y="419"/>
                      </a:lnTo>
                      <a:lnTo>
                        <a:pt x="174" y="419"/>
                      </a:lnTo>
                      <a:lnTo>
                        <a:pt x="253" y="462"/>
                      </a:lnTo>
                      <a:lnTo>
                        <a:pt x="287" y="471"/>
                      </a:lnTo>
                      <a:lnTo>
                        <a:pt x="287" y="462"/>
                      </a:lnTo>
                      <a:lnTo>
                        <a:pt x="296" y="462"/>
                      </a:lnTo>
                      <a:lnTo>
                        <a:pt x="305" y="471"/>
                      </a:lnTo>
                      <a:lnTo>
                        <a:pt x="314" y="453"/>
                      </a:lnTo>
                      <a:lnTo>
                        <a:pt x="322" y="453"/>
                      </a:lnTo>
                      <a:lnTo>
                        <a:pt x="349" y="471"/>
                      </a:lnTo>
                      <a:lnTo>
                        <a:pt x="410" y="436"/>
                      </a:lnTo>
                      <a:lnTo>
                        <a:pt x="418" y="453"/>
                      </a:lnTo>
                      <a:lnTo>
                        <a:pt x="436" y="453"/>
                      </a:lnTo>
                      <a:lnTo>
                        <a:pt x="462" y="471"/>
                      </a:lnTo>
                      <a:lnTo>
                        <a:pt x="462" y="506"/>
                      </a:lnTo>
                      <a:lnTo>
                        <a:pt x="453" y="523"/>
                      </a:lnTo>
                      <a:lnTo>
                        <a:pt x="453" y="532"/>
                      </a:lnTo>
                      <a:lnTo>
                        <a:pt x="471" y="541"/>
                      </a:lnTo>
                      <a:lnTo>
                        <a:pt x="497" y="584"/>
                      </a:lnTo>
                      <a:lnTo>
                        <a:pt x="514" y="584"/>
                      </a:lnTo>
                      <a:lnTo>
                        <a:pt x="532" y="567"/>
                      </a:lnTo>
                      <a:lnTo>
                        <a:pt x="575" y="549"/>
                      </a:lnTo>
                      <a:lnTo>
                        <a:pt x="636" y="584"/>
                      </a:lnTo>
                      <a:lnTo>
                        <a:pt x="654" y="584"/>
                      </a:lnTo>
                      <a:lnTo>
                        <a:pt x="654" y="593"/>
                      </a:lnTo>
                      <a:lnTo>
                        <a:pt x="662" y="584"/>
                      </a:lnTo>
                      <a:lnTo>
                        <a:pt x="689" y="584"/>
                      </a:lnTo>
                      <a:lnTo>
                        <a:pt x="715" y="549"/>
                      </a:lnTo>
                      <a:lnTo>
                        <a:pt x="723" y="567"/>
                      </a:lnTo>
                      <a:lnTo>
                        <a:pt x="732" y="567"/>
                      </a:lnTo>
                      <a:lnTo>
                        <a:pt x="741" y="549"/>
                      </a:lnTo>
                      <a:lnTo>
                        <a:pt x="767" y="549"/>
                      </a:lnTo>
                      <a:lnTo>
                        <a:pt x="802" y="506"/>
                      </a:lnTo>
                      <a:lnTo>
                        <a:pt x="793" y="488"/>
                      </a:lnTo>
                      <a:lnTo>
                        <a:pt x="819" y="445"/>
                      </a:lnTo>
                      <a:lnTo>
                        <a:pt x="811" y="436"/>
                      </a:lnTo>
                      <a:lnTo>
                        <a:pt x="828" y="427"/>
                      </a:lnTo>
                      <a:lnTo>
                        <a:pt x="819" y="419"/>
                      </a:lnTo>
                      <a:lnTo>
                        <a:pt x="784" y="419"/>
                      </a:lnTo>
                      <a:lnTo>
                        <a:pt x="802" y="401"/>
                      </a:lnTo>
                      <a:lnTo>
                        <a:pt x="767" y="392"/>
                      </a:lnTo>
                      <a:lnTo>
                        <a:pt x="802" y="392"/>
                      </a:lnTo>
                      <a:lnTo>
                        <a:pt x="776" y="375"/>
                      </a:lnTo>
                      <a:lnTo>
                        <a:pt x="732" y="331"/>
                      </a:lnTo>
                      <a:lnTo>
                        <a:pt x="741" y="314"/>
                      </a:lnTo>
                      <a:lnTo>
                        <a:pt x="776" y="296"/>
                      </a:lnTo>
                      <a:lnTo>
                        <a:pt x="732" y="279"/>
                      </a:lnTo>
                      <a:lnTo>
                        <a:pt x="732" y="296"/>
                      </a:lnTo>
                      <a:lnTo>
                        <a:pt x="715" y="296"/>
                      </a:lnTo>
                      <a:lnTo>
                        <a:pt x="706" y="279"/>
                      </a:lnTo>
                      <a:lnTo>
                        <a:pt x="680" y="270"/>
                      </a:lnTo>
                      <a:lnTo>
                        <a:pt x="680" y="253"/>
                      </a:lnTo>
                      <a:lnTo>
                        <a:pt x="706" y="244"/>
                      </a:lnTo>
                      <a:lnTo>
                        <a:pt x="723" y="227"/>
                      </a:lnTo>
                      <a:lnTo>
                        <a:pt x="732" y="227"/>
                      </a:lnTo>
                      <a:lnTo>
                        <a:pt x="732" y="244"/>
                      </a:lnTo>
                      <a:lnTo>
                        <a:pt x="741" y="253"/>
                      </a:lnTo>
                      <a:lnTo>
                        <a:pt x="767" y="244"/>
                      </a:lnTo>
                      <a:lnTo>
                        <a:pt x="784" y="244"/>
                      </a:lnTo>
                      <a:lnTo>
                        <a:pt x="802" y="218"/>
                      </a:lnTo>
                      <a:lnTo>
                        <a:pt x="828" y="209"/>
                      </a:lnTo>
                      <a:lnTo>
                        <a:pt x="837" y="192"/>
                      </a:lnTo>
                      <a:lnTo>
                        <a:pt x="854" y="183"/>
                      </a:lnTo>
                      <a:lnTo>
                        <a:pt x="846" y="157"/>
                      </a:lnTo>
                      <a:lnTo>
                        <a:pt x="863" y="148"/>
                      </a:lnTo>
                      <a:lnTo>
                        <a:pt x="846" y="87"/>
                      </a:lnTo>
                      <a:lnTo>
                        <a:pt x="802" y="105"/>
                      </a:lnTo>
                      <a:lnTo>
                        <a:pt x="750" y="79"/>
                      </a:lnTo>
                      <a:lnTo>
                        <a:pt x="706" y="61"/>
                      </a:lnTo>
                      <a:lnTo>
                        <a:pt x="697" y="35"/>
                      </a:lnTo>
                      <a:lnTo>
                        <a:pt x="610" y="0"/>
                      </a:lnTo>
                      <a:lnTo>
                        <a:pt x="575" y="9"/>
                      </a:lnTo>
                      <a:lnTo>
                        <a:pt x="575" y="18"/>
                      </a:lnTo>
                      <a:lnTo>
                        <a:pt x="593" y="35"/>
                      </a:lnTo>
                      <a:lnTo>
                        <a:pt x="584" y="52"/>
                      </a:lnTo>
                      <a:lnTo>
                        <a:pt x="601" y="61"/>
                      </a:lnTo>
                      <a:lnTo>
                        <a:pt x="567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5" name="Freeform 330"/>
                <p:cNvSpPr>
                  <a:spLocks/>
                </p:cNvSpPr>
                <p:nvPr/>
              </p:nvSpPr>
              <p:spPr bwMode="auto">
                <a:xfrm>
                  <a:off x="5557583" y="1745579"/>
                  <a:ext cx="924521" cy="635024"/>
                </a:xfrm>
                <a:custGeom>
                  <a:avLst/>
                  <a:gdLst>
                    <a:gd name="T0" fmla="*/ 2147483647 w 863"/>
                    <a:gd name="T1" fmla="*/ 2147483647 h 593"/>
                    <a:gd name="T2" fmla="*/ 2147483647 w 863"/>
                    <a:gd name="T3" fmla="*/ 2147483647 h 593"/>
                    <a:gd name="T4" fmla="*/ 2147483647 w 863"/>
                    <a:gd name="T5" fmla="*/ 2147483647 h 593"/>
                    <a:gd name="T6" fmla="*/ 2147483647 w 863"/>
                    <a:gd name="T7" fmla="*/ 2147483647 h 593"/>
                    <a:gd name="T8" fmla="*/ 2147483647 w 863"/>
                    <a:gd name="T9" fmla="*/ 2147483647 h 593"/>
                    <a:gd name="T10" fmla="*/ 2147483647 w 863"/>
                    <a:gd name="T11" fmla="*/ 2147483647 h 593"/>
                    <a:gd name="T12" fmla="*/ 2147483647 w 863"/>
                    <a:gd name="T13" fmla="*/ 2147483647 h 593"/>
                    <a:gd name="T14" fmla="*/ 2147483647 w 863"/>
                    <a:gd name="T15" fmla="*/ 2147483647 h 593"/>
                    <a:gd name="T16" fmla="*/ 2147483647 w 863"/>
                    <a:gd name="T17" fmla="*/ 2147483647 h 593"/>
                    <a:gd name="T18" fmla="*/ 2147483647 w 863"/>
                    <a:gd name="T19" fmla="*/ 2147483647 h 593"/>
                    <a:gd name="T20" fmla="*/ 2147483647 w 863"/>
                    <a:gd name="T21" fmla="*/ 2147483647 h 593"/>
                    <a:gd name="T22" fmla="*/ 2147483647 w 863"/>
                    <a:gd name="T23" fmla="*/ 2147483647 h 593"/>
                    <a:gd name="T24" fmla="*/ 2147483647 w 863"/>
                    <a:gd name="T25" fmla="*/ 2147483647 h 593"/>
                    <a:gd name="T26" fmla="*/ 2147483647 w 863"/>
                    <a:gd name="T27" fmla="*/ 2147483647 h 593"/>
                    <a:gd name="T28" fmla="*/ 2147483647 w 863"/>
                    <a:gd name="T29" fmla="*/ 2147483647 h 593"/>
                    <a:gd name="T30" fmla="*/ 2147483647 w 863"/>
                    <a:gd name="T31" fmla="*/ 2147483647 h 593"/>
                    <a:gd name="T32" fmla="*/ 0 w 863"/>
                    <a:gd name="T33" fmla="*/ 2147483647 h 593"/>
                    <a:gd name="T34" fmla="*/ 2147483647 w 863"/>
                    <a:gd name="T35" fmla="*/ 2147483647 h 593"/>
                    <a:gd name="T36" fmla="*/ 2147483647 w 863"/>
                    <a:gd name="T37" fmla="*/ 2147483647 h 593"/>
                    <a:gd name="T38" fmla="*/ 2147483647 w 863"/>
                    <a:gd name="T39" fmla="*/ 2147483647 h 593"/>
                    <a:gd name="T40" fmla="*/ 2147483647 w 863"/>
                    <a:gd name="T41" fmla="*/ 2147483647 h 593"/>
                    <a:gd name="T42" fmla="*/ 2147483647 w 863"/>
                    <a:gd name="T43" fmla="*/ 2147483647 h 593"/>
                    <a:gd name="T44" fmla="*/ 2147483647 w 863"/>
                    <a:gd name="T45" fmla="*/ 2147483647 h 593"/>
                    <a:gd name="T46" fmla="*/ 2147483647 w 863"/>
                    <a:gd name="T47" fmla="*/ 2147483647 h 593"/>
                    <a:gd name="T48" fmla="*/ 2147483647 w 863"/>
                    <a:gd name="T49" fmla="*/ 2147483647 h 593"/>
                    <a:gd name="T50" fmla="*/ 2147483647 w 863"/>
                    <a:gd name="T51" fmla="*/ 2147483647 h 593"/>
                    <a:gd name="T52" fmla="*/ 2147483647 w 863"/>
                    <a:gd name="T53" fmla="*/ 2147483647 h 593"/>
                    <a:gd name="T54" fmla="*/ 2147483647 w 863"/>
                    <a:gd name="T55" fmla="*/ 2147483647 h 593"/>
                    <a:gd name="T56" fmla="*/ 2147483647 w 863"/>
                    <a:gd name="T57" fmla="*/ 2147483647 h 593"/>
                    <a:gd name="T58" fmla="*/ 2147483647 w 863"/>
                    <a:gd name="T59" fmla="*/ 2147483647 h 593"/>
                    <a:gd name="T60" fmla="*/ 2147483647 w 863"/>
                    <a:gd name="T61" fmla="*/ 2147483647 h 593"/>
                    <a:gd name="T62" fmla="*/ 2147483647 w 863"/>
                    <a:gd name="T63" fmla="*/ 2147483647 h 593"/>
                    <a:gd name="T64" fmla="*/ 2147483647 w 863"/>
                    <a:gd name="T65" fmla="*/ 2147483647 h 593"/>
                    <a:gd name="T66" fmla="*/ 2147483647 w 863"/>
                    <a:gd name="T67" fmla="*/ 2147483647 h 593"/>
                    <a:gd name="T68" fmla="*/ 2147483647 w 863"/>
                    <a:gd name="T69" fmla="*/ 2147483647 h 593"/>
                    <a:gd name="T70" fmla="*/ 2147483647 w 863"/>
                    <a:gd name="T71" fmla="*/ 2147483647 h 593"/>
                    <a:gd name="T72" fmla="*/ 2147483647 w 863"/>
                    <a:gd name="T73" fmla="*/ 2147483647 h 593"/>
                    <a:gd name="T74" fmla="*/ 2147483647 w 863"/>
                    <a:gd name="T75" fmla="*/ 2147483647 h 593"/>
                    <a:gd name="T76" fmla="*/ 2147483647 w 863"/>
                    <a:gd name="T77" fmla="*/ 2147483647 h 593"/>
                    <a:gd name="T78" fmla="*/ 2147483647 w 863"/>
                    <a:gd name="T79" fmla="*/ 2147483647 h 593"/>
                    <a:gd name="T80" fmla="*/ 2147483647 w 863"/>
                    <a:gd name="T81" fmla="*/ 2147483647 h 593"/>
                    <a:gd name="T82" fmla="*/ 2147483647 w 863"/>
                    <a:gd name="T83" fmla="*/ 2147483647 h 593"/>
                    <a:gd name="T84" fmla="*/ 2147483647 w 863"/>
                    <a:gd name="T85" fmla="*/ 2147483647 h 593"/>
                    <a:gd name="T86" fmla="*/ 2147483647 w 863"/>
                    <a:gd name="T87" fmla="*/ 2147483647 h 593"/>
                    <a:gd name="T88" fmla="*/ 2147483647 w 863"/>
                    <a:gd name="T89" fmla="*/ 2147483647 h 593"/>
                    <a:gd name="T90" fmla="*/ 2147483647 w 863"/>
                    <a:gd name="T91" fmla="*/ 2147483647 h 593"/>
                    <a:gd name="T92" fmla="*/ 2147483647 w 863"/>
                    <a:gd name="T93" fmla="*/ 2147483647 h 593"/>
                    <a:gd name="T94" fmla="*/ 2147483647 w 863"/>
                    <a:gd name="T95" fmla="*/ 2147483647 h 593"/>
                    <a:gd name="T96" fmla="*/ 2147483647 w 863"/>
                    <a:gd name="T97" fmla="*/ 2147483647 h 593"/>
                    <a:gd name="T98" fmla="*/ 2147483647 w 863"/>
                    <a:gd name="T99" fmla="*/ 2147483647 h 593"/>
                    <a:gd name="T100" fmla="*/ 2147483647 w 863"/>
                    <a:gd name="T101" fmla="*/ 2147483647 h 593"/>
                    <a:gd name="T102" fmla="*/ 2147483647 w 863"/>
                    <a:gd name="T103" fmla="*/ 2147483647 h 593"/>
                    <a:gd name="T104" fmla="*/ 2147483647 w 863"/>
                    <a:gd name="T105" fmla="*/ 2147483647 h 593"/>
                    <a:gd name="T106" fmla="*/ 2147483647 w 863"/>
                    <a:gd name="T107" fmla="*/ 2147483647 h 593"/>
                    <a:gd name="T108" fmla="*/ 2147483647 w 863"/>
                    <a:gd name="T109" fmla="*/ 2147483647 h 593"/>
                    <a:gd name="T110" fmla="*/ 2147483647 w 863"/>
                    <a:gd name="T111" fmla="*/ 2147483647 h 593"/>
                    <a:gd name="T112" fmla="*/ 2147483647 w 863"/>
                    <a:gd name="T113" fmla="*/ 2147483647 h 593"/>
                    <a:gd name="T114" fmla="*/ 2147483647 w 863"/>
                    <a:gd name="T115" fmla="*/ 2147483647 h 593"/>
                    <a:gd name="T116" fmla="*/ 2147483647 w 863"/>
                    <a:gd name="T117" fmla="*/ 2147483647 h 593"/>
                    <a:gd name="T118" fmla="*/ 2147483647 w 863"/>
                    <a:gd name="T119" fmla="*/ 2147483647 h 593"/>
                    <a:gd name="T120" fmla="*/ 2147483647 w 863"/>
                    <a:gd name="T121" fmla="*/ 2147483647 h 593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863"/>
                    <a:gd name="T184" fmla="*/ 0 h 593"/>
                    <a:gd name="T185" fmla="*/ 863 w 863"/>
                    <a:gd name="T186" fmla="*/ 593 h 593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863" h="593">
                      <a:moveTo>
                        <a:pt x="567" y="70"/>
                      </a:moveTo>
                      <a:lnTo>
                        <a:pt x="558" y="87"/>
                      </a:lnTo>
                      <a:lnTo>
                        <a:pt x="575" y="105"/>
                      </a:lnTo>
                      <a:lnTo>
                        <a:pt x="601" y="105"/>
                      </a:lnTo>
                      <a:lnTo>
                        <a:pt x="619" y="105"/>
                      </a:lnTo>
                      <a:lnTo>
                        <a:pt x="636" y="122"/>
                      </a:lnTo>
                      <a:lnTo>
                        <a:pt x="575" y="157"/>
                      </a:lnTo>
                      <a:lnTo>
                        <a:pt x="540" y="157"/>
                      </a:lnTo>
                      <a:lnTo>
                        <a:pt x="558" y="174"/>
                      </a:lnTo>
                      <a:lnTo>
                        <a:pt x="532" y="201"/>
                      </a:lnTo>
                      <a:lnTo>
                        <a:pt x="505" y="201"/>
                      </a:lnTo>
                      <a:lnTo>
                        <a:pt x="471" y="218"/>
                      </a:lnTo>
                      <a:lnTo>
                        <a:pt x="401" y="201"/>
                      </a:lnTo>
                      <a:lnTo>
                        <a:pt x="331" y="201"/>
                      </a:lnTo>
                      <a:lnTo>
                        <a:pt x="296" y="174"/>
                      </a:lnTo>
                      <a:lnTo>
                        <a:pt x="218" y="157"/>
                      </a:lnTo>
                      <a:lnTo>
                        <a:pt x="218" y="131"/>
                      </a:lnTo>
                      <a:lnTo>
                        <a:pt x="192" y="105"/>
                      </a:lnTo>
                      <a:lnTo>
                        <a:pt x="148" y="105"/>
                      </a:lnTo>
                      <a:lnTo>
                        <a:pt x="139" y="79"/>
                      </a:lnTo>
                      <a:lnTo>
                        <a:pt x="122" y="79"/>
                      </a:lnTo>
                      <a:lnTo>
                        <a:pt x="122" y="87"/>
                      </a:lnTo>
                      <a:lnTo>
                        <a:pt x="113" y="105"/>
                      </a:lnTo>
                      <a:lnTo>
                        <a:pt x="122" y="122"/>
                      </a:lnTo>
                      <a:lnTo>
                        <a:pt x="87" y="122"/>
                      </a:lnTo>
                      <a:lnTo>
                        <a:pt x="87" y="157"/>
                      </a:lnTo>
                      <a:lnTo>
                        <a:pt x="61" y="157"/>
                      </a:lnTo>
                      <a:lnTo>
                        <a:pt x="70" y="183"/>
                      </a:lnTo>
                      <a:lnTo>
                        <a:pt x="70" y="209"/>
                      </a:lnTo>
                      <a:lnTo>
                        <a:pt x="70" y="227"/>
                      </a:lnTo>
                      <a:lnTo>
                        <a:pt x="35" y="227"/>
                      </a:lnTo>
                      <a:lnTo>
                        <a:pt x="26" y="244"/>
                      </a:lnTo>
                      <a:lnTo>
                        <a:pt x="0" y="244"/>
                      </a:lnTo>
                      <a:lnTo>
                        <a:pt x="0" y="262"/>
                      </a:lnTo>
                      <a:lnTo>
                        <a:pt x="8" y="270"/>
                      </a:lnTo>
                      <a:lnTo>
                        <a:pt x="17" y="279"/>
                      </a:lnTo>
                      <a:lnTo>
                        <a:pt x="26" y="296"/>
                      </a:lnTo>
                      <a:lnTo>
                        <a:pt x="52" y="323"/>
                      </a:lnTo>
                      <a:lnTo>
                        <a:pt x="70" y="331"/>
                      </a:lnTo>
                      <a:lnTo>
                        <a:pt x="104" y="323"/>
                      </a:lnTo>
                      <a:lnTo>
                        <a:pt x="131" y="349"/>
                      </a:lnTo>
                      <a:lnTo>
                        <a:pt x="113" y="366"/>
                      </a:lnTo>
                      <a:lnTo>
                        <a:pt x="131" y="375"/>
                      </a:lnTo>
                      <a:lnTo>
                        <a:pt x="113" y="392"/>
                      </a:lnTo>
                      <a:lnTo>
                        <a:pt x="122" y="401"/>
                      </a:lnTo>
                      <a:lnTo>
                        <a:pt x="148" y="419"/>
                      </a:lnTo>
                      <a:lnTo>
                        <a:pt x="174" y="419"/>
                      </a:lnTo>
                      <a:lnTo>
                        <a:pt x="253" y="462"/>
                      </a:lnTo>
                      <a:lnTo>
                        <a:pt x="287" y="471"/>
                      </a:lnTo>
                      <a:lnTo>
                        <a:pt x="287" y="462"/>
                      </a:lnTo>
                      <a:lnTo>
                        <a:pt x="296" y="462"/>
                      </a:lnTo>
                      <a:lnTo>
                        <a:pt x="305" y="471"/>
                      </a:lnTo>
                      <a:lnTo>
                        <a:pt x="314" y="453"/>
                      </a:lnTo>
                      <a:lnTo>
                        <a:pt x="322" y="453"/>
                      </a:lnTo>
                      <a:lnTo>
                        <a:pt x="349" y="471"/>
                      </a:lnTo>
                      <a:lnTo>
                        <a:pt x="410" y="436"/>
                      </a:lnTo>
                      <a:lnTo>
                        <a:pt x="418" y="453"/>
                      </a:lnTo>
                      <a:lnTo>
                        <a:pt x="436" y="453"/>
                      </a:lnTo>
                      <a:lnTo>
                        <a:pt x="462" y="471"/>
                      </a:lnTo>
                      <a:lnTo>
                        <a:pt x="462" y="506"/>
                      </a:lnTo>
                      <a:lnTo>
                        <a:pt x="453" y="523"/>
                      </a:lnTo>
                      <a:lnTo>
                        <a:pt x="453" y="532"/>
                      </a:lnTo>
                      <a:lnTo>
                        <a:pt x="471" y="541"/>
                      </a:lnTo>
                      <a:lnTo>
                        <a:pt x="497" y="584"/>
                      </a:lnTo>
                      <a:lnTo>
                        <a:pt x="514" y="584"/>
                      </a:lnTo>
                      <a:lnTo>
                        <a:pt x="532" y="567"/>
                      </a:lnTo>
                      <a:lnTo>
                        <a:pt x="575" y="549"/>
                      </a:lnTo>
                      <a:lnTo>
                        <a:pt x="636" y="584"/>
                      </a:lnTo>
                      <a:lnTo>
                        <a:pt x="654" y="584"/>
                      </a:lnTo>
                      <a:lnTo>
                        <a:pt x="654" y="593"/>
                      </a:lnTo>
                      <a:lnTo>
                        <a:pt x="662" y="584"/>
                      </a:lnTo>
                      <a:lnTo>
                        <a:pt x="689" y="584"/>
                      </a:lnTo>
                      <a:lnTo>
                        <a:pt x="715" y="549"/>
                      </a:lnTo>
                      <a:lnTo>
                        <a:pt x="723" y="567"/>
                      </a:lnTo>
                      <a:lnTo>
                        <a:pt x="732" y="567"/>
                      </a:lnTo>
                      <a:lnTo>
                        <a:pt x="741" y="549"/>
                      </a:lnTo>
                      <a:lnTo>
                        <a:pt x="767" y="549"/>
                      </a:lnTo>
                      <a:lnTo>
                        <a:pt x="802" y="506"/>
                      </a:lnTo>
                      <a:lnTo>
                        <a:pt x="793" y="488"/>
                      </a:lnTo>
                      <a:lnTo>
                        <a:pt x="819" y="445"/>
                      </a:lnTo>
                      <a:lnTo>
                        <a:pt x="811" y="436"/>
                      </a:lnTo>
                      <a:lnTo>
                        <a:pt x="828" y="427"/>
                      </a:lnTo>
                      <a:lnTo>
                        <a:pt x="819" y="419"/>
                      </a:lnTo>
                      <a:lnTo>
                        <a:pt x="784" y="419"/>
                      </a:lnTo>
                      <a:lnTo>
                        <a:pt x="802" y="401"/>
                      </a:lnTo>
                      <a:lnTo>
                        <a:pt x="767" y="392"/>
                      </a:lnTo>
                      <a:lnTo>
                        <a:pt x="802" y="392"/>
                      </a:lnTo>
                      <a:lnTo>
                        <a:pt x="776" y="375"/>
                      </a:lnTo>
                      <a:lnTo>
                        <a:pt x="732" y="331"/>
                      </a:lnTo>
                      <a:lnTo>
                        <a:pt x="741" y="314"/>
                      </a:lnTo>
                      <a:lnTo>
                        <a:pt x="776" y="296"/>
                      </a:lnTo>
                      <a:lnTo>
                        <a:pt x="732" y="279"/>
                      </a:lnTo>
                      <a:lnTo>
                        <a:pt x="732" y="296"/>
                      </a:lnTo>
                      <a:lnTo>
                        <a:pt x="715" y="296"/>
                      </a:lnTo>
                      <a:lnTo>
                        <a:pt x="706" y="279"/>
                      </a:lnTo>
                      <a:lnTo>
                        <a:pt x="680" y="270"/>
                      </a:lnTo>
                      <a:lnTo>
                        <a:pt x="680" y="253"/>
                      </a:lnTo>
                      <a:lnTo>
                        <a:pt x="706" y="244"/>
                      </a:lnTo>
                      <a:lnTo>
                        <a:pt x="723" y="227"/>
                      </a:lnTo>
                      <a:lnTo>
                        <a:pt x="732" y="227"/>
                      </a:lnTo>
                      <a:lnTo>
                        <a:pt x="732" y="244"/>
                      </a:lnTo>
                      <a:lnTo>
                        <a:pt x="741" y="253"/>
                      </a:lnTo>
                      <a:lnTo>
                        <a:pt x="767" y="244"/>
                      </a:lnTo>
                      <a:lnTo>
                        <a:pt x="784" y="244"/>
                      </a:lnTo>
                      <a:lnTo>
                        <a:pt x="802" y="218"/>
                      </a:lnTo>
                      <a:lnTo>
                        <a:pt x="828" y="209"/>
                      </a:lnTo>
                      <a:lnTo>
                        <a:pt x="837" y="192"/>
                      </a:lnTo>
                      <a:lnTo>
                        <a:pt x="854" y="183"/>
                      </a:lnTo>
                      <a:lnTo>
                        <a:pt x="846" y="157"/>
                      </a:lnTo>
                      <a:lnTo>
                        <a:pt x="863" y="148"/>
                      </a:lnTo>
                      <a:lnTo>
                        <a:pt x="846" y="87"/>
                      </a:lnTo>
                      <a:lnTo>
                        <a:pt x="802" y="105"/>
                      </a:lnTo>
                      <a:lnTo>
                        <a:pt x="750" y="79"/>
                      </a:lnTo>
                      <a:lnTo>
                        <a:pt x="706" y="61"/>
                      </a:lnTo>
                      <a:lnTo>
                        <a:pt x="697" y="35"/>
                      </a:lnTo>
                      <a:lnTo>
                        <a:pt x="610" y="0"/>
                      </a:lnTo>
                      <a:lnTo>
                        <a:pt x="575" y="9"/>
                      </a:lnTo>
                      <a:lnTo>
                        <a:pt x="575" y="18"/>
                      </a:lnTo>
                      <a:lnTo>
                        <a:pt x="593" y="35"/>
                      </a:lnTo>
                      <a:lnTo>
                        <a:pt x="584" y="52"/>
                      </a:lnTo>
                      <a:lnTo>
                        <a:pt x="601" y="61"/>
                      </a:lnTo>
                      <a:lnTo>
                        <a:pt x="567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6" name="Freeform 331"/>
                <p:cNvSpPr>
                  <a:spLocks/>
                </p:cNvSpPr>
                <p:nvPr/>
              </p:nvSpPr>
              <p:spPr bwMode="auto">
                <a:xfrm>
                  <a:off x="6238922" y="2390240"/>
                  <a:ext cx="47137" cy="36409"/>
                </a:xfrm>
                <a:custGeom>
                  <a:avLst/>
                  <a:gdLst>
                    <a:gd name="T0" fmla="*/ 2147483647 w 44"/>
                    <a:gd name="T1" fmla="*/ 2147483647 h 34"/>
                    <a:gd name="T2" fmla="*/ 2147483647 w 44"/>
                    <a:gd name="T3" fmla="*/ 2147483647 h 34"/>
                    <a:gd name="T4" fmla="*/ 2147483647 w 44"/>
                    <a:gd name="T5" fmla="*/ 2147483647 h 34"/>
                    <a:gd name="T6" fmla="*/ 2147483647 w 44"/>
                    <a:gd name="T7" fmla="*/ 0 h 34"/>
                    <a:gd name="T8" fmla="*/ 2147483647 w 44"/>
                    <a:gd name="T9" fmla="*/ 0 h 34"/>
                    <a:gd name="T10" fmla="*/ 0 w 44"/>
                    <a:gd name="T11" fmla="*/ 2147483647 h 34"/>
                    <a:gd name="T12" fmla="*/ 2147483647 w 44"/>
                    <a:gd name="T13" fmla="*/ 2147483647 h 3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34"/>
                    <a:gd name="T23" fmla="*/ 44 w 44"/>
                    <a:gd name="T24" fmla="*/ 34 h 3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34">
                      <a:moveTo>
                        <a:pt x="18" y="34"/>
                      </a:moveTo>
                      <a:lnTo>
                        <a:pt x="35" y="34"/>
                      </a:lnTo>
                      <a:lnTo>
                        <a:pt x="44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26"/>
                      </a:lnTo>
                      <a:lnTo>
                        <a:pt x="18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7" name="Freeform 332"/>
                <p:cNvSpPr>
                  <a:spLocks/>
                </p:cNvSpPr>
                <p:nvPr/>
              </p:nvSpPr>
              <p:spPr bwMode="auto">
                <a:xfrm>
                  <a:off x="6238922" y="2390240"/>
                  <a:ext cx="47137" cy="36409"/>
                </a:xfrm>
                <a:custGeom>
                  <a:avLst/>
                  <a:gdLst>
                    <a:gd name="T0" fmla="*/ 2147483647 w 44"/>
                    <a:gd name="T1" fmla="*/ 2147483647 h 34"/>
                    <a:gd name="T2" fmla="*/ 2147483647 w 44"/>
                    <a:gd name="T3" fmla="*/ 2147483647 h 34"/>
                    <a:gd name="T4" fmla="*/ 2147483647 w 44"/>
                    <a:gd name="T5" fmla="*/ 2147483647 h 34"/>
                    <a:gd name="T6" fmla="*/ 2147483647 w 44"/>
                    <a:gd name="T7" fmla="*/ 0 h 34"/>
                    <a:gd name="T8" fmla="*/ 2147483647 w 44"/>
                    <a:gd name="T9" fmla="*/ 0 h 34"/>
                    <a:gd name="T10" fmla="*/ 0 w 44"/>
                    <a:gd name="T11" fmla="*/ 2147483647 h 34"/>
                    <a:gd name="T12" fmla="*/ 2147483647 w 44"/>
                    <a:gd name="T13" fmla="*/ 2147483647 h 3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34"/>
                    <a:gd name="T23" fmla="*/ 44 w 44"/>
                    <a:gd name="T24" fmla="*/ 34 h 3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34">
                      <a:moveTo>
                        <a:pt x="18" y="34"/>
                      </a:moveTo>
                      <a:lnTo>
                        <a:pt x="35" y="34"/>
                      </a:lnTo>
                      <a:lnTo>
                        <a:pt x="44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26"/>
                      </a:lnTo>
                      <a:lnTo>
                        <a:pt x="18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8" name="Freeform 333"/>
                <p:cNvSpPr>
                  <a:spLocks/>
                </p:cNvSpPr>
                <p:nvPr/>
              </p:nvSpPr>
              <p:spPr bwMode="auto">
                <a:xfrm>
                  <a:off x="5520089" y="2091469"/>
                  <a:ext cx="504576" cy="540787"/>
                </a:xfrm>
                <a:custGeom>
                  <a:avLst/>
                  <a:gdLst>
                    <a:gd name="T0" fmla="*/ 2147483647 w 471"/>
                    <a:gd name="T1" fmla="*/ 2147483647 h 505"/>
                    <a:gd name="T2" fmla="*/ 2147483647 w 471"/>
                    <a:gd name="T3" fmla="*/ 2147483647 h 505"/>
                    <a:gd name="T4" fmla="*/ 2147483647 w 471"/>
                    <a:gd name="T5" fmla="*/ 2147483647 h 505"/>
                    <a:gd name="T6" fmla="*/ 2147483647 w 471"/>
                    <a:gd name="T7" fmla="*/ 2147483647 h 505"/>
                    <a:gd name="T8" fmla="*/ 2147483647 w 471"/>
                    <a:gd name="T9" fmla="*/ 2147483647 h 505"/>
                    <a:gd name="T10" fmla="*/ 2147483647 w 471"/>
                    <a:gd name="T11" fmla="*/ 2147483647 h 505"/>
                    <a:gd name="T12" fmla="*/ 2147483647 w 471"/>
                    <a:gd name="T13" fmla="*/ 2147483647 h 505"/>
                    <a:gd name="T14" fmla="*/ 2147483647 w 471"/>
                    <a:gd name="T15" fmla="*/ 2147483647 h 505"/>
                    <a:gd name="T16" fmla="*/ 2147483647 w 471"/>
                    <a:gd name="T17" fmla="*/ 2147483647 h 505"/>
                    <a:gd name="T18" fmla="*/ 2147483647 w 471"/>
                    <a:gd name="T19" fmla="*/ 2147483647 h 505"/>
                    <a:gd name="T20" fmla="*/ 2147483647 w 471"/>
                    <a:gd name="T21" fmla="*/ 2147483647 h 505"/>
                    <a:gd name="T22" fmla="*/ 2147483647 w 471"/>
                    <a:gd name="T23" fmla="*/ 2147483647 h 505"/>
                    <a:gd name="T24" fmla="*/ 2147483647 w 471"/>
                    <a:gd name="T25" fmla="*/ 2147483647 h 505"/>
                    <a:gd name="T26" fmla="*/ 2147483647 w 471"/>
                    <a:gd name="T27" fmla="*/ 2147483647 h 505"/>
                    <a:gd name="T28" fmla="*/ 2147483647 w 471"/>
                    <a:gd name="T29" fmla="*/ 2147483647 h 505"/>
                    <a:gd name="T30" fmla="*/ 2147483647 w 471"/>
                    <a:gd name="T31" fmla="*/ 2147483647 h 505"/>
                    <a:gd name="T32" fmla="*/ 2147483647 w 471"/>
                    <a:gd name="T33" fmla="*/ 2147483647 h 505"/>
                    <a:gd name="T34" fmla="*/ 2147483647 w 471"/>
                    <a:gd name="T35" fmla="*/ 2147483647 h 505"/>
                    <a:gd name="T36" fmla="*/ 2147483647 w 471"/>
                    <a:gd name="T37" fmla="*/ 2147483647 h 505"/>
                    <a:gd name="T38" fmla="*/ 2147483647 w 471"/>
                    <a:gd name="T39" fmla="*/ 2147483647 h 505"/>
                    <a:gd name="T40" fmla="*/ 2147483647 w 471"/>
                    <a:gd name="T41" fmla="*/ 2147483647 h 505"/>
                    <a:gd name="T42" fmla="*/ 2147483647 w 471"/>
                    <a:gd name="T43" fmla="*/ 2147483647 h 505"/>
                    <a:gd name="T44" fmla="*/ 2147483647 w 471"/>
                    <a:gd name="T45" fmla="*/ 2147483647 h 505"/>
                    <a:gd name="T46" fmla="*/ 2147483647 w 471"/>
                    <a:gd name="T47" fmla="*/ 2147483647 h 505"/>
                    <a:gd name="T48" fmla="*/ 2147483647 w 471"/>
                    <a:gd name="T49" fmla="*/ 2147483647 h 505"/>
                    <a:gd name="T50" fmla="*/ 2147483647 w 471"/>
                    <a:gd name="T51" fmla="*/ 2147483647 h 505"/>
                    <a:gd name="T52" fmla="*/ 2147483647 w 471"/>
                    <a:gd name="T53" fmla="*/ 2147483647 h 505"/>
                    <a:gd name="T54" fmla="*/ 2147483647 w 471"/>
                    <a:gd name="T55" fmla="*/ 2147483647 h 505"/>
                    <a:gd name="T56" fmla="*/ 2147483647 w 471"/>
                    <a:gd name="T57" fmla="*/ 2147483647 h 505"/>
                    <a:gd name="T58" fmla="*/ 2147483647 w 471"/>
                    <a:gd name="T59" fmla="*/ 2147483647 h 505"/>
                    <a:gd name="T60" fmla="*/ 2147483647 w 471"/>
                    <a:gd name="T61" fmla="*/ 2147483647 h 505"/>
                    <a:gd name="T62" fmla="*/ 2147483647 w 471"/>
                    <a:gd name="T63" fmla="*/ 2147483647 h 505"/>
                    <a:gd name="T64" fmla="*/ 2147483647 w 471"/>
                    <a:gd name="T65" fmla="*/ 2147483647 h 505"/>
                    <a:gd name="T66" fmla="*/ 2147483647 w 471"/>
                    <a:gd name="T67" fmla="*/ 2147483647 h 505"/>
                    <a:gd name="T68" fmla="*/ 2147483647 w 471"/>
                    <a:gd name="T69" fmla="*/ 2147483647 h 505"/>
                    <a:gd name="T70" fmla="*/ 2147483647 w 471"/>
                    <a:gd name="T71" fmla="*/ 2147483647 h 505"/>
                    <a:gd name="T72" fmla="*/ 2147483647 w 471"/>
                    <a:gd name="T73" fmla="*/ 2147483647 h 505"/>
                    <a:gd name="T74" fmla="*/ 2147483647 w 471"/>
                    <a:gd name="T75" fmla="*/ 2147483647 h 505"/>
                    <a:gd name="T76" fmla="*/ 2147483647 w 471"/>
                    <a:gd name="T77" fmla="*/ 2147483647 h 505"/>
                    <a:gd name="T78" fmla="*/ 2147483647 w 471"/>
                    <a:gd name="T79" fmla="*/ 2147483647 h 505"/>
                    <a:gd name="T80" fmla="*/ 2147483647 w 471"/>
                    <a:gd name="T81" fmla="*/ 2147483647 h 50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471"/>
                    <a:gd name="T124" fmla="*/ 0 h 505"/>
                    <a:gd name="T125" fmla="*/ 471 w 471"/>
                    <a:gd name="T126" fmla="*/ 505 h 50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471" h="505">
                      <a:moveTo>
                        <a:pt x="340" y="148"/>
                      </a:moveTo>
                      <a:lnTo>
                        <a:pt x="331" y="139"/>
                      </a:lnTo>
                      <a:lnTo>
                        <a:pt x="314" y="139"/>
                      </a:lnTo>
                      <a:lnTo>
                        <a:pt x="314" y="157"/>
                      </a:lnTo>
                      <a:lnTo>
                        <a:pt x="322" y="183"/>
                      </a:lnTo>
                      <a:lnTo>
                        <a:pt x="279" y="165"/>
                      </a:lnTo>
                      <a:lnTo>
                        <a:pt x="261" y="157"/>
                      </a:lnTo>
                      <a:lnTo>
                        <a:pt x="235" y="157"/>
                      </a:lnTo>
                      <a:lnTo>
                        <a:pt x="227" y="148"/>
                      </a:lnTo>
                      <a:lnTo>
                        <a:pt x="183" y="139"/>
                      </a:lnTo>
                      <a:lnTo>
                        <a:pt x="183" y="96"/>
                      </a:lnTo>
                      <a:lnTo>
                        <a:pt x="157" y="78"/>
                      </a:lnTo>
                      <a:lnTo>
                        <a:pt x="139" y="69"/>
                      </a:lnTo>
                      <a:lnTo>
                        <a:pt x="157" y="52"/>
                      </a:lnTo>
                      <a:lnTo>
                        <a:pt x="148" y="43"/>
                      </a:lnTo>
                      <a:lnTo>
                        <a:pt x="157" y="26"/>
                      </a:lnTo>
                      <a:lnTo>
                        <a:pt x="139" y="0"/>
                      </a:lnTo>
                      <a:lnTo>
                        <a:pt x="105" y="8"/>
                      </a:lnTo>
                      <a:lnTo>
                        <a:pt x="105" y="17"/>
                      </a:lnTo>
                      <a:lnTo>
                        <a:pt x="61" y="26"/>
                      </a:lnTo>
                      <a:lnTo>
                        <a:pt x="61" y="43"/>
                      </a:lnTo>
                      <a:lnTo>
                        <a:pt x="87" y="69"/>
                      </a:lnTo>
                      <a:lnTo>
                        <a:pt x="78" y="78"/>
                      </a:lnTo>
                      <a:lnTo>
                        <a:pt x="78" y="96"/>
                      </a:lnTo>
                      <a:lnTo>
                        <a:pt x="43" y="148"/>
                      </a:lnTo>
                      <a:lnTo>
                        <a:pt x="17" y="157"/>
                      </a:lnTo>
                      <a:lnTo>
                        <a:pt x="52" y="200"/>
                      </a:lnTo>
                      <a:lnTo>
                        <a:pt x="35" y="209"/>
                      </a:lnTo>
                      <a:lnTo>
                        <a:pt x="0" y="218"/>
                      </a:lnTo>
                      <a:lnTo>
                        <a:pt x="9" y="235"/>
                      </a:lnTo>
                      <a:lnTo>
                        <a:pt x="35" y="235"/>
                      </a:lnTo>
                      <a:lnTo>
                        <a:pt x="17" y="244"/>
                      </a:lnTo>
                      <a:lnTo>
                        <a:pt x="35" y="279"/>
                      </a:lnTo>
                      <a:lnTo>
                        <a:pt x="52" y="261"/>
                      </a:lnTo>
                      <a:lnTo>
                        <a:pt x="70" y="244"/>
                      </a:lnTo>
                      <a:lnTo>
                        <a:pt x="78" y="261"/>
                      </a:lnTo>
                      <a:lnTo>
                        <a:pt x="87" y="261"/>
                      </a:lnTo>
                      <a:lnTo>
                        <a:pt x="87" y="340"/>
                      </a:lnTo>
                      <a:lnTo>
                        <a:pt x="113" y="383"/>
                      </a:lnTo>
                      <a:lnTo>
                        <a:pt x="122" y="409"/>
                      </a:lnTo>
                      <a:lnTo>
                        <a:pt x="166" y="488"/>
                      </a:lnTo>
                      <a:lnTo>
                        <a:pt x="183" y="505"/>
                      </a:lnTo>
                      <a:lnTo>
                        <a:pt x="209" y="488"/>
                      </a:lnTo>
                      <a:lnTo>
                        <a:pt x="200" y="479"/>
                      </a:lnTo>
                      <a:lnTo>
                        <a:pt x="209" y="470"/>
                      </a:lnTo>
                      <a:lnTo>
                        <a:pt x="209" y="453"/>
                      </a:lnTo>
                      <a:lnTo>
                        <a:pt x="209" y="444"/>
                      </a:lnTo>
                      <a:lnTo>
                        <a:pt x="227" y="409"/>
                      </a:lnTo>
                      <a:lnTo>
                        <a:pt x="218" y="401"/>
                      </a:lnTo>
                      <a:lnTo>
                        <a:pt x="218" y="366"/>
                      </a:lnTo>
                      <a:lnTo>
                        <a:pt x="235" y="357"/>
                      </a:lnTo>
                      <a:lnTo>
                        <a:pt x="279" y="313"/>
                      </a:lnTo>
                      <a:lnTo>
                        <a:pt x="279" y="305"/>
                      </a:lnTo>
                      <a:lnTo>
                        <a:pt x="314" y="279"/>
                      </a:lnTo>
                      <a:lnTo>
                        <a:pt x="314" y="270"/>
                      </a:lnTo>
                      <a:lnTo>
                        <a:pt x="331" y="261"/>
                      </a:lnTo>
                      <a:lnTo>
                        <a:pt x="357" y="261"/>
                      </a:lnTo>
                      <a:lnTo>
                        <a:pt x="349" y="226"/>
                      </a:lnTo>
                      <a:lnTo>
                        <a:pt x="331" y="218"/>
                      </a:lnTo>
                      <a:lnTo>
                        <a:pt x="340" y="200"/>
                      </a:lnTo>
                      <a:lnTo>
                        <a:pt x="331" y="191"/>
                      </a:lnTo>
                      <a:lnTo>
                        <a:pt x="331" y="183"/>
                      </a:lnTo>
                      <a:lnTo>
                        <a:pt x="349" y="183"/>
                      </a:lnTo>
                      <a:lnTo>
                        <a:pt x="357" y="200"/>
                      </a:lnTo>
                      <a:lnTo>
                        <a:pt x="401" y="200"/>
                      </a:lnTo>
                      <a:lnTo>
                        <a:pt x="384" y="226"/>
                      </a:lnTo>
                      <a:lnTo>
                        <a:pt x="401" y="235"/>
                      </a:lnTo>
                      <a:lnTo>
                        <a:pt x="401" y="226"/>
                      </a:lnTo>
                      <a:lnTo>
                        <a:pt x="410" y="252"/>
                      </a:lnTo>
                      <a:lnTo>
                        <a:pt x="427" y="218"/>
                      </a:lnTo>
                      <a:lnTo>
                        <a:pt x="436" y="209"/>
                      </a:lnTo>
                      <a:lnTo>
                        <a:pt x="445" y="165"/>
                      </a:lnTo>
                      <a:lnTo>
                        <a:pt x="462" y="157"/>
                      </a:lnTo>
                      <a:lnTo>
                        <a:pt x="471" y="139"/>
                      </a:lnTo>
                      <a:lnTo>
                        <a:pt x="453" y="130"/>
                      </a:lnTo>
                      <a:lnTo>
                        <a:pt x="436" y="113"/>
                      </a:lnTo>
                      <a:lnTo>
                        <a:pt x="384" y="148"/>
                      </a:lnTo>
                      <a:lnTo>
                        <a:pt x="366" y="165"/>
                      </a:lnTo>
                      <a:lnTo>
                        <a:pt x="357" y="174"/>
                      </a:lnTo>
                      <a:lnTo>
                        <a:pt x="357" y="165"/>
                      </a:lnTo>
                      <a:lnTo>
                        <a:pt x="331" y="157"/>
                      </a:lnTo>
                      <a:lnTo>
                        <a:pt x="340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9" name="Freeform 334"/>
                <p:cNvSpPr>
                  <a:spLocks/>
                </p:cNvSpPr>
                <p:nvPr/>
              </p:nvSpPr>
              <p:spPr bwMode="auto">
                <a:xfrm>
                  <a:off x="5520089" y="2091469"/>
                  <a:ext cx="504576" cy="540787"/>
                </a:xfrm>
                <a:custGeom>
                  <a:avLst/>
                  <a:gdLst>
                    <a:gd name="T0" fmla="*/ 2147483647 w 471"/>
                    <a:gd name="T1" fmla="*/ 2147483647 h 505"/>
                    <a:gd name="T2" fmla="*/ 2147483647 w 471"/>
                    <a:gd name="T3" fmla="*/ 2147483647 h 505"/>
                    <a:gd name="T4" fmla="*/ 2147483647 w 471"/>
                    <a:gd name="T5" fmla="*/ 2147483647 h 505"/>
                    <a:gd name="T6" fmla="*/ 2147483647 w 471"/>
                    <a:gd name="T7" fmla="*/ 2147483647 h 505"/>
                    <a:gd name="T8" fmla="*/ 2147483647 w 471"/>
                    <a:gd name="T9" fmla="*/ 2147483647 h 505"/>
                    <a:gd name="T10" fmla="*/ 2147483647 w 471"/>
                    <a:gd name="T11" fmla="*/ 2147483647 h 505"/>
                    <a:gd name="T12" fmla="*/ 2147483647 w 471"/>
                    <a:gd name="T13" fmla="*/ 2147483647 h 505"/>
                    <a:gd name="T14" fmla="*/ 2147483647 w 471"/>
                    <a:gd name="T15" fmla="*/ 2147483647 h 505"/>
                    <a:gd name="T16" fmla="*/ 2147483647 w 471"/>
                    <a:gd name="T17" fmla="*/ 2147483647 h 505"/>
                    <a:gd name="T18" fmla="*/ 2147483647 w 471"/>
                    <a:gd name="T19" fmla="*/ 2147483647 h 505"/>
                    <a:gd name="T20" fmla="*/ 2147483647 w 471"/>
                    <a:gd name="T21" fmla="*/ 2147483647 h 505"/>
                    <a:gd name="T22" fmla="*/ 2147483647 w 471"/>
                    <a:gd name="T23" fmla="*/ 2147483647 h 505"/>
                    <a:gd name="T24" fmla="*/ 2147483647 w 471"/>
                    <a:gd name="T25" fmla="*/ 2147483647 h 505"/>
                    <a:gd name="T26" fmla="*/ 2147483647 w 471"/>
                    <a:gd name="T27" fmla="*/ 2147483647 h 505"/>
                    <a:gd name="T28" fmla="*/ 2147483647 w 471"/>
                    <a:gd name="T29" fmla="*/ 2147483647 h 505"/>
                    <a:gd name="T30" fmla="*/ 2147483647 w 471"/>
                    <a:gd name="T31" fmla="*/ 2147483647 h 505"/>
                    <a:gd name="T32" fmla="*/ 2147483647 w 471"/>
                    <a:gd name="T33" fmla="*/ 2147483647 h 505"/>
                    <a:gd name="T34" fmla="*/ 2147483647 w 471"/>
                    <a:gd name="T35" fmla="*/ 2147483647 h 505"/>
                    <a:gd name="T36" fmla="*/ 2147483647 w 471"/>
                    <a:gd name="T37" fmla="*/ 2147483647 h 505"/>
                    <a:gd name="T38" fmla="*/ 2147483647 w 471"/>
                    <a:gd name="T39" fmla="*/ 2147483647 h 505"/>
                    <a:gd name="T40" fmla="*/ 2147483647 w 471"/>
                    <a:gd name="T41" fmla="*/ 2147483647 h 505"/>
                    <a:gd name="T42" fmla="*/ 2147483647 w 471"/>
                    <a:gd name="T43" fmla="*/ 2147483647 h 505"/>
                    <a:gd name="T44" fmla="*/ 2147483647 w 471"/>
                    <a:gd name="T45" fmla="*/ 2147483647 h 505"/>
                    <a:gd name="T46" fmla="*/ 2147483647 w 471"/>
                    <a:gd name="T47" fmla="*/ 2147483647 h 505"/>
                    <a:gd name="T48" fmla="*/ 2147483647 w 471"/>
                    <a:gd name="T49" fmla="*/ 2147483647 h 505"/>
                    <a:gd name="T50" fmla="*/ 2147483647 w 471"/>
                    <a:gd name="T51" fmla="*/ 2147483647 h 505"/>
                    <a:gd name="T52" fmla="*/ 2147483647 w 471"/>
                    <a:gd name="T53" fmla="*/ 2147483647 h 505"/>
                    <a:gd name="T54" fmla="*/ 2147483647 w 471"/>
                    <a:gd name="T55" fmla="*/ 2147483647 h 505"/>
                    <a:gd name="T56" fmla="*/ 2147483647 w 471"/>
                    <a:gd name="T57" fmla="*/ 2147483647 h 505"/>
                    <a:gd name="T58" fmla="*/ 2147483647 w 471"/>
                    <a:gd name="T59" fmla="*/ 2147483647 h 505"/>
                    <a:gd name="T60" fmla="*/ 2147483647 w 471"/>
                    <a:gd name="T61" fmla="*/ 2147483647 h 505"/>
                    <a:gd name="T62" fmla="*/ 2147483647 w 471"/>
                    <a:gd name="T63" fmla="*/ 2147483647 h 505"/>
                    <a:gd name="T64" fmla="*/ 2147483647 w 471"/>
                    <a:gd name="T65" fmla="*/ 2147483647 h 505"/>
                    <a:gd name="T66" fmla="*/ 2147483647 w 471"/>
                    <a:gd name="T67" fmla="*/ 2147483647 h 505"/>
                    <a:gd name="T68" fmla="*/ 2147483647 w 471"/>
                    <a:gd name="T69" fmla="*/ 2147483647 h 505"/>
                    <a:gd name="T70" fmla="*/ 2147483647 w 471"/>
                    <a:gd name="T71" fmla="*/ 2147483647 h 505"/>
                    <a:gd name="T72" fmla="*/ 2147483647 w 471"/>
                    <a:gd name="T73" fmla="*/ 2147483647 h 505"/>
                    <a:gd name="T74" fmla="*/ 2147483647 w 471"/>
                    <a:gd name="T75" fmla="*/ 2147483647 h 505"/>
                    <a:gd name="T76" fmla="*/ 2147483647 w 471"/>
                    <a:gd name="T77" fmla="*/ 2147483647 h 505"/>
                    <a:gd name="T78" fmla="*/ 2147483647 w 471"/>
                    <a:gd name="T79" fmla="*/ 2147483647 h 505"/>
                    <a:gd name="T80" fmla="*/ 2147483647 w 471"/>
                    <a:gd name="T81" fmla="*/ 2147483647 h 50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471"/>
                    <a:gd name="T124" fmla="*/ 0 h 505"/>
                    <a:gd name="T125" fmla="*/ 471 w 471"/>
                    <a:gd name="T126" fmla="*/ 505 h 50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471" h="505">
                      <a:moveTo>
                        <a:pt x="340" y="148"/>
                      </a:moveTo>
                      <a:lnTo>
                        <a:pt x="331" y="139"/>
                      </a:lnTo>
                      <a:lnTo>
                        <a:pt x="314" y="139"/>
                      </a:lnTo>
                      <a:lnTo>
                        <a:pt x="314" y="157"/>
                      </a:lnTo>
                      <a:lnTo>
                        <a:pt x="322" y="183"/>
                      </a:lnTo>
                      <a:lnTo>
                        <a:pt x="279" y="165"/>
                      </a:lnTo>
                      <a:lnTo>
                        <a:pt x="261" y="157"/>
                      </a:lnTo>
                      <a:lnTo>
                        <a:pt x="235" y="157"/>
                      </a:lnTo>
                      <a:lnTo>
                        <a:pt x="227" y="148"/>
                      </a:lnTo>
                      <a:lnTo>
                        <a:pt x="183" y="139"/>
                      </a:lnTo>
                      <a:lnTo>
                        <a:pt x="183" y="96"/>
                      </a:lnTo>
                      <a:lnTo>
                        <a:pt x="157" y="78"/>
                      </a:lnTo>
                      <a:lnTo>
                        <a:pt x="139" y="69"/>
                      </a:lnTo>
                      <a:lnTo>
                        <a:pt x="157" y="52"/>
                      </a:lnTo>
                      <a:lnTo>
                        <a:pt x="148" y="43"/>
                      </a:lnTo>
                      <a:lnTo>
                        <a:pt x="157" y="26"/>
                      </a:lnTo>
                      <a:lnTo>
                        <a:pt x="139" y="0"/>
                      </a:lnTo>
                      <a:lnTo>
                        <a:pt x="105" y="8"/>
                      </a:lnTo>
                      <a:lnTo>
                        <a:pt x="105" y="17"/>
                      </a:lnTo>
                      <a:lnTo>
                        <a:pt x="61" y="26"/>
                      </a:lnTo>
                      <a:lnTo>
                        <a:pt x="61" y="43"/>
                      </a:lnTo>
                      <a:lnTo>
                        <a:pt x="87" y="69"/>
                      </a:lnTo>
                      <a:lnTo>
                        <a:pt x="78" y="78"/>
                      </a:lnTo>
                      <a:lnTo>
                        <a:pt x="78" y="96"/>
                      </a:lnTo>
                      <a:lnTo>
                        <a:pt x="43" y="148"/>
                      </a:lnTo>
                      <a:lnTo>
                        <a:pt x="17" y="157"/>
                      </a:lnTo>
                      <a:lnTo>
                        <a:pt x="52" y="200"/>
                      </a:lnTo>
                      <a:lnTo>
                        <a:pt x="35" y="209"/>
                      </a:lnTo>
                      <a:lnTo>
                        <a:pt x="0" y="218"/>
                      </a:lnTo>
                      <a:lnTo>
                        <a:pt x="9" y="235"/>
                      </a:lnTo>
                      <a:lnTo>
                        <a:pt x="35" y="235"/>
                      </a:lnTo>
                      <a:lnTo>
                        <a:pt x="17" y="244"/>
                      </a:lnTo>
                      <a:lnTo>
                        <a:pt x="35" y="279"/>
                      </a:lnTo>
                      <a:lnTo>
                        <a:pt x="52" y="261"/>
                      </a:lnTo>
                      <a:lnTo>
                        <a:pt x="70" y="244"/>
                      </a:lnTo>
                      <a:lnTo>
                        <a:pt x="78" y="261"/>
                      </a:lnTo>
                      <a:lnTo>
                        <a:pt x="87" y="261"/>
                      </a:lnTo>
                      <a:lnTo>
                        <a:pt x="87" y="340"/>
                      </a:lnTo>
                      <a:lnTo>
                        <a:pt x="113" y="383"/>
                      </a:lnTo>
                      <a:lnTo>
                        <a:pt x="122" y="409"/>
                      </a:lnTo>
                      <a:lnTo>
                        <a:pt x="166" y="488"/>
                      </a:lnTo>
                      <a:lnTo>
                        <a:pt x="183" y="505"/>
                      </a:lnTo>
                      <a:lnTo>
                        <a:pt x="209" y="488"/>
                      </a:lnTo>
                      <a:lnTo>
                        <a:pt x="200" y="479"/>
                      </a:lnTo>
                      <a:lnTo>
                        <a:pt x="209" y="470"/>
                      </a:lnTo>
                      <a:lnTo>
                        <a:pt x="209" y="453"/>
                      </a:lnTo>
                      <a:lnTo>
                        <a:pt x="209" y="444"/>
                      </a:lnTo>
                      <a:lnTo>
                        <a:pt x="227" y="409"/>
                      </a:lnTo>
                      <a:lnTo>
                        <a:pt x="218" y="401"/>
                      </a:lnTo>
                      <a:lnTo>
                        <a:pt x="218" y="366"/>
                      </a:lnTo>
                      <a:lnTo>
                        <a:pt x="235" y="357"/>
                      </a:lnTo>
                      <a:lnTo>
                        <a:pt x="279" y="313"/>
                      </a:lnTo>
                      <a:lnTo>
                        <a:pt x="279" y="305"/>
                      </a:lnTo>
                      <a:lnTo>
                        <a:pt x="314" y="279"/>
                      </a:lnTo>
                      <a:lnTo>
                        <a:pt x="314" y="270"/>
                      </a:lnTo>
                      <a:lnTo>
                        <a:pt x="331" y="261"/>
                      </a:lnTo>
                      <a:lnTo>
                        <a:pt x="357" y="261"/>
                      </a:lnTo>
                      <a:lnTo>
                        <a:pt x="349" y="226"/>
                      </a:lnTo>
                      <a:lnTo>
                        <a:pt x="331" y="218"/>
                      </a:lnTo>
                      <a:lnTo>
                        <a:pt x="340" y="200"/>
                      </a:lnTo>
                      <a:lnTo>
                        <a:pt x="331" y="191"/>
                      </a:lnTo>
                      <a:lnTo>
                        <a:pt x="331" y="183"/>
                      </a:lnTo>
                      <a:lnTo>
                        <a:pt x="349" y="183"/>
                      </a:lnTo>
                      <a:lnTo>
                        <a:pt x="357" y="200"/>
                      </a:lnTo>
                      <a:lnTo>
                        <a:pt x="401" y="200"/>
                      </a:lnTo>
                      <a:lnTo>
                        <a:pt x="384" y="226"/>
                      </a:lnTo>
                      <a:lnTo>
                        <a:pt x="401" y="235"/>
                      </a:lnTo>
                      <a:lnTo>
                        <a:pt x="401" y="226"/>
                      </a:lnTo>
                      <a:lnTo>
                        <a:pt x="410" y="252"/>
                      </a:lnTo>
                      <a:lnTo>
                        <a:pt x="427" y="218"/>
                      </a:lnTo>
                      <a:lnTo>
                        <a:pt x="436" y="209"/>
                      </a:lnTo>
                      <a:lnTo>
                        <a:pt x="445" y="165"/>
                      </a:lnTo>
                      <a:lnTo>
                        <a:pt x="462" y="157"/>
                      </a:lnTo>
                      <a:lnTo>
                        <a:pt x="471" y="139"/>
                      </a:lnTo>
                      <a:lnTo>
                        <a:pt x="453" y="130"/>
                      </a:lnTo>
                      <a:lnTo>
                        <a:pt x="436" y="113"/>
                      </a:lnTo>
                      <a:lnTo>
                        <a:pt x="384" y="148"/>
                      </a:lnTo>
                      <a:lnTo>
                        <a:pt x="366" y="165"/>
                      </a:lnTo>
                      <a:lnTo>
                        <a:pt x="357" y="174"/>
                      </a:lnTo>
                      <a:lnTo>
                        <a:pt x="357" y="165"/>
                      </a:lnTo>
                      <a:lnTo>
                        <a:pt x="331" y="157"/>
                      </a:lnTo>
                      <a:lnTo>
                        <a:pt x="340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0" name="Freeform 335"/>
                <p:cNvSpPr>
                  <a:spLocks/>
                </p:cNvSpPr>
                <p:nvPr/>
              </p:nvSpPr>
              <p:spPr bwMode="auto">
                <a:xfrm>
                  <a:off x="6725286" y="1885863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2147483647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8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1" name="Freeform 336"/>
                <p:cNvSpPr>
                  <a:spLocks/>
                </p:cNvSpPr>
                <p:nvPr/>
              </p:nvSpPr>
              <p:spPr bwMode="auto">
                <a:xfrm>
                  <a:off x="6725286" y="1885863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2147483647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8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2" name="Freeform 337"/>
                <p:cNvSpPr>
                  <a:spLocks/>
                </p:cNvSpPr>
                <p:nvPr/>
              </p:nvSpPr>
              <p:spPr bwMode="auto">
                <a:xfrm>
                  <a:off x="6696362" y="1895501"/>
                  <a:ext cx="19283" cy="18205"/>
                </a:xfrm>
                <a:custGeom>
                  <a:avLst/>
                  <a:gdLst>
                    <a:gd name="T0" fmla="*/ 0 w 18"/>
                    <a:gd name="T1" fmla="*/ 2147483647 h 17"/>
                    <a:gd name="T2" fmla="*/ 2147483647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8"/>
                      </a:moveTo>
                      <a:lnTo>
                        <a:pt x="9" y="17"/>
                      </a:lnTo>
                      <a:lnTo>
                        <a:pt x="1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3" name="Freeform 338"/>
                <p:cNvSpPr>
                  <a:spLocks/>
                </p:cNvSpPr>
                <p:nvPr/>
              </p:nvSpPr>
              <p:spPr bwMode="auto">
                <a:xfrm>
                  <a:off x="6696362" y="1895501"/>
                  <a:ext cx="19283" cy="18205"/>
                </a:xfrm>
                <a:custGeom>
                  <a:avLst/>
                  <a:gdLst>
                    <a:gd name="T0" fmla="*/ 0 w 18"/>
                    <a:gd name="T1" fmla="*/ 2147483647 h 17"/>
                    <a:gd name="T2" fmla="*/ 2147483647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8"/>
                      </a:moveTo>
                      <a:lnTo>
                        <a:pt x="9" y="17"/>
                      </a:lnTo>
                      <a:lnTo>
                        <a:pt x="1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4" name="Freeform 339"/>
                <p:cNvSpPr>
                  <a:spLocks/>
                </p:cNvSpPr>
                <p:nvPr/>
              </p:nvSpPr>
              <p:spPr bwMode="auto">
                <a:xfrm>
                  <a:off x="6603159" y="1895501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2147483647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0 h 78"/>
                    <a:gd name="T16" fmla="*/ 0 w 96"/>
                    <a:gd name="T17" fmla="*/ 0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2147483647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2147483647 w 96"/>
                    <a:gd name="T45" fmla="*/ 2147483647 h 78"/>
                    <a:gd name="T46" fmla="*/ 2147483647 w 96"/>
                    <a:gd name="T47" fmla="*/ 2147483647 h 78"/>
                    <a:gd name="T48" fmla="*/ 2147483647 w 96"/>
                    <a:gd name="T49" fmla="*/ 2147483647 h 78"/>
                    <a:gd name="T50" fmla="*/ 2147483647 w 96"/>
                    <a:gd name="T51" fmla="*/ 2147483647 h 78"/>
                    <a:gd name="T52" fmla="*/ 2147483647 w 96"/>
                    <a:gd name="T53" fmla="*/ 2147483647 h 78"/>
                    <a:gd name="T54" fmla="*/ 2147483647 w 96"/>
                    <a:gd name="T55" fmla="*/ 2147483647 h 78"/>
                    <a:gd name="T56" fmla="*/ 2147483647 w 96"/>
                    <a:gd name="T57" fmla="*/ 2147483647 h 78"/>
                    <a:gd name="T58" fmla="*/ 2147483647 w 96"/>
                    <a:gd name="T59" fmla="*/ 2147483647 h 7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96"/>
                    <a:gd name="T91" fmla="*/ 0 h 78"/>
                    <a:gd name="T92" fmla="*/ 96 w 96"/>
                    <a:gd name="T93" fmla="*/ 78 h 78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96" h="78">
                      <a:moveTo>
                        <a:pt x="96" y="43"/>
                      </a:moveTo>
                      <a:lnTo>
                        <a:pt x="79" y="34"/>
                      </a:lnTo>
                      <a:lnTo>
                        <a:pt x="87" y="17"/>
                      </a:lnTo>
                      <a:lnTo>
                        <a:pt x="70" y="26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26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lnTo>
                        <a:pt x="18" y="34"/>
                      </a:lnTo>
                      <a:lnTo>
                        <a:pt x="26" y="34"/>
                      </a:lnTo>
                      <a:lnTo>
                        <a:pt x="26" y="43"/>
                      </a:lnTo>
                      <a:lnTo>
                        <a:pt x="9" y="43"/>
                      </a:lnTo>
                      <a:lnTo>
                        <a:pt x="9" y="61"/>
                      </a:lnTo>
                      <a:lnTo>
                        <a:pt x="18" y="69"/>
                      </a:lnTo>
                      <a:lnTo>
                        <a:pt x="18" y="78"/>
                      </a:lnTo>
                      <a:lnTo>
                        <a:pt x="44" y="69"/>
                      </a:lnTo>
                      <a:lnTo>
                        <a:pt x="26" y="61"/>
                      </a:lnTo>
                      <a:lnTo>
                        <a:pt x="26" y="52"/>
                      </a:lnTo>
                      <a:lnTo>
                        <a:pt x="35" y="52"/>
                      </a:lnTo>
                      <a:lnTo>
                        <a:pt x="44" y="52"/>
                      </a:lnTo>
                      <a:lnTo>
                        <a:pt x="53" y="52"/>
                      </a:lnTo>
                      <a:lnTo>
                        <a:pt x="53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70" y="43"/>
                      </a:lnTo>
                      <a:lnTo>
                        <a:pt x="9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5" name="Freeform 340"/>
                <p:cNvSpPr>
                  <a:spLocks/>
                </p:cNvSpPr>
                <p:nvPr/>
              </p:nvSpPr>
              <p:spPr bwMode="auto">
                <a:xfrm>
                  <a:off x="6603159" y="1895501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2147483647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0 h 78"/>
                    <a:gd name="T16" fmla="*/ 0 w 96"/>
                    <a:gd name="T17" fmla="*/ 0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2147483647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2147483647 w 96"/>
                    <a:gd name="T45" fmla="*/ 2147483647 h 78"/>
                    <a:gd name="T46" fmla="*/ 2147483647 w 96"/>
                    <a:gd name="T47" fmla="*/ 2147483647 h 78"/>
                    <a:gd name="T48" fmla="*/ 2147483647 w 96"/>
                    <a:gd name="T49" fmla="*/ 2147483647 h 78"/>
                    <a:gd name="T50" fmla="*/ 2147483647 w 96"/>
                    <a:gd name="T51" fmla="*/ 2147483647 h 78"/>
                    <a:gd name="T52" fmla="*/ 2147483647 w 96"/>
                    <a:gd name="T53" fmla="*/ 2147483647 h 78"/>
                    <a:gd name="T54" fmla="*/ 2147483647 w 96"/>
                    <a:gd name="T55" fmla="*/ 2147483647 h 78"/>
                    <a:gd name="T56" fmla="*/ 2147483647 w 96"/>
                    <a:gd name="T57" fmla="*/ 2147483647 h 78"/>
                    <a:gd name="T58" fmla="*/ 2147483647 w 96"/>
                    <a:gd name="T59" fmla="*/ 2147483647 h 7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96"/>
                    <a:gd name="T91" fmla="*/ 0 h 78"/>
                    <a:gd name="T92" fmla="*/ 96 w 96"/>
                    <a:gd name="T93" fmla="*/ 78 h 78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96" h="78">
                      <a:moveTo>
                        <a:pt x="96" y="43"/>
                      </a:moveTo>
                      <a:lnTo>
                        <a:pt x="79" y="34"/>
                      </a:lnTo>
                      <a:lnTo>
                        <a:pt x="87" y="17"/>
                      </a:lnTo>
                      <a:lnTo>
                        <a:pt x="70" y="26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26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lnTo>
                        <a:pt x="18" y="34"/>
                      </a:lnTo>
                      <a:lnTo>
                        <a:pt x="26" y="34"/>
                      </a:lnTo>
                      <a:lnTo>
                        <a:pt x="26" y="43"/>
                      </a:lnTo>
                      <a:lnTo>
                        <a:pt x="9" y="43"/>
                      </a:lnTo>
                      <a:lnTo>
                        <a:pt x="9" y="61"/>
                      </a:lnTo>
                      <a:lnTo>
                        <a:pt x="18" y="69"/>
                      </a:lnTo>
                      <a:lnTo>
                        <a:pt x="18" y="78"/>
                      </a:lnTo>
                      <a:lnTo>
                        <a:pt x="44" y="69"/>
                      </a:lnTo>
                      <a:lnTo>
                        <a:pt x="26" y="61"/>
                      </a:lnTo>
                      <a:lnTo>
                        <a:pt x="26" y="52"/>
                      </a:lnTo>
                      <a:lnTo>
                        <a:pt x="35" y="52"/>
                      </a:lnTo>
                      <a:lnTo>
                        <a:pt x="44" y="52"/>
                      </a:lnTo>
                      <a:lnTo>
                        <a:pt x="53" y="52"/>
                      </a:lnTo>
                      <a:lnTo>
                        <a:pt x="53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70" y="43"/>
                      </a:lnTo>
                      <a:lnTo>
                        <a:pt x="9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6" name="Freeform 341"/>
                <p:cNvSpPr>
                  <a:spLocks/>
                </p:cNvSpPr>
                <p:nvPr/>
              </p:nvSpPr>
              <p:spPr bwMode="auto">
                <a:xfrm>
                  <a:off x="6557094" y="1969390"/>
                  <a:ext cx="148909" cy="158488"/>
                </a:xfrm>
                <a:custGeom>
                  <a:avLst/>
                  <a:gdLst>
                    <a:gd name="T0" fmla="*/ 2147483647 w 139"/>
                    <a:gd name="T1" fmla="*/ 2147483647 h 148"/>
                    <a:gd name="T2" fmla="*/ 2147483647 w 139"/>
                    <a:gd name="T3" fmla="*/ 2147483647 h 148"/>
                    <a:gd name="T4" fmla="*/ 2147483647 w 139"/>
                    <a:gd name="T5" fmla="*/ 2147483647 h 148"/>
                    <a:gd name="T6" fmla="*/ 2147483647 w 139"/>
                    <a:gd name="T7" fmla="*/ 2147483647 h 148"/>
                    <a:gd name="T8" fmla="*/ 2147483647 w 139"/>
                    <a:gd name="T9" fmla="*/ 2147483647 h 148"/>
                    <a:gd name="T10" fmla="*/ 2147483647 w 139"/>
                    <a:gd name="T11" fmla="*/ 2147483647 h 148"/>
                    <a:gd name="T12" fmla="*/ 2147483647 w 139"/>
                    <a:gd name="T13" fmla="*/ 0 h 148"/>
                    <a:gd name="T14" fmla="*/ 2147483647 w 139"/>
                    <a:gd name="T15" fmla="*/ 2147483647 h 148"/>
                    <a:gd name="T16" fmla="*/ 2147483647 w 139"/>
                    <a:gd name="T17" fmla="*/ 2147483647 h 148"/>
                    <a:gd name="T18" fmla="*/ 2147483647 w 139"/>
                    <a:gd name="T19" fmla="*/ 2147483647 h 148"/>
                    <a:gd name="T20" fmla="*/ 2147483647 w 139"/>
                    <a:gd name="T21" fmla="*/ 2147483647 h 148"/>
                    <a:gd name="T22" fmla="*/ 2147483647 w 139"/>
                    <a:gd name="T23" fmla="*/ 2147483647 h 148"/>
                    <a:gd name="T24" fmla="*/ 2147483647 w 139"/>
                    <a:gd name="T25" fmla="*/ 2147483647 h 148"/>
                    <a:gd name="T26" fmla="*/ 2147483647 w 139"/>
                    <a:gd name="T27" fmla="*/ 2147483647 h 148"/>
                    <a:gd name="T28" fmla="*/ 2147483647 w 139"/>
                    <a:gd name="T29" fmla="*/ 2147483647 h 148"/>
                    <a:gd name="T30" fmla="*/ 2147483647 w 139"/>
                    <a:gd name="T31" fmla="*/ 2147483647 h 148"/>
                    <a:gd name="T32" fmla="*/ 2147483647 w 139"/>
                    <a:gd name="T33" fmla="*/ 2147483647 h 148"/>
                    <a:gd name="T34" fmla="*/ 2147483647 w 139"/>
                    <a:gd name="T35" fmla="*/ 2147483647 h 148"/>
                    <a:gd name="T36" fmla="*/ 2147483647 w 139"/>
                    <a:gd name="T37" fmla="*/ 2147483647 h 148"/>
                    <a:gd name="T38" fmla="*/ 2147483647 w 139"/>
                    <a:gd name="T39" fmla="*/ 2147483647 h 148"/>
                    <a:gd name="T40" fmla="*/ 2147483647 w 139"/>
                    <a:gd name="T41" fmla="*/ 2147483647 h 148"/>
                    <a:gd name="T42" fmla="*/ 2147483647 w 139"/>
                    <a:gd name="T43" fmla="*/ 2147483647 h 148"/>
                    <a:gd name="T44" fmla="*/ 0 w 139"/>
                    <a:gd name="T45" fmla="*/ 2147483647 h 148"/>
                    <a:gd name="T46" fmla="*/ 0 w 139"/>
                    <a:gd name="T47" fmla="*/ 2147483647 h 148"/>
                    <a:gd name="T48" fmla="*/ 2147483647 w 139"/>
                    <a:gd name="T49" fmla="*/ 2147483647 h 148"/>
                    <a:gd name="T50" fmla="*/ 2147483647 w 139"/>
                    <a:gd name="T51" fmla="*/ 2147483647 h 148"/>
                    <a:gd name="T52" fmla="*/ 2147483647 w 139"/>
                    <a:gd name="T53" fmla="*/ 2147483647 h 148"/>
                    <a:gd name="T54" fmla="*/ 2147483647 w 139"/>
                    <a:gd name="T55" fmla="*/ 2147483647 h 148"/>
                    <a:gd name="T56" fmla="*/ 2147483647 w 139"/>
                    <a:gd name="T57" fmla="*/ 2147483647 h 148"/>
                    <a:gd name="T58" fmla="*/ 2147483647 w 139"/>
                    <a:gd name="T59" fmla="*/ 2147483647 h 148"/>
                    <a:gd name="T60" fmla="*/ 2147483647 w 139"/>
                    <a:gd name="T61" fmla="*/ 2147483647 h 148"/>
                    <a:gd name="T62" fmla="*/ 2147483647 w 139"/>
                    <a:gd name="T63" fmla="*/ 2147483647 h 148"/>
                    <a:gd name="T64" fmla="*/ 2147483647 w 139"/>
                    <a:gd name="T65" fmla="*/ 2147483647 h 148"/>
                    <a:gd name="T66" fmla="*/ 2147483647 w 139"/>
                    <a:gd name="T67" fmla="*/ 2147483647 h 148"/>
                    <a:gd name="T68" fmla="*/ 2147483647 w 139"/>
                    <a:gd name="T69" fmla="*/ 2147483647 h 148"/>
                    <a:gd name="T70" fmla="*/ 2147483647 w 139"/>
                    <a:gd name="T71" fmla="*/ 2147483647 h 148"/>
                    <a:gd name="T72" fmla="*/ 2147483647 w 139"/>
                    <a:gd name="T73" fmla="*/ 2147483647 h 148"/>
                    <a:gd name="T74" fmla="*/ 2147483647 w 139"/>
                    <a:gd name="T75" fmla="*/ 2147483647 h 148"/>
                    <a:gd name="T76" fmla="*/ 2147483647 w 139"/>
                    <a:gd name="T77" fmla="*/ 2147483647 h 148"/>
                    <a:gd name="T78" fmla="*/ 2147483647 w 139"/>
                    <a:gd name="T79" fmla="*/ 2147483647 h 148"/>
                    <a:gd name="T80" fmla="*/ 2147483647 w 139"/>
                    <a:gd name="T81" fmla="*/ 2147483647 h 148"/>
                    <a:gd name="T82" fmla="*/ 2147483647 w 139"/>
                    <a:gd name="T83" fmla="*/ 2147483647 h 148"/>
                    <a:gd name="T84" fmla="*/ 2147483647 w 139"/>
                    <a:gd name="T85" fmla="*/ 2147483647 h 14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39"/>
                    <a:gd name="T130" fmla="*/ 0 h 148"/>
                    <a:gd name="T131" fmla="*/ 139 w 139"/>
                    <a:gd name="T132" fmla="*/ 148 h 14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39" h="148">
                      <a:moveTo>
                        <a:pt x="130" y="70"/>
                      </a:moveTo>
                      <a:lnTo>
                        <a:pt x="113" y="61"/>
                      </a:lnTo>
                      <a:lnTo>
                        <a:pt x="122" y="53"/>
                      </a:lnTo>
                      <a:lnTo>
                        <a:pt x="122" y="44"/>
                      </a:lnTo>
                      <a:lnTo>
                        <a:pt x="122" y="26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87" y="9"/>
                      </a:lnTo>
                      <a:lnTo>
                        <a:pt x="78" y="18"/>
                      </a:lnTo>
                      <a:lnTo>
                        <a:pt x="87" y="44"/>
                      </a:lnTo>
                      <a:lnTo>
                        <a:pt x="96" y="70"/>
                      </a:lnTo>
                      <a:lnTo>
                        <a:pt x="87" y="61"/>
                      </a:lnTo>
                      <a:lnTo>
                        <a:pt x="87" y="70"/>
                      </a:lnTo>
                      <a:lnTo>
                        <a:pt x="69" y="79"/>
                      </a:lnTo>
                      <a:lnTo>
                        <a:pt x="69" y="96"/>
                      </a:lnTo>
                      <a:lnTo>
                        <a:pt x="61" y="105"/>
                      </a:lnTo>
                      <a:lnTo>
                        <a:pt x="69" y="105"/>
                      </a:lnTo>
                      <a:lnTo>
                        <a:pt x="61" y="114"/>
                      </a:lnTo>
                      <a:lnTo>
                        <a:pt x="52" y="105"/>
                      </a:lnTo>
                      <a:lnTo>
                        <a:pt x="26" y="105"/>
                      </a:lnTo>
                      <a:lnTo>
                        <a:pt x="8" y="122"/>
                      </a:lnTo>
                      <a:lnTo>
                        <a:pt x="0" y="122"/>
                      </a:lnTo>
                      <a:lnTo>
                        <a:pt x="0" y="140"/>
                      </a:lnTo>
                      <a:lnTo>
                        <a:pt x="17" y="140"/>
                      </a:lnTo>
                      <a:lnTo>
                        <a:pt x="52" y="122"/>
                      </a:lnTo>
                      <a:lnTo>
                        <a:pt x="61" y="131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87" y="122"/>
                      </a:lnTo>
                      <a:lnTo>
                        <a:pt x="96" y="122"/>
                      </a:lnTo>
                      <a:lnTo>
                        <a:pt x="96" y="131"/>
                      </a:lnTo>
                      <a:lnTo>
                        <a:pt x="113" y="131"/>
                      </a:lnTo>
                      <a:lnTo>
                        <a:pt x="113" y="122"/>
                      </a:lnTo>
                      <a:lnTo>
                        <a:pt x="122" y="131"/>
                      </a:lnTo>
                      <a:lnTo>
                        <a:pt x="122" y="114"/>
                      </a:lnTo>
                      <a:lnTo>
                        <a:pt x="130" y="105"/>
                      </a:lnTo>
                      <a:lnTo>
                        <a:pt x="139" y="122"/>
                      </a:lnTo>
                      <a:lnTo>
                        <a:pt x="139" y="105"/>
                      </a:lnTo>
                      <a:lnTo>
                        <a:pt x="130" y="96"/>
                      </a:lnTo>
                      <a:lnTo>
                        <a:pt x="130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7" name="Freeform 342"/>
                <p:cNvSpPr>
                  <a:spLocks/>
                </p:cNvSpPr>
                <p:nvPr/>
              </p:nvSpPr>
              <p:spPr bwMode="auto">
                <a:xfrm>
                  <a:off x="6557094" y="1969390"/>
                  <a:ext cx="148909" cy="158488"/>
                </a:xfrm>
                <a:custGeom>
                  <a:avLst/>
                  <a:gdLst>
                    <a:gd name="T0" fmla="*/ 2147483647 w 139"/>
                    <a:gd name="T1" fmla="*/ 2147483647 h 148"/>
                    <a:gd name="T2" fmla="*/ 2147483647 w 139"/>
                    <a:gd name="T3" fmla="*/ 2147483647 h 148"/>
                    <a:gd name="T4" fmla="*/ 2147483647 w 139"/>
                    <a:gd name="T5" fmla="*/ 2147483647 h 148"/>
                    <a:gd name="T6" fmla="*/ 2147483647 w 139"/>
                    <a:gd name="T7" fmla="*/ 2147483647 h 148"/>
                    <a:gd name="T8" fmla="*/ 2147483647 w 139"/>
                    <a:gd name="T9" fmla="*/ 2147483647 h 148"/>
                    <a:gd name="T10" fmla="*/ 2147483647 w 139"/>
                    <a:gd name="T11" fmla="*/ 2147483647 h 148"/>
                    <a:gd name="T12" fmla="*/ 2147483647 w 139"/>
                    <a:gd name="T13" fmla="*/ 0 h 148"/>
                    <a:gd name="T14" fmla="*/ 2147483647 w 139"/>
                    <a:gd name="T15" fmla="*/ 2147483647 h 148"/>
                    <a:gd name="T16" fmla="*/ 2147483647 w 139"/>
                    <a:gd name="T17" fmla="*/ 2147483647 h 148"/>
                    <a:gd name="T18" fmla="*/ 2147483647 w 139"/>
                    <a:gd name="T19" fmla="*/ 2147483647 h 148"/>
                    <a:gd name="T20" fmla="*/ 2147483647 w 139"/>
                    <a:gd name="T21" fmla="*/ 2147483647 h 148"/>
                    <a:gd name="T22" fmla="*/ 2147483647 w 139"/>
                    <a:gd name="T23" fmla="*/ 2147483647 h 148"/>
                    <a:gd name="T24" fmla="*/ 2147483647 w 139"/>
                    <a:gd name="T25" fmla="*/ 2147483647 h 148"/>
                    <a:gd name="T26" fmla="*/ 2147483647 w 139"/>
                    <a:gd name="T27" fmla="*/ 2147483647 h 148"/>
                    <a:gd name="T28" fmla="*/ 2147483647 w 139"/>
                    <a:gd name="T29" fmla="*/ 2147483647 h 148"/>
                    <a:gd name="T30" fmla="*/ 2147483647 w 139"/>
                    <a:gd name="T31" fmla="*/ 2147483647 h 148"/>
                    <a:gd name="T32" fmla="*/ 2147483647 w 139"/>
                    <a:gd name="T33" fmla="*/ 2147483647 h 148"/>
                    <a:gd name="T34" fmla="*/ 2147483647 w 139"/>
                    <a:gd name="T35" fmla="*/ 2147483647 h 148"/>
                    <a:gd name="T36" fmla="*/ 2147483647 w 139"/>
                    <a:gd name="T37" fmla="*/ 2147483647 h 148"/>
                    <a:gd name="T38" fmla="*/ 2147483647 w 139"/>
                    <a:gd name="T39" fmla="*/ 2147483647 h 148"/>
                    <a:gd name="T40" fmla="*/ 2147483647 w 139"/>
                    <a:gd name="T41" fmla="*/ 2147483647 h 148"/>
                    <a:gd name="T42" fmla="*/ 2147483647 w 139"/>
                    <a:gd name="T43" fmla="*/ 2147483647 h 148"/>
                    <a:gd name="T44" fmla="*/ 0 w 139"/>
                    <a:gd name="T45" fmla="*/ 2147483647 h 148"/>
                    <a:gd name="T46" fmla="*/ 0 w 139"/>
                    <a:gd name="T47" fmla="*/ 2147483647 h 148"/>
                    <a:gd name="T48" fmla="*/ 2147483647 w 139"/>
                    <a:gd name="T49" fmla="*/ 2147483647 h 148"/>
                    <a:gd name="T50" fmla="*/ 2147483647 w 139"/>
                    <a:gd name="T51" fmla="*/ 2147483647 h 148"/>
                    <a:gd name="T52" fmla="*/ 2147483647 w 139"/>
                    <a:gd name="T53" fmla="*/ 2147483647 h 148"/>
                    <a:gd name="T54" fmla="*/ 2147483647 w 139"/>
                    <a:gd name="T55" fmla="*/ 2147483647 h 148"/>
                    <a:gd name="T56" fmla="*/ 2147483647 w 139"/>
                    <a:gd name="T57" fmla="*/ 2147483647 h 148"/>
                    <a:gd name="T58" fmla="*/ 2147483647 w 139"/>
                    <a:gd name="T59" fmla="*/ 2147483647 h 148"/>
                    <a:gd name="T60" fmla="*/ 2147483647 w 139"/>
                    <a:gd name="T61" fmla="*/ 2147483647 h 148"/>
                    <a:gd name="T62" fmla="*/ 2147483647 w 139"/>
                    <a:gd name="T63" fmla="*/ 2147483647 h 148"/>
                    <a:gd name="T64" fmla="*/ 2147483647 w 139"/>
                    <a:gd name="T65" fmla="*/ 2147483647 h 148"/>
                    <a:gd name="T66" fmla="*/ 2147483647 w 139"/>
                    <a:gd name="T67" fmla="*/ 2147483647 h 148"/>
                    <a:gd name="T68" fmla="*/ 2147483647 w 139"/>
                    <a:gd name="T69" fmla="*/ 2147483647 h 148"/>
                    <a:gd name="T70" fmla="*/ 2147483647 w 139"/>
                    <a:gd name="T71" fmla="*/ 2147483647 h 148"/>
                    <a:gd name="T72" fmla="*/ 2147483647 w 139"/>
                    <a:gd name="T73" fmla="*/ 2147483647 h 148"/>
                    <a:gd name="T74" fmla="*/ 2147483647 w 139"/>
                    <a:gd name="T75" fmla="*/ 2147483647 h 148"/>
                    <a:gd name="T76" fmla="*/ 2147483647 w 139"/>
                    <a:gd name="T77" fmla="*/ 2147483647 h 148"/>
                    <a:gd name="T78" fmla="*/ 2147483647 w 139"/>
                    <a:gd name="T79" fmla="*/ 2147483647 h 148"/>
                    <a:gd name="T80" fmla="*/ 2147483647 w 139"/>
                    <a:gd name="T81" fmla="*/ 2147483647 h 148"/>
                    <a:gd name="T82" fmla="*/ 2147483647 w 139"/>
                    <a:gd name="T83" fmla="*/ 2147483647 h 148"/>
                    <a:gd name="T84" fmla="*/ 2147483647 w 139"/>
                    <a:gd name="T85" fmla="*/ 2147483647 h 14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39"/>
                    <a:gd name="T130" fmla="*/ 0 h 148"/>
                    <a:gd name="T131" fmla="*/ 139 w 139"/>
                    <a:gd name="T132" fmla="*/ 148 h 14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39" h="148">
                      <a:moveTo>
                        <a:pt x="130" y="70"/>
                      </a:moveTo>
                      <a:lnTo>
                        <a:pt x="113" y="61"/>
                      </a:lnTo>
                      <a:lnTo>
                        <a:pt x="122" y="53"/>
                      </a:lnTo>
                      <a:lnTo>
                        <a:pt x="122" y="44"/>
                      </a:lnTo>
                      <a:lnTo>
                        <a:pt x="122" y="26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87" y="9"/>
                      </a:lnTo>
                      <a:lnTo>
                        <a:pt x="78" y="18"/>
                      </a:lnTo>
                      <a:lnTo>
                        <a:pt x="87" y="44"/>
                      </a:lnTo>
                      <a:lnTo>
                        <a:pt x="96" y="70"/>
                      </a:lnTo>
                      <a:lnTo>
                        <a:pt x="87" y="61"/>
                      </a:lnTo>
                      <a:lnTo>
                        <a:pt x="87" y="70"/>
                      </a:lnTo>
                      <a:lnTo>
                        <a:pt x="69" y="79"/>
                      </a:lnTo>
                      <a:lnTo>
                        <a:pt x="69" y="96"/>
                      </a:lnTo>
                      <a:lnTo>
                        <a:pt x="61" y="105"/>
                      </a:lnTo>
                      <a:lnTo>
                        <a:pt x="69" y="105"/>
                      </a:lnTo>
                      <a:lnTo>
                        <a:pt x="61" y="114"/>
                      </a:lnTo>
                      <a:lnTo>
                        <a:pt x="52" y="105"/>
                      </a:lnTo>
                      <a:lnTo>
                        <a:pt x="26" y="105"/>
                      </a:lnTo>
                      <a:lnTo>
                        <a:pt x="8" y="122"/>
                      </a:lnTo>
                      <a:lnTo>
                        <a:pt x="0" y="122"/>
                      </a:lnTo>
                      <a:lnTo>
                        <a:pt x="0" y="140"/>
                      </a:lnTo>
                      <a:lnTo>
                        <a:pt x="17" y="140"/>
                      </a:lnTo>
                      <a:lnTo>
                        <a:pt x="52" y="122"/>
                      </a:lnTo>
                      <a:lnTo>
                        <a:pt x="61" y="131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87" y="122"/>
                      </a:lnTo>
                      <a:lnTo>
                        <a:pt x="96" y="122"/>
                      </a:lnTo>
                      <a:lnTo>
                        <a:pt x="96" y="131"/>
                      </a:lnTo>
                      <a:lnTo>
                        <a:pt x="113" y="131"/>
                      </a:lnTo>
                      <a:lnTo>
                        <a:pt x="113" y="122"/>
                      </a:lnTo>
                      <a:lnTo>
                        <a:pt x="122" y="131"/>
                      </a:lnTo>
                      <a:lnTo>
                        <a:pt x="122" y="114"/>
                      </a:lnTo>
                      <a:lnTo>
                        <a:pt x="130" y="105"/>
                      </a:lnTo>
                      <a:lnTo>
                        <a:pt x="139" y="122"/>
                      </a:lnTo>
                      <a:lnTo>
                        <a:pt x="139" y="105"/>
                      </a:lnTo>
                      <a:lnTo>
                        <a:pt x="130" y="96"/>
                      </a:lnTo>
                      <a:lnTo>
                        <a:pt x="130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8" name="Freeform 343"/>
                <p:cNvSpPr>
                  <a:spLocks/>
                </p:cNvSpPr>
                <p:nvPr/>
              </p:nvSpPr>
              <p:spPr bwMode="auto">
                <a:xfrm>
                  <a:off x="6575306" y="2119311"/>
                  <a:ext cx="47137" cy="27842"/>
                </a:xfrm>
                <a:custGeom>
                  <a:avLst/>
                  <a:gdLst>
                    <a:gd name="T0" fmla="*/ 2147483647 w 44"/>
                    <a:gd name="T1" fmla="*/ 0 h 26"/>
                    <a:gd name="T2" fmla="*/ 2147483647 w 44"/>
                    <a:gd name="T3" fmla="*/ 0 h 26"/>
                    <a:gd name="T4" fmla="*/ 2147483647 w 44"/>
                    <a:gd name="T5" fmla="*/ 0 h 26"/>
                    <a:gd name="T6" fmla="*/ 2147483647 w 44"/>
                    <a:gd name="T7" fmla="*/ 0 h 26"/>
                    <a:gd name="T8" fmla="*/ 0 w 44"/>
                    <a:gd name="T9" fmla="*/ 2147483647 h 26"/>
                    <a:gd name="T10" fmla="*/ 2147483647 w 44"/>
                    <a:gd name="T11" fmla="*/ 2147483647 h 26"/>
                    <a:gd name="T12" fmla="*/ 2147483647 w 44"/>
                    <a:gd name="T13" fmla="*/ 2147483647 h 26"/>
                    <a:gd name="T14" fmla="*/ 2147483647 w 44"/>
                    <a:gd name="T15" fmla="*/ 2147483647 h 26"/>
                    <a:gd name="T16" fmla="*/ 2147483647 w 44"/>
                    <a:gd name="T17" fmla="*/ 0 h 26"/>
                    <a:gd name="T18" fmla="*/ 2147483647 w 44"/>
                    <a:gd name="T19" fmla="*/ 0 h 2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4"/>
                    <a:gd name="T31" fmla="*/ 0 h 26"/>
                    <a:gd name="T32" fmla="*/ 44 w 44"/>
                    <a:gd name="T33" fmla="*/ 26 h 2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4" h="26">
                      <a:moveTo>
                        <a:pt x="35" y="0"/>
                      </a:moveTo>
                      <a:lnTo>
                        <a:pt x="26" y="0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44" y="8"/>
                      </a:lnTo>
                      <a:lnTo>
                        <a:pt x="44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9" name="Freeform 344"/>
                <p:cNvSpPr>
                  <a:spLocks/>
                </p:cNvSpPr>
                <p:nvPr/>
              </p:nvSpPr>
              <p:spPr bwMode="auto">
                <a:xfrm>
                  <a:off x="6575306" y="2119311"/>
                  <a:ext cx="47137" cy="27842"/>
                </a:xfrm>
                <a:custGeom>
                  <a:avLst/>
                  <a:gdLst>
                    <a:gd name="T0" fmla="*/ 2147483647 w 44"/>
                    <a:gd name="T1" fmla="*/ 0 h 26"/>
                    <a:gd name="T2" fmla="*/ 2147483647 w 44"/>
                    <a:gd name="T3" fmla="*/ 0 h 26"/>
                    <a:gd name="T4" fmla="*/ 2147483647 w 44"/>
                    <a:gd name="T5" fmla="*/ 0 h 26"/>
                    <a:gd name="T6" fmla="*/ 2147483647 w 44"/>
                    <a:gd name="T7" fmla="*/ 0 h 26"/>
                    <a:gd name="T8" fmla="*/ 0 w 44"/>
                    <a:gd name="T9" fmla="*/ 2147483647 h 26"/>
                    <a:gd name="T10" fmla="*/ 2147483647 w 44"/>
                    <a:gd name="T11" fmla="*/ 2147483647 h 26"/>
                    <a:gd name="T12" fmla="*/ 2147483647 w 44"/>
                    <a:gd name="T13" fmla="*/ 2147483647 h 26"/>
                    <a:gd name="T14" fmla="*/ 2147483647 w 44"/>
                    <a:gd name="T15" fmla="*/ 2147483647 h 26"/>
                    <a:gd name="T16" fmla="*/ 2147483647 w 44"/>
                    <a:gd name="T17" fmla="*/ 0 h 26"/>
                    <a:gd name="T18" fmla="*/ 2147483647 w 44"/>
                    <a:gd name="T19" fmla="*/ 0 h 2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4"/>
                    <a:gd name="T31" fmla="*/ 0 h 26"/>
                    <a:gd name="T32" fmla="*/ 44 w 44"/>
                    <a:gd name="T33" fmla="*/ 26 h 2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4" h="26">
                      <a:moveTo>
                        <a:pt x="35" y="0"/>
                      </a:moveTo>
                      <a:lnTo>
                        <a:pt x="26" y="0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44" y="8"/>
                      </a:lnTo>
                      <a:lnTo>
                        <a:pt x="44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0" name="Freeform 345"/>
                <p:cNvSpPr>
                  <a:spLocks/>
                </p:cNvSpPr>
                <p:nvPr/>
              </p:nvSpPr>
              <p:spPr bwMode="auto">
                <a:xfrm>
                  <a:off x="6547452" y="2127878"/>
                  <a:ext cx="37495" cy="47118"/>
                </a:xfrm>
                <a:custGeom>
                  <a:avLst/>
                  <a:gdLst>
                    <a:gd name="T0" fmla="*/ 2147483647 w 35"/>
                    <a:gd name="T1" fmla="*/ 2147483647 h 44"/>
                    <a:gd name="T2" fmla="*/ 2147483647 w 35"/>
                    <a:gd name="T3" fmla="*/ 0 h 44"/>
                    <a:gd name="T4" fmla="*/ 0 w 35"/>
                    <a:gd name="T5" fmla="*/ 0 h 44"/>
                    <a:gd name="T6" fmla="*/ 0 w 35"/>
                    <a:gd name="T7" fmla="*/ 0 h 44"/>
                    <a:gd name="T8" fmla="*/ 0 w 35"/>
                    <a:gd name="T9" fmla="*/ 2147483647 h 44"/>
                    <a:gd name="T10" fmla="*/ 2147483647 w 35"/>
                    <a:gd name="T11" fmla="*/ 2147483647 h 44"/>
                    <a:gd name="T12" fmla="*/ 2147483647 w 35"/>
                    <a:gd name="T13" fmla="*/ 2147483647 h 44"/>
                    <a:gd name="T14" fmla="*/ 2147483647 w 35"/>
                    <a:gd name="T15" fmla="*/ 2147483647 h 44"/>
                    <a:gd name="T16" fmla="*/ 2147483647 w 35"/>
                    <a:gd name="T17" fmla="*/ 2147483647 h 44"/>
                    <a:gd name="T18" fmla="*/ 2147483647 w 35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5"/>
                    <a:gd name="T31" fmla="*/ 0 h 44"/>
                    <a:gd name="T32" fmla="*/ 35 w 35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5" h="44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18"/>
                      </a:lnTo>
                      <a:lnTo>
                        <a:pt x="9" y="27"/>
                      </a:lnTo>
                      <a:lnTo>
                        <a:pt x="17" y="44"/>
                      </a:lnTo>
                      <a:lnTo>
                        <a:pt x="35" y="44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1" name="Freeform 346"/>
                <p:cNvSpPr>
                  <a:spLocks/>
                </p:cNvSpPr>
                <p:nvPr/>
              </p:nvSpPr>
              <p:spPr bwMode="auto">
                <a:xfrm>
                  <a:off x="6547452" y="2127878"/>
                  <a:ext cx="37495" cy="47118"/>
                </a:xfrm>
                <a:custGeom>
                  <a:avLst/>
                  <a:gdLst>
                    <a:gd name="T0" fmla="*/ 2147483647 w 35"/>
                    <a:gd name="T1" fmla="*/ 2147483647 h 44"/>
                    <a:gd name="T2" fmla="*/ 2147483647 w 35"/>
                    <a:gd name="T3" fmla="*/ 0 h 44"/>
                    <a:gd name="T4" fmla="*/ 0 w 35"/>
                    <a:gd name="T5" fmla="*/ 0 h 44"/>
                    <a:gd name="T6" fmla="*/ 0 w 35"/>
                    <a:gd name="T7" fmla="*/ 0 h 44"/>
                    <a:gd name="T8" fmla="*/ 0 w 35"/>
                    <a:gd name="T9" fmla="*/ 2147483647 h 44"/>
                    <a:gd name="T10" fmla="*/ 2147483647 w 35"/>
                    <a:gd name="T11" fmla="*/ 2147483647 h 44"/>
                    <a:gd name="T12" fmla="*/ 2147483647 w 35"/>
                    <a:gd name="T13" fmla="*/ 2147483647 h 44"/>
                    <a:gd name="T14" fmla="*/ 2147483647 w 35"/>
                    <a:gd name="T15" fmla="*/ 2147483647 h 44"/>
                    <a:gd name="T16" fmla="*/ 2147483647 w 35"/>
                    <a:gd name="T17" fmla="*/ 2147483647 h 44"/>
                    <a:gd name="T18" fmla="*/ 2147483647 w 35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5"/>
                    <a:gd name="T31" fmla="*/ 0 h 44"/>
                    <a:gd name="T32" fmla="*/ 35 w 35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5" h="44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18"/>
                      </a:lnTo>
                      <a:lnTo>
                        <a:pt x="9" y="27"/>
                      </a:lnTo>
                      <a:lnTo>
                        <a:pt x="17" y="44"/>
                      </a:lnTo>
                      <a:lnTo>
                        <a:pt x="35" y="44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2" name="Freeform 347"/>
                <p:cNvSpPr>
                  <a:spLocks/>
                </p:cNvSpPr>
                <p:nvPr/>
              </p:nvSpPr>
              <p:spPr bwMode="auto">
                <a:xfrm>
                  <a:off x="5622932" y="2669736"/>
                  <a:ext cx="9642" cy="9638"/>
                </a:xfrm>
                <a:custGeom>
                  <a:avLst/>
                  <a:gdLst>
                    <a:gd name="T0" fmla="*/ 2147483647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2147483647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3" name="Freeform 348"/>
                <p:cNvSpPr>
                  <a:spLocks/>
                </p:cNvSpPr>
                <p:nvPr/>
              </p:nvSpPr>
              <p:spPr bwMode="auto">
                <a:xfrm>
                  <a:off x="5622932" y="2669736"/>
                  <a:ext cx="9642" cy="9638"/>
                </a:xfrm>
                <a:custGeom>
                  <a:avLst/>
                  <a:gdLst>
                    <a:gd name="T0" fmla="*/ 2147483647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2147483647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4" name="Rectangle 349"/>
                <p:cNvSpPr>
                  <a:spLocks noChangeArrowheads="1"/>
                </p:cNvSpPr>
                <p:nvPr/>
              </p:nvSpPr>
              <p:spPr bwMode="auto">
                <a:xfrm>
                  <a:off x="5622932" y="2660099"/>
                  <a:ext cx="9642" cy="1071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5" name="Rectangle 350"/>
                <p:cNvSpPr>
                  <a:spLocks noChangeArrowheads="1"/>
                </p:cNvSpPr>
                <p:nvPr/>
              </p:nvSpPr>
              <p:spPr bwMode="auto">
                <a:xfrm>
                  <a:off x="5622932" y="2660099"/>
                  <a:ext cx="9642" cy="1071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6" name="Freeform 351"/>
                <p:cNvSpPr>
                  <a:spLocks/>
                </p:cNvSpPr>
                <p:nvPr/>
              </p:nvSpPr>
              <p:spPr bwMode="auto">
                <a:xfrm>
                  <a:off x="5641144" y="2697579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7" name="Freeform 352"/>
                <p:cNvSpPr>
                  <a:spLocks/>
                </p:cNvSpPr>
                <p:nvPr/>
              </p:nvSpPr>
              <p:spPr bwMode="auto">
                <a:xfrm>
                  <a:off x="5641144" y="2697579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8" name="Freeform 353"/>
                <p:cNvSpPr>
                  <a:spLocks/>
                </p:cNvSpPr>
                <p:nvPr/>
              </p:nvSpPr>
              <p:spPr bwMode="auto">
                <a:xfrm>
                  <a:off x="5632573" y="2687941"/>
                  <a:ext cx="0" cy="9638"/>
                </a:xfrm>
                <a:custGeom>
                  <a:avLst/>
                  <a:gdLst>
                    <a:gd name="T0" fmla="*/ 0 h 9"/>
                    <a:gd name="T1" fmla="*/ 2147483647 h 9"/>
                    <a:gd name="T2" fmla="*/ 0 h 9"/>
                    <a:gd name="T3" fmla="*/ 0 h 9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h 9"/>
                    <a:gd name="T9" fmla="*/ 9 h 9"/>
                  </a:gdLst>
                  <a:ahLst/>
                  <a:cxnLst>
                    <a:cxn ang="T4">
                      <a:pos x="0" y="T0"/>
                    </a:cxn>
                    <a:cxn ang="T5">
                      <a:pos x="0" y="T1"/>
                    </a:cxn>
                    <a:cxn ang="T6">
                      <a:pos x="0" y="T2"/>
                    </a:cxn>
                    <a:cxn ang="T7">
                      <a:pos x="0" y="T3"/>
                    </a:cxn>
                  </a:cxnLst>
                  <a:rect l="0" t="T8" r="0" b="T9"/>
                  <a:pathLst>
                    <a:path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9" name="Freeform 354"/>
                <p:cNvSpPr>
                  <a:spLocks/>
                </p:cNvSpPr>
                <p:nvPr/>
              </p:nvSpPr>
              <p:spPr bwMode="auto">
                <a:xfrm>
                  <a:off x="5632573" y="2687941"/>
                  <a:ext cx="0" cy="9638"/>
                </a:xfrm>
                <a:custGeom>
                  <a:avLst/>
                  <a:gdLst>
                    <a:gd name="T0" fmla="*/ 0 h 9"/>
                    <a:gd name="T1" fmla="*/ 2147483647 h 9"/>
                    <a:gd name="T2" fmla="*/ 0 h 9"/>
                    <a:gd name="T3" fmla="*/ 0 h 9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h 9"/>
                    <a:gd name="T9" fmla="*/ 9 h 9"/>
                  </a:gdLst>
                  <a:ahLst/>
                  <a:cxnLst>
                    <a:cxn ang="T4">
                      <a:pos x="0" y="T0"/>
                    </a:cxn>
                    <a:cxn ang="T5">
                      <a:pos x="0" y="T1"/>
                    </a:cxn>
                    <a:cxn ang="T6">
                      <a:pos x="0" y="T2"/>
                    </a:cxn>
                    <a:cxn ang="T7">
                      <a:pos x="0" y="T3"/>
                    </a:cxn>
                  </a:cxnLst>
                  <a:rect l="0" t="T8" r="0" b="T9"/>
                  <a:pathLst>
                    <a:path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0" name="Freeform 355"/>
                <p:cNvSpPr>
                  <a:spLocks/>
                </p:cNvSpPr>
                <p:nvPr/>
              </p:nvSpPr>
              <p:spPr bwMode="auto">
                <a:xfrm>
                  <a:off x="5632573" y="2716854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1" name="Freeform 356"/>
                <p:cNvSpPr>
                  <a:spLocks/>
                </p:cNvSpPr>
                <p:nvPr/>
              </p:nvSpPr>
              <p:spPr bwMode="auto">
                <a:xfrm>
                  <a:off x="5632573" y="2716854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2" name="Freeform 357"/>
                <p:cNvSpPr>
                  <a:spLocks/>
                </p:cNvSpPr>
                <p:nvPr/>
              </p:nvSpPr>
              <p:spPr bwMode="auto">
                <a:xfrm>
                  <a:off x="5632573" y="2772539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3" name="Freeform 358"/>
                <p:cNvSpPr>
                  <a:spLocks/>
                </p:cNvSpPr>
                <p:nvPr/>
              </p:nvSpPr>
              <p:spPr bwMode="auto">
                <a:xfrm>
                  <a:off x="5632573" y="2772539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4" name="Freeform 359"/>
                <p:cNvSpPr>
                  <a:spLocks/>
                </p:cNvSpPr>
                <p:nvPr/>
              </p:nvSpPr>
              <p:spPr bwMode="auto">
                <a:xfrm>
                  <a:off x="5632573" y="2725421"/>
                  <a:ext cx="18212" cy="9638"/>
                </a:xfrm>
                <a:custGeom>
                  <a:avLst/>
                  <a:gdLst>
                    <a:gd name="T0" fmla="*/ 0 w 17"/>
                    <a:gd name="T1" fmla="*/ 2147483647 h 9"/>
                    <a:gd name="T2" fmla="*/ 2147483647 w 17"/>
                    <a:gd name="T3" fmla="*/ 2147483647 h 9"/>
                    <a:gd name="T4" fmla="*/ 2147483647 w 17"/>
                    <a:gd name="T5" fmla="*/ 0 h 9"/>
                    <a:gd name="T6" fmla="*/ 0 w 17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9"/>
                      </a:moveTo>
                      <a:lnTo>
                        <a:pt x="17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5" name="Freeform 360"/>
                <p:cNvSpPr>
                  <a:spLocks/>
                </p:cNvSpPr>
                <p:nvPr/>
              </p:nvSpPr>
              <p:spPr bwMode="auto">
                <a:xfrm>
                  <a:off x="5632573" y="2725421"/>
                  <a:ext cx="18212" cy="9638"/>
                </a:xfrm>
                <a:custGeom>
                  <a:avLst/>
                  <a:gdLst>
                    <a:gd name="T0" fmla="*/ 0 w 17"/>
                    <a:gd name="T1" fmla="*/ 2147483647 h 9"/>
                    <a:gd name="T2" fmla="*/ 2147483647 w 17"/>
                    <a:gd name="T3" fmla="*/ 2147483647 h 9"/>
                    <a:gd name="T4" fmla="*/ 2147483647 w 17"/>
                    <a:gd name="T5" fmla="*/ 0 h 9"/>
                    <a:gd name="T6" fmla="*/ 0 w 17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9"/>
                      </a:moveTo>
                      <a:lnTo>
                        <a:pt x="17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6" name="Freeform 361"/>
                <p:cNvSpPr>
                  <a:spLocks/>
                </p:cNvSpPr>
                <p:nvPr/>
              </p:nvSpPr>
              <p:spPr bwMode="auto">
                <a:xfrm>
                  <a:off x="5632573" y="2782177"/>
                  <a:ext cx="8570" cy="8567"/>
                </a:xfrm>
                <a:custGeom>
                  <a:avLst/>
                  <a:gdLst>
                    <a:gd name="T0" fmla="*/ 0 w 8"/>
                    <a:gd name="T1" fmla="*/ 2147483647 h 8"/>
                    <a:gd name="T2" fmla="*/ 2147483647 w 8"/>
                    <a:gd name="T3" fmla="*/ 2147483647 h 8"/>
                    <a:gd name="T4" fmla="*/ 2147483647 w 8"/>
                    <a:gd name="T5" fmla="*/ 0 h 8"/>
                    <a:gd name="T6" fmla="*/ 0 w 8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7" name="Freeform 362"/>
                <p:cNvSpPr>
                  <a:spLocks/>
                </p:cNvSpPr>
                <p:nvPr/>
              </p:nvSpPr>
              <p:spPr bwMode="auto">
                <a:xfrm>
                  <a:off x="5632573" y="2782177"/>
                  <a:ext cx="8570" cy="8567"/>
                </a:xfrm>
                <a:custGeom>
                  <a:avLst/>
                  <a:gdLst>
                    <a:gd name="T0" fmla="*/ 0 w 8"/>
                    <a:gd name="T1" fmla="*/ 2147483647 h 8"/>
                    <a:gd name="T2" fmla="*/ 2147483647 w 8"/>
                    <a:gd name="T3" fmla="*/ 2147483647 h 8"/>
                    <a:gd name="T4" fmla="*/ 2147483647 w 8"/>
                    <a:gd name="T5" fmla="*/ 0 h 8"/>
                    <a:gd name="T6" fmla="*/ 0 w 8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8" name="Freeform 363"/>
                <p:cNvSpPr>
                  <a:spLocks/>
                </p:cNvSpPr>
                <p:nvPr/>
              </p:nvSpPr>
              <p:spPr bwMode="auto">
                <a:xfrm>
                  <a:off x="5632573" y="2800382"/>
                  <a:ext cx="8570" cy="0"/>
                </a:xfrm>
                <a:custGeom>
                  <a:avLst/>
                  <a:gdLst>
                    <a:gd name="T0" fmla="*/ 0 w 8"/>
                    <a:gd name="T1" fmla="*/ 0 w 8"/>
                    <a:gd name="T2" fmla="*/ 2147483647 w 8"/>
                    <a:gd name="T3" fmla="*/ 0 w 8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8"/>
                    <a:gd name="T9" fmla="*/ 8 w 8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9" name="Freeform 364"/>
                <p:cNvSpPr>
                  <a:spLocks/>
                </p:cNvSpPr>
                <p:nvPr/>
              </p:nvSpPr>
              <p:spPr bwMode="auto">
                <a:xfrm>
                  <a:off x="5632573" y="2800382"/>
                  <a:ext cx="8570" cy="0"/>
                </a:xfrm>
                <a:custGeom>
                  <a:avLst/>
                  <a:gdLst>
                    <a:gd name="T0" fmla="*/ 0 w 8"/>
                    <a:gd name="T1" fmla="*/ 0 w 8"/>
                    <a:gd name="T2" fmla="*/ 2147483647 w 8"/>
                    <a:gd name="T3" fmla="*/ 0 w 8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8"/>
                    <a:gd name="T9" fmla="*/ 8 w 8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0" name="Freeform 365"/>
                <p:cNvSpPr>
                  <a:spLocks/>
                </p:cNvSpPr>
                <p:nvPr/>
              </p:nvSpPr>
              <p:spPr bwMode="auto">
                <a:xfrm>
                  <a:off x="5753629" y="2594776"/>
                  <a:ext cx="46066" cy="74961"/>
                </a:xfrm>
                <a:custGeom>
                  <a:avLst/>
                  <a:gdLst>
                    <a:gd name="T0" fmla="*/ 2147483647 w 43"/>
                    <a:gd name="T1" fmla="*/ 0 h 70"/>
                    <a:gd name="T2" fmla="*/ 0 w 43"/>
                    <a:gd name="T3" fmla="*/ 2147483647 h 70"/>
                    <a:gd name="T4" fmla="*/ 2147483647 w 43"/>
                    <a:gd name="T5" fmla="*/ 2147483647 h 70"/>
                    <a:gd name="T6" fmla="*/ 2147483647 w 43"/>
                    <a:gd name="T7" fmla="*/ 2147483647 h 70"/>
                    <a:gd name="T8" fmla="*/ 2147483647 w 43"/>
                    <a:gd name="T9" fmla="*/ 2147483647 h 70"/>
                    <a:gd name="T10" fmla="*/ 2147483647 w 43"/>
                    <a:gd name="T11" fmla="*/ 2147483647 h 70"/>
                    <a:gd name="T12" fmla="*/ 2147483647 w 43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3"/>
                    <a:gd name="T22" fmla="*/ 0 h 70"/>
                    <a:gd name="T23" fmla="*/ 43 w 43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3" h="70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9" y="70"/>
                      </a:lnTo>
                      <a:lnTo>
                        <a:pt x="26" y="70"/>
                      </a:lnTo>
                      <a:lnTo>
                        <a:pt x="43" y="61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1" name="Freeform 366"/>
                <p:cNvSpPr>
                  <a:spLocks/>
                </p:cNvSpPr>
                <p:nvPr/>
              </p:nvSpPr>
              <p:spPr bwMode="auto">
                <a:xfrm>
                  <a:off x="5753629" y="2594776"/>
                  <a:ext cx="46066" cy="74961"/>
                </a:xfrm>
                <a:custGeom>
                  <a:avLst/>
                  <a:gdLst>
                    <a:gd name="T0" fmla="*/ 2147483647 w 43"/>
                    <a:gd name="T1" fmla="*/ 0 h 70"/>
                    <a:gd name="T2" fmla="*/ 0 w 43"/>
                    <a:gd name="T3" fmla="*/ 2147483647 h 70"/>
                    <a:gd name="T4" fmla="*/ 2147483647 w 43"/>
                    <a:gd name="T5" fmla="*/ 2147483647 h 70"/>
                    <a:gd name="T6" fmla="*/ 2147483647 w 43"/>
                    <a:gd name="T7" fmla="*/ 2147483647 h 70"/>
                    <a:gd name="T8" fmla="*/ 2147483647 w 43"/>
                    <a:gd name="T9" fmla="*/ 2147483647 h 70"/>
                    <a:gd name="T10" fmla="*/ 2147483647 w 43"/>
                    <a:gd name="T11" fmla="*/ 2147483647 h 70"/>
                    <a:gd name="T12" fmla="*/ 2147483647 w 43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3"/>
                    <a:gd name="T22" fmla="*/ 0 h 70"/>
                    <a:gd name="T23" fmla="*/ 43 w 43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3" h="70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9" y="70"/>
                      </a:lnTo>
                      <a:lnTo>
                        <a:pt x="26" y="70"/>
                      </a:lnTo>
                      <a:lnTo>
                        <a:pt x="43" y="61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2" name="Freeform 367"/>
                <p:cNvSpPr>
                  <a:spLocks/>
                </p:cNvSpPr>
                <p:nvPr/>
              </p:nvSpPr>
              <p:spPr bwMode="auto">
                <a:xfrm>
                  <a:off x="5725776" y="2194272"/>
                  <a:ext cx="139267" cy="83527"/>
                </a:xfrm>
                <a:custGeom>
                  <a:avLst/>
                  <a:gdLst>
                    <a:gd name="T0" fmla="*/ 2147483647 w 130"/>
                    <a:gd name="T1" fmla="*/ 2147483647 h 78"/>
                    <a:gd name="T2" fmla="*/ 2147483647 w 130"/>
                    <a:gd name="T3" fmla="*/ 2147483647 h 78"/>
                    <a:gd name="T4" fmla="*/ 2147483647 w 130"/>
                    <a:gd name="T5" fmla="*/ 2147483647 h 78"/>
                    <a:gd name="T6" fmla="*/ 2147483647 w 130"/>
                    <a:gd name="T7" fmla="*/ 0 h 78"/>
                    <a:gd name="T8" fmla="*/ 0 w 130"/>
                    <a:gd name="T9" fmla="*/ 0 h 78"/>
                    <a:gd name="T10" fmla="*/ 0 w 130"/>
                    <a:gd name="T11" fmla="*/ 2147483647 h 78"/>
                    <a:gd name="T12" fmla="*/ 2147483647 w 130"/>
                    <a:gd name="T13" fmla="*/ 2147483647 h 78"/>
                    <a:gd name="T14" fmla="*/ 2147483647 w 130"/>
                    <a:gd name="T15" fmla="*/ 2147483647 h 78"/>
                    <a:gd name="T16" fmla="*/ 2147483647 w 130"/>
                    <a:gd name="T17" fmla="*/ 2147483647 h 78"/>
                    <a:gd name="T18" fmla="*/ 2147483647 w 130"/>
                    <a:gd name="T19" fmla="*/ 2147483647 h 78"/>
                    <a:gd name="T20" fmla="*/ 2147483647 w 130"/>
                    <a:gd name="T21" fmla="*/ 2147483647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30"/>
                    <a:gd name="T34" fmla="*/ 0 h 78"/>
                    <a:gd name="T35" fmla="*/ 130 w 130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30" h="78">
                      <a:moveTo>
                        <a:pt x="130" y="78"/>
                      </a:moveTo>
                      <a:lnTo>
                        <a:pt x="130" y="52"/>
                      </a:lnTo>
                      <a:lnTo>
                        <a:pt x="96" y="43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34"/>
                      </a:lnTo>
                      <a:lnTo>
                        <a:pt x="43" y="52"/>
                      </a:lnTo>
                      <a:lnTo>
                        <a:pt x="43" y="61"/>
                      </a:lnTo>
                      <a:lnTo>
                        <a:pt x="69" y="52"/>
                      </a:lnTo>
                      <a:lnTo>
                        <a:pt x="87" y="69"/>
                      </a:lnTo>
                      <a:lnTo>
                        <a:pt x="130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3" name="Freeform 368"/>
                <p:cNvSpPr>
                  <a:spLocks/>
                </p:cNvSpPr>
                <p:nvPr/>
              </p:nvSpPr>
              <p:spPr bwMode="auto">
                <a:xfrm>
                  <a:off x="5725776" y="2194272"/>
                  <a:ext cx="139267" cy="83527"/>
                </a:xfrm>
                <a:custGeom>
                  <a:avLst/>
                  <a:gdLst>
                    <a:gd name="T0" fmla="*/ 2147483647 w 130"/>
                    <a:gd name="T1" fmla="*/ 2147483647 h 78"/>
                    <a:gd name="T2" fmla="*/ 2147483647 w 130"/>
                    <a:gd name="T3" fmla="*/ 2147483647 h 78"/>
                    <a:gd name="T4" fmla="*/ 2147483647 w 130"/>
                    <a:gd name="T5" fmla="*/ 2147483647 h 78"/>
                    <a:gd name="T6" fmla="*/ 2147483647 w 130"/>
                    <a:gd name="T7" fmla="*/ 0 h 78"/>
                    <a:gd name="T8" fmla="*/ 0 w 130"/>
                    <a:gd name="T9" fmla="*/ 0 h 78"/>
                    <a:gd name="T10" fmla="*/ 0 w 130"/>
                    <a:gd name="T11" fmla="*/ 2147483647 h 78"/>
                    <a:gd name="T12" fmla="*/ 2147483647 w 130"/>
                    <a:gd name="T13" fmla="*/ 2147483647 h 78"/>
                    <a:gd name="T14" fmla="*/ 2147483647 w 130"/>
                    <a:gd name="T15" fmla="*/ 2147483647 h 78"/>
                    <a:gd name="T16" fmla="*/ 2147483647 w 130"/>
                    <a:gd name="T17" fmla="*/ 2147483647 h 78"/>
                    <a:gd name="T18" fmla="*/ 2147483647 w 130"/>
                    <a:gd name="T19" fmla="*/ 2147483647 h 78"/>
                    <a:gd name="T20" fmla="*/ 2147483647 w 130"/>
                    <a:gd name="T21" fmla="*/ 2147483647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30"/>
                    <a:gd name="T34" fmla="*/ 0 h 78"/>
                    <a:gd name="T35" fmla="*/ 130 w 130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30" h="78">
                      <a:moveTo>
                        <a:pt x="130" y="78"/>
                      </a:moveTo>
                      <a:lnTo>
                        <a:pt x="130" y="52"/>
                      </a:lnTo>
                      <a:lnTo>
                        <a:pt x="96" y="43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34"/>
                      </a:lnTo>
                      <a:lnTo>
                        <a:pt x="43" y="52"/>
                      </a:lnTo>
                      <a:lnTo>
                        <a:pt x="43" y="61"/>
                      </a:lnTo>
                      <a:lnTo>
                        <a:pt x="69" y="52"/>
                      </a:lnTo>
                      <a:lnTo>
                        <a:pt x="87" y="69"/>
                      </a:lnTo>
                      <a:lnTo>
                        <a:pt x="130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4" name="Freeform 369"/>
                <p:cNvSpPr>
                  <a:spLocks/>
                </p:cNvSpPr>
                <p:nvPr/>
              </p:nvSpPr>
              <p:spPr bwMode="auto">
                <a:xfrm>
                  <a:off x="5874684" y="2277800"/>
                  <a:ext cx="93202" cy="112441"/>
                </a:xfrm>
                <a:custGeom>
                  <a:avLst/>
                  <a:gdLst>
                    <a:gd name="T0" fmla="*/ 2147483647 w 87"/>
                    <a:gd name="T1" fmla="*/ 2147483647 h 105"/>
                    <a:gd name="T2" fmla="*/ 2147483647 w 87"/>
                    <a:gd name="T3" fmla="*/ 2147483647 h 105"/>
                    <a:gd name="T4" fmla="*/ 2147483647 w 87"/>
                    <a:gd name="T5" fmla="*/ 2147483647 h 105"/>
                    <a:gd name="T6" fmla="*/ 2147483647 w 87"/>
                    <a:gd name="T7" fmla="*/ 2147483647 h 105"/>
                    <a:gd name="T8" fmla="*/ 2147483647 w 87"/>
                    <a:gd name="T9" fmla="*/ 2147483647 h 105"/>
                    <a:gd name="T10" fmla="*/ 2147483647 w 87"/>
                    <a:gd name="T11" fmla="*/ 2147483647 h 105"/>
                    <a:gd name="T12" fmla="*/ 2147483647 w 87"/>
                    <a:gd name="T13" fmla="*/ 2147483647 h 105"/>
                    <a:gd name="T14" fmla="*/ 2147483647 w 87"/>
                    <a:gd name="T15" fmla="*/ 2147483647 h 105"/>
                    <a:gd name="T16" fmla="*/ 2147483647 w 87"/>
                    <a:gd name="T17" fmla="*/ 2147483647 h 105"/>
                    <a:gd name="T18" fmla="*/ 2147483647 w 87"/>
                    <a:gd name="T19" fmla="*/ 2147483647 h 105"/>
                    <a:gd name="T20" fmla="*/ 2147483647 w 87"/>
                    <a:gd name="T21" fmla="*/ 0 h 105"/>
                    <a:gd name="T22" fmla="*/ 2147483647 w 87"/>
                    <a:gd name="T23" fmla="*/ 0 h 105"/>
                    <a:gd name="T24" fmla="*/ 0 w 87"/>
                    <a:gd name="T25" fmla="*/ 2147483647 h 105"/>
                    <a:gd name="T26" fmla="*/ 2147483647 w 87"/>
                    <a:gd name="T27" fmla="*/ 2147483647 h 105"/>
                    <a:gd name="T28" fmla="*/ 0 w 87"/>
                    <a:gd name="T29" fmla="*/ 2147483647 h 105"/>
                    <a:gd name="T30" fmla="*/ 2147483647 w 87"/>
                    <a:gd name="T31" fmla="*/ 2147483647 h 105"/>
                    <a:gd name="T32" fmla="*/ 2147483647 w 87"/>
                    <a:gd name="T33" fmla="*/ 2147483647 h 105"/>
                    <a:gd name="T34" fmla="*/ 2147483647 w 87"/>
                    <a:gd name="T35" fmla="*/ 2147483647 h 10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87"/>
                    <a:gd name="T55" fmla="*/ 0 h 105"/>
                    <a:gd name="T56" fmla="*/ 87 w 87"/>
                    <a:gd name="T57" fmla="*/ 105 h 10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87" h="105">
                      <a:moveTo>
                        <a:pt x="44" y="70"/>
                      </a:moveTo>
                      <a:lnTo>
                        <a:pt x="44" y="61"/>
                      </a:lnTo>
                      <a:lnTo>
                        <a:pt x="61" y="70"/>
                      </a:lnTo>
                      <a:lnTo>
                        <a:pt x="79" y="105"/>
                      </a:lnTo>
                      <a:lnTo>
                        <a:pt x="87" y="78"/>
                      </a:lnTo>
                      <a:lnTo>
                        <a:pt x="79" y="52"/>
                      </a:lnTo>
                      <a:lnTo>
                        <a:pt x="70" y="52"/>
                      </a:lnTo>
                      <a:lnTo>
                        <a:pt x="61" y="52"/>
                      </a:lnTo>
                      <a:lnTo>
                        <a:pt x="70" y="26"/>
                      </a:lnTo>
                      <a:lnTo>
                        <a:pt x="35" y="26"/>
                      </a:lnTo>
                      <a:lnTo>
                        <a:pt x="18" y="0"/>
                      </a:ln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0" y="44"/>
                      </a:lnTo>
                      <a:lnTo>
                        <a:pt x="18" y="52"/>
                      </a:lnTo>
                      <a:lnTo>
                        <a:pt x="26" y="78"/>
                      </a:lnTo>
                      <a:lnTo>
                        <a:pt x="44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5" name="Freeform 370"/>
                <p:cNvSpPr>
                  <a:spLocks/>
                </p:cNvSpPr>
                <p:nvPr/>
              </p:nvSpPr>
              <p:spPr bwMode="auto">
                <a:xfrm>
                  <a:off x="5874684" y="2277800"/>
                  <a:ext cx="93202" cy="112441"/>
                </a:xfrm>
                <a:custGeom>
                  <a:avLst/>
                  <a:gdLst>
                    <a:gd name="T0" fmla="*/ 2147483647 w 87"/>
                    <a:gd name="T1" fmla="*/ 2147483647 h 105"/>
                    <a:gd name="T2" fmla="*/ 2147483647 w 87"/>
                    <a:gd name="T3" fmla="*/ 2147483647 h 105"/>
                    <a:gd name="T4" fmla="*/ 2147483647 w 87"/>
                    <a:gd name="T5" fmla="*/ 2147483647 h 105"/>
                    <a:gd name="T6" fmla="*/ 2147483647 w 87"/>
                    <a:gd name="T7" fmla="*/ 2147483647 h 105"/>
                    <a:gd name="T8" fmla="*/ 2147483647 w 87"/>
                    <a:gd name="T9" fmla="*/ 2147483647 h 105"/>
                    <a:gd name="T10" fmla="*/ 2147483647 w 87"/>
                    <a:gd name="T11" fmla="*/ 2147483647 h 105"/>
                    <a:gd name="T12" fmla="*/ 2147483647 w 87"/>
                    <a:gd name="T13" fmla="*/ 2147483647 h 105"/>
                    <a:gd name="T14" fmla="*/ 2147483647 w 87"/>
                    <a:gd name="T15" fmla="*/ 2147483647 h 105"/>
                    <a:gd name="T16" fmla="*/ 2147483647 w 87"/>
                    <a:gd name="T17" fmla="*/ 2147483647 h 105"/>
                    <a:gd name="T18" fmla="*/ 2147483647 w 87"/>
                    <a:gd name="T19" fmla="*/ 2147483647 h 105"/>
                    <a:gd name="T20" fmla="*/ 2147483647 w 87"/>
                    <a:gd name="T21" fmla="*/ 0 h 105"/>
                    <a:gd name="T22" fmla="*/ 2147483647 w 87"/>
                    <a:gd name="T23" fmla="*/ 0 h 105"/>
                    <a:gd name="T24" fmla="*/ 0 w 87"/>
                    <a:gd name="T25" fmla="*/ 2147483647 h 105"/>
                    <a:gd name="T26" fmla="*/ 2147483647 w 87"/>
                    <a:gd name="T27" fmla="*/ 2147483647 h 105"/>
                    <a:gd name="T28" fmla="*/ 0 w 87"/>
                    <a:gd name="T29" fmla="*/ 2147483647 h 105"/>
                    <a:gd name="T30" fmla="*/ 2147483647 w 87"/>
                    <a:gd name="T31" fmla="*/ 2147483647 h 105"/>
                    <a:gd name="T32" fmla="*/ 2147483647 w 87"/>
                    <a:gd name="T33" fmla="*/ 2147483647 h 105"/>
                    <a:gd name="T34" fmla="*/ 2147483647 w 87"/>
                    <a:gd name="T35" fmla="*/ 2147483647 h 10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87"/>
                    <a:gd name="T55" fmla="*/ 0 h 105"/>
                    <a:gd name="T56" fmla="*/ 87 w 87"/>
                    <a:gd name="T57" fmla="*/ 105 h 10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87" h="105">
                      <a:moveTo>
                        <a:pt x="44" y="70"/>
                      </a:moveTo>
                      <a:lnTo>
                        <a:pt x="44" y="61"/>
                      </a:lnTo>
                      <a:lnTo>
                        <a:pt x="61" y="70"/>
                      </a:lnTo>
                      <a:lnTo>
                        <a:pt x="79" y="105"/>
                      </a:lnTo>
                      <a:lnTo>
                        <a:pt x="87" y="78"/>
                      </a:lnTo>
                      <a:lnTo>
                        <a:pt x="79" y="52"/>
                      </a:lnTo>
                      <a:lnTo>
                        <a:pt x="70" y="52"/>
                      </a:lnTo>
                      <a:lnTo>
                        <a:pt x="61" y="52"/>
                      </a:lnTo>
                      <a:lnTo>
                        <a:pt x="70" y="26"/>
                      </a:lnTo>
                      <a:lnTo>
                        <a:pt x="35" y="26"/>
                      </a:lnTo>
                      <a:lnTo>
                        <a:pt x="18" y="0"/>
                      </a:ln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0" y="44"/>
                      </a:lnTo>
                      <a:lnTo>
                        <a:pt x="18" y="52"/>
                      </a:lnTo>
                      <a:lnTo>
                        <a:pt x="26" y="78"/>
                      </a:lnTo>
                      <a:lnTo>
                        <a:pt x="44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6" name="Freeform 371"/>
                <p:cNvSpPr>
                  <a:spLocks/>
                </p:cNvSpPr>
                <p:nvPr/>
              </p:nvSpPr>
              <p:spPr bwMode="auto">
                <a:xfrm>
                  <a:off x="5884326" y="2230681"/>
                  <a:ext cx="47137" cy="47118"/>
                </a:xfrm>
                <a:custGeom>
                  <a:avLst/>
                  <a:gdLst>
                    <a:gd name="T0" fmla="*/ 0 w 44"/>
                    <a:gd name="T1" fmla="*/ 2147483647 h 44"/>
                    <a:gd name="T2" fmla="*/ 2147483647 w 44"/>
                    <a:gd name="T3" fmla="*/ 2147483647 h 44"/>
                    <a:gd name="T4" fmla="*/ 2147483647 w 44"/>
                    <a:gd name="T5" fmla="*/ 2147483647 h 44"/>
                    <a:gd name="T6" fmla="*/ 2147483647 w 44"/>
                    <a:gd name="T7" fmla="*/ 2147483647 h 44"/>
                    <a:gd name="T8" fmla="*/ 2147483647 w 44"/>
                    <a:gd name="T9" fmla="*/ 2147483647 h 44"/>
                    <a:gd name="T10" fmla="*/ 2147483647 w 44"/>
                    <a:gd name="T11" fmla="*/ 0 h 44"/>
                    <a:gd name="T12" fmla="*/ 2147483647 w 44"/>
                    <a:gd name="T13" fmla="*/ 0 h 44"/>
                    <a:gd name="T14" fmla="*/ 0 w 44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4"/>
                    <a:gd name="T25" fmla="*/ 0 h 44"/>
                    <a:gd name="T26" fmla="*/ 44 w 44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4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4" y="18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7" name="Freeform 372"/>
                <p:cNvSpPr>
                  <a:spLocks/>
                </p:cNvSpPr>
                <p:nvPr/>
              </p:nvSpPr>
              <p:spPr bwMode="auto">
                <a:xfrm>
                  <a:off x="5884326" y="2230681"/>
                  <a:ext cx="47137" cy="47118"/>
                </a:xfrm>
                <a:custGeom>
                  <a:avLst/>
                  <a:gdLst>
                    <a:gd name="T0" fmla="*/ 0 w 44"/>
                    <a:gd name="T1" fmla="*/ 2147483647 h 44"/>
                    <a:gd name="T2" fmla="*/ 2147483647 w 44"/>
                    <a:gd name="T3" fmla="*/ 2147483647 h 44"/>
                    <a:gd name="T4" fmla="*/ 2147483647 w 44"/>
                    <a:gd name="T5" fmla="*/ 2147483647 h 44"/>
                    <a:gd name="T6" fmla="*/ 2147483647 w 44"/>
                    <a:gd name="T7" fmla="*/ 2147483647 h 44"/>
                    <a:gd name="T8" fmla="*/ 2147483647 w 44"/>
                    <a:gd name="T9" fmla="*/ 2147483647 h 44"/>
                    <a:gd name="T10" fmla="*/ 2147483647 w 44"/>
                    <a:gd name="T11" fmla="*/ 0 h 44"/>
                    <a:gd name="T12" fmla="*/ 2147483647 w 44"/>
                    <a:gd name="T13" fmla="*/ 0 h 44"/>
                    <a:gd name="T14" fmla="*/ 0 w 44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4"/>
                    <a:gd name="T25" fmla="*/ 0 h 44"/>
                    <a:gd name="T26" fmla="*/ 44 w 44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4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4" y="18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8" name="Freeform 373"/>
                <p:cNvSpPr>
                  <a:spLocks/>
                </p:cNvSpPr>
                <p:nvPr/>
              </p:nvSpPr>
              <p:spPr bwMode="auto">
                <a:xfrm>
                  <a:off x="5959316" y="2230681"/>
                  <a:ext cx="148909" cy="336252"/>
                </a:xfrm>
                <a:custGeom>
                  <a:avLst/>
                  <a:gdLst>
                    <a:gd name="T0" fmla="*/ 2147483647 w 139"/>
                    <a:gd name="T1" fmla="*/ 2147483647 h 314"/>
                    <a:gd name="T2" fmla="*/ 2147483647 w 139"/>
                    <a:gd name="T3" fmla="*/ 2147483647 h 314"/>
                    <a:gd name="T4" fmla="*/ 2147483647 w 139"/>
                    <a:gd name="T5" fmla="*/ 2147483647 h 314"/>
                    <a:gd name="T6" fmla="*/ 2147483647 w 139"/>
                    <a:gd name="T7" fmla="*/ 2147483647 h 314"/>
                    <a:gd name="T8" fmla="*/ 0 w 139"/>
                    <a:gd name="T9" fmla="*/ 2147483647 h 314"/>
                    <a:gd name="T10" fmla="*/ 2147483647 w 139"/>
                    <a:gd name="T11" fmla="*/ 2147483647 h 314"/>
                    <a:gd name="T12" fmla="*/ 2147483647 w 139"/>
                    <a:gd name="T13" fmla="*/ 2147483647 h 314"/>
                    <a:gd name="T14" fmla="*/ 2147483647 w 139"/>
                    <a:gd name="T15" fmla="*/ 2147483647 h 314"/>
                    <a:gd name="T16" fmla="*/ 2147483647 w 139"/>
                    <a:gd name="T17" fmla="*/ 2147483647 h 314"/>
                    <a:gd name="T18" fmla="*/ 2147483647 w 139"/>
                    <a:gd name="T19" fmla="*/ 2147483647 h 314"/>
                    <a:gd name="T20" fmla="*/ 2147483647 w 139"/>
                    <a:gd name="T21" fmla="*/ 2147483647 h 314"/>
                    <a:gd name="T22" fmla="*/ 2147483647 w 139"/>
                    <a:gd name="T23" fmla="*/ 2147483647 h 314"/>
                    <a:gd name="T24" fmla="*/ 2147483647 w 139"/>
                    <a:gd name="T25" fmla="*/ 2147483647 h 314"/>
                    <a:gd name="T26" fmla="*/ 2147483647 w 139"/>
                    <a:gd name="T27" fmla="*/ 2147483647 h 314"/>
                    <a:gd name="T28" fmla="*/ 2147483647 w 139"/>
                    <a:gd name="T29" fmla="*/ 2147483647 h 314"/>
                    <a:gd name="T30" fmla="*/ 2147483647 w 139"/>
                    <a:gd name="T31" fmla="*/ 2147483647 h 314"/>
                    <a:gd name="T32" fmla="*/ 2147483647 w 139"/>
                    <a:gd name="T33" fmla="*/ 2147483647 h 314"/>
                    <a:gd name="T34" fmla="*/ 2147483647 w 139"/>
                    <a:gd name="T35" fmla="*/ 2147483647 h 314"/>
                    <a:gd name="T36" fmla="*/ 2147483647 w 139"/>
                    <a:gd name="T37" fmla="*/ 2147483647 h 314"/>
                    <a:gd name="T38" fmla="*/ 2147483647 w 139"/>
                    <a:gd name="T39" fmla="*/ 2147483647 h 314"/>
                    <a:gd name="T40" fmla="*/ 2147483647 w 139"/>
                    <a:gd name="T41" fmla="*/ 2147483647 h 314"/>
                    <a:gd name="T42" fmla="*/ 2147483647 w 139"/>
                    <a:gd name="T43" fmla="*/ 2147483647 h 314"/>
                    <a:gd name="T44" fmla="*/ 2147483647 w 139"/>
                    <a:gd name="T45" fmla="*/ 2147483647 h 314"/>
                    <a:gd name="T46" fmla="*/ 2147483647 w 139"/>
                    <a:gd name="T47" fmla="*/ 2147483647 h 314"/>
                    <a:gd name="T48" fmla="*/ 2147483647 w 139"/>
                    <a:gd name="T49" fmla="*/ 2147483647 h 314"/>
                    <a:gd name="T50" fmla="*/ 2147483647 w 139"/>
                    <a:gd name="T51" fmla="*/ 2147483647 h 314"/>
                    <a:gd name="T52" fmla="*/ 2147483647 w 139"/>
                    <a:gd name="T53" fmla="*/ 2147483647 h 314"/>
                    <a:gd name="T54" fmla="*/ 2147483647 w 139"/>
                    <a:gd name="T55" fmla="*/ 2147483647 h 314"/>
                    <a:gd name="T56" fmla="*/ 2147483647 w 139"/>
                    <a:gd name="T57" fmla="*/ 2147483647 h 314"/>
                    <a:gd name="T58" fmla="*/ 2147483647 w 139"/>
                    <a:gd name="T59" fmla="*/ 2147483647 h 314"/>
                    <a:gd name="T60" fmla="*/ 2147483647 w 139"/>
                    <a:gd name="T61" fmla="*/ 0 h 314"/>
                    <a:gd name="T62" fmla="*/ 2147483647 w 139"/>
                    <a:gd name="T63" fmla="*/ 2147483647 h 31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39"/>
                    <a:gd name="T97" fmla="*/ 0 h 314"/>
                    <a:gd name="T98" fmla="*/ 139 w 139"/>
                    <a:gd name="T99" fmla="*/ 314 h 31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39" h="314">
                      <a:moveTo>
                        <a:pt x="52" y="27"/>
                      </a:moveTo>
                      <a:lnTo>
                        <a:pt x="35" y="35"/>
                      </a:lnTo>
                      <a:lnTo>
                        <a:pt x="35" y="79"/>
                      </a:lnTo>
                      <a:lnTo>
                        <a:pt x="17" y="88"/>
                      </a:lnTo>
                      <a:lnTo>
                        <a:pt x="0" y="149"/>
                      </a:lnTo>
                      <a:lnTo>
                        <a:pt x="17" y="157"/>
                      </a:lnTo>
                      <a:lnTo>
                        <a:pt x="43" y="192"/>
                      </a:lnTo>
                      <a:lnTo>
                        <a:pt x="35" y="218"/>
                      </a:lnTo>
                      <a:lnTo>
                        <a:pt x="52" y="218"/>
                      </a:lnTo>
                      <a:lnTo>
                        <a:pt x="69" y="227"/>
                      </a:lnTo>
                      <a:lnTo>
                        <a:pt x="69" y="218"/>
                      </a:lnTo>
                      <a:lnTo>
                        <a:pt x="87" y="210"/>
                      </a:lnTo>
                      <a:lnTo>
                        <a:pt x="104" y="271"/>
                      </a:lnTo>
                      <a:lnTo>
                        <a:pt x="122" y="279"/>
                      </a:lnTo>
                      <a:lnTo>
                        <a:pt x="122" y="288"/>
                      </a:lnTo>
                      <a:lnTo>
                        <a:pt x="113" y="288"/>
                      </a:lnTo>
                      <a:lnTo>
                        <a:pt x="104" y="314"/>
                      </a:lnTo>
                      <a:lnTo>
                        <a:pt x="130" y="314"/>
                      </a:lnTo>
                      <a:lnTo>
                        <a:pt x="130" y="279"/>
                      </a:lnTo>
                      <a:lnTo>
                        <a:pt x="122" y="244"/>
                      </a:lnTo>
                      <a:lnTo>
                        <a:pt x="122" y="227"/>
                      </a:lnTo>
                      <a:lnTo>
                        <a:pt x="104" y="192"/>
                      </a:lnTo>
                      <a:lnTo>
                        <a:pt x="104" y="166"/>
                      </a:lnTo>
                      <a:lnTo>
                        <a:pt x="130" y="149"/>
                      </a:lnTo>
                      <a:lnTo>
                        <a:pt x="139" y="122"/>
                      </a:lnTo>
                      <a:lnTo>
                        <a:pt x="122" y="122"/>
                      </a:lnTo>
                      <a:lnTo>
                        <a:pt x="96" y="88"/>
                      </a:lnTo>
                      <a:lnTo>
                        <a:pt x="78" y="79"/>
                      </a:lnTo>
                      <a:lnTo>
                        <a:pt x="87" y="53"/>
                      </a:lnTo>
                      <a:lnTo>
                        <a:pt x="87" y="18"/>
                      </a:lnTo>
                      <a:lnTo>
                        <a:pt x="69" y="0"/>
                      </a:lnTo>
                      <a:lnTo>
                        <a:pt x="52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9" name="Freeform 374"/>
                <p:cNvSpPr>
                  <a:spLocks/>
                </p:cNvSpPr>
                <p:nvPr/>
              </p:nvSpPr>
              <p:spPr bwMode="auto">
                <a:xfrm>
                  <a:off x="5959316" y="2230681"/>
                  <a:ext cx="148909" cy="336252"/>
                </a:xfrm>
                <a:custGeom>
                  <a:avLst/>
                  <a:gdLst>
                    <a:gd name="T0" fmla="*/ 2147483647 w 139"/>
                    <a:gd name="T1" fmla="*/ 2147483647 h 314"/>
                    <a:gd name="T2" fmla="*/ 2147483647 w 139"/>
                    <a:gd name="T3" fmla="*/ 2147483647 h 314"/>
                    <a:gd name="T4" fmla="*/ 2147483647 w 139"/>
                    <a:gd name="T5" fmla="*/ 2147483647 h 314"/>
                    <a:gd name="T6" fmla="*/ 2147483647 w 139"/>
                    <a:gd name="T7" fmla="*/ 2147483647 h 314"/>
                    <a:gd name="T8" fmla="*/ 0 w 139"/>
                    <a:gd name="T9" fmla="*/ 2147483647 h 314"/>
                    <a:gd name="T10" fmla="*/ 2147483647 w 139"/>
                    <a:gd name="T11" fmla="*/ 2147483647 h 314"/>
                    <a:gd name="T12" fmla="*/ 2147483647 w 139"/>
                    <a:gd name="T13" fmla="*/ 2147483647 h 314"/>
                    <a:gd name="T14" fmla="*/ 2147483647 w 139"/>
                    <a:gd name="T15" fmla="*/ 2147483647 h 314"/>
                    <a:gd name="T16" fmla="*/ 2147483647 w 139"/>
                    <a:gd name="T17" fmla="*/ 2147483647 h 314"/>
                    <a:gd name="T18" fmla="*/ 2147483647 w 139"/>
                    <a:gd name="T19" fmla="*/ 2147483647 h 314"/>
                    <a:gd name="T20" fmla="*/ 2147483647 w 139"/>
                    <a:gd name="T21" fmla="*/ 2147483647 h 314"/>
                    <a:gd name="T22" fmla="*/ 2147483647 w 139"/>
                    <a:gd name="T23" fmla="*/ 2147483647 h 314"/>
                    <a:gd name="T24" fmla="*/ 2147483647 w 139"/>
                    <a:gd name="T25" fmla="*/ 2147483647 h 314"/>
                    <a:gd name="T26" fmla="*/ 2147483647 w 139"/>
                    <a:gd name="T27" fmla="*/ 2147483647 h 314"/>
                    <a:gd name="T28" fmla="*/ 2147483647 w 139"/>
                    <a:gd name="T29" fmla="*/ 2147483647 h 314"/>
                    <a:gd name="T30" fmla="*/ 2147483647 w 139"/>
                    <a:gd name="T31" fmla="*/ 2147483647 h 314"/>
                    <a:gd name="T32" fmla="*/ 2147483647 w 139"/>
                    <a:gd name="T33" fmla="*/ 2147483647 h 314"/>
                    <a:gd name="T34" fmla="*/ 2147483647 w 139"/>
                    <a:gd name="T35" fmla="*/ 2147483647 h 314"/>
                    <a:gd name="T36" fmla="*/ 2147483647 w 139"/>
                    <a:gd name="T37" fmla="*/ 2147483647 h 314"/>
                    <a:gd name="T38" fmla="*/ 2147483647 w 139"/>
                    <a:gd name="T39" fmla="*/ 2147483647 h 314"/>
                    <a:gd name="T40" fmla="*/ 2147483647 w 139"/>
                    <a:gd name="T41" fmla="*/ 2147483647 h 314"/>
                    <a:gd name="T42" fmla="*/ 2147483647 w 139"/>
                    <a:gd name="T43" fmla="*/ 2147483647 h 314"/>
                    <a:gd name="T44" fmla="*/ 2147483647 w 139"/>
                    <a:gd name="T45" fmla="*/ 2147483647 h 314"/>
                    <a:gd name="T46" fmla="*/ 2147483647 w 139"/>
                    <a:gd name="T47" fmla="*/ 2147483647 h 314"/>
                    <a:gd name="T48" fmla="*/ 2147483647 w 139"/>
                    <a:gd name="T49" fmla="*/ 2147483647 h 314"/>
                    <a:gd name="T50" fmla="*/ 2147483647 w 139"/>
                    <a:gd name="T51" fmla="*/ 2147483647 h 314"/>
                    <a:gd name="T52" fmla="*/ 2147483647 w 139"/>
                    <a:gd name="T53" fmla="*/ 2147483647 h 314"/>
                    <a:gd name="T54" fmla="*/ 2147483647 w 139"/>
                    <a:gd name="T55" fmla="*/ 2147483647 h 314"/>
                    <a:gd name="T56" fmla="*/ 2147483647 w 139"/>
                    <a:gd name="T57" fmla="*/ 2147483647 h 314"/>
                    <a:gd name="T58" fmla="*/ 2147483647 w 139"/>
                    <a:gd name="T59" fmla="*/ 2147483647 h 314"/>
                    <a:gd name="T60" fmla="*/ 2147483647 w 139"/>
                    <a:gd name="T61" fmla="*/ 0 h 314"/>
                    <a:gd name="T62" fmla="*/ 2147483647 w 139"/>
                    <a:gd name="T63" fmla="*/ 2147483647 h 31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39"/>
                    <a:gd name="T97" fmla="*/ 0 h 314"/>
                    <a:gd name="T98" fmla="*/ 139 w 139"/>
                    <a:gd name="T99" fmla="*/ 314 h 31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39" h="314">
                      <a:moveTo>
                        <a:pt x="52" y="27"/>
                      </a:moveTo>
                      <a:lnTo>
                        <a:pt x="35" y="35"/>
                      </a:lnTo>
                      <a:lnTo>
                        <a:pt x="35" y="79"/>
                      </a:lnTo>
                      <a:lnTo>
                        <a:pt x="17" y="88"/>
                      </a:lnTo>
                      <a:lnTo>
                        <a:pt x="0" y="149"/>
                      </a:lnTo>
                      <a:lnTo>
                        <a:pt x="17" y="157"/>
                      </a:lnTo>
                      <a:lnTo>
                        <a:pt x="43" y="192"/>
                      </a:lnTo>
                      <a:lnTo>
                        <a:pt x="35" y="218"/>
                      </a:lnTo>
                      <a:lnTo>
                        <a:pt x="52" y="218"/>
                      </a:lnTo>
                      <a:lnTo>
                        <a:pt x="69" y="227"/>
                      </a:lnTo>
                      <a:lnTo>
                        <a:pt x="69" y="218"/>
                      </a:lnTo>
                      <a:lnTo>
                        <a:pt x="87" y="210"/>
                      </a:lnTo>
                      <a:lnTo>
                        <a:pt x="104" y="271"/>
                      </a:lnTo>
                      <a:lnTo>
                        <a:pt x="122" y="279"/>
                      </a:lnTo>
                      <a:lnTo>
                        <a:pt x="122" y="288"/>
                      </a:lnTo>
                      <a:lnTo>
                        <a:pt x="113" y="288"/>
                      </a:lnTo>
                      <a:lnTo>
                        <a:pt x="104" y="314"/>
                      </a:lnTo>
                      <a:lnTo>
                        <a:pt x="130" y="314"/>
                      </a:lnTo>
                      <a:lnTo>
                        <a:pt x="130" y="279"/>
                      </a:lnTo>
                      <a:lnTo>
                        <a:pt x="122" y="244"/>
                      </a:lnTo>
                      <a:lnTo>
                        <a:pt x="122" y="227"/>
                      </a:lnTo>
                      <a:lnTo>
                        <a:pt x="104" y="192"/>
                      </a:lnTo>
                      <a:lnTo>
                        <a:pt x="104" y="166"/>
                      </a:lnTo>
                      <a:lnTo>
                        <a:pt x="130" y="149"/>
                      </a:lnTo>
                      <a:lnTo>
                        <a:pt x="139" y="122"/>
                      </a:lnTo>
                      <a:lnTo>
                        <a:pt x="122" y="122"/>
                      </a:lnTo>
                      <a:lnTo>
                        <a:pt x="96" y="88"/>
                      </a:lnTo>
                      <a:lnTo>
                        <a:pt x="78" y="79"/>
                      </a:lnTo>
                      <a:lnTo>
                        <a:pt x="87" y="53"/>
                      </a:lnTo>
                      <a:lnTo>
                        <a:pt x="87" y="18"/>
                      </a:lnTo>
                      <a:lnTo>
                        <a:pt x="69" y="0"/>
                      </a:lnTo>
                      <a:lnTo>
                        <a:pt x="52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0" name="Freeform 375"/>
                <p:cNvSpPr>
                  <a:spLocks/>
                </p:cNvSpPr>
                <p:nvPr/>
              </p:nvSpPr>
              <p:spPr bwMode="auto">
                <a:xfrm>
                  <a:off x="6070730" y="2390241"/>
                  <a:ext cx="140339" cy="279496"/>
                </a:xfrm>
                <a:custGeom>
                  <a:avLst/>
                  <a:gdLst>
                    <a:gd name="T0" fmla="*/ 0 w 131"/>
                    <a:gd name="T1" fmla="*/ 2147483647 h 261"/>
                    <a:gd name="T2" fmla="*/ 0 w 131"/>
                    <a:gd name="T3" fmla="*/ 2147483647 h 261"/>
                    <a:gd name="T4" fmla="*/ 2147483647 w 131"/>
                    <a:gd name="T5" fmla="*/ 2147483647 h 261"/>
                    <a:gd name="T6" fmla="*/ 2147483647 w 131"/>
                    <a:gd name="T7" fmla="*/ 2147483647 h 261"/>
                    <a:gd name="T8" fmla="*/ 2147483647 w 131"/>
                    <a:gd name="T9" fmla="*/ 2147483647 h 261"/>
                    <a:gd name="T10" fmla="*/ 2147483647 w 131"/>
                    <a:gd name="T11" fmla="*/ 2147483647 h 261"/>
                    <a:gd name="T12" fmla="*/ 2147483647 w 131"/>
                    <a:gd name="T13" fmla="*/ 2147483647 h 261"/>
                    <a:gd name="T14" fmla="*/ 2147483647 w 131"/>
                    <a:gd name="T15" fmla="*/ 2147483647 h 261"/>
                    <a:gd name="T16" fmla="*/ 2147483647 w 131"/>
                    <a:gd name="T17" fmla="*/ 2147483647 h 261"/>
                    <a:gd name="T18" fmla="*/ 2147483647 w 131"/>
                    <a:gd name="T19" fmla="*/ 2147483647 h 261"/>
                    <a:gd name="T20" fmla="*/ 2147483647 w 131"/>
                    <a:gd name="T21" fmla="*/ 2147483647 h 261"/>
                    <a:gd name="T22" fmla="*/ 2147483647 w 131"/>
                    <a:gd name="T23" fmla="*/ 2147483647 h 261"/>
                    <a:gd name="T24" fmla="*/ 2147483647 w 131"/>
                    <a:gd name="T25" fmla="*/ 2147483647 h 261"/>
                    <a:gd name="T26" fmla="*/ 2147483647 w 131"/>
                    <a:gd name="T27" fmla="*/ 2147483647 h 261"/>
                    <a:gd name="T28" fmla="*/ 2147483647 w 131"/>
                    <a:gd name="T29" fmla="*/ 2147483647 h 261"/>
                    <a:gd name="T30" fmla="*/ 2147483647 w 131"/>
                    <a:gd name="T31" fmla="*/ 2147483647 h 261"/>
                    <a:gd name="T32" fmla="*/ 2147483647 w 131"/>
                    <a:gd name="T33" fmla="*/ 2147483647 h 261"/>
                    <a:gd name="T34" fmla="*/ 2147483647 w 131"/>
                    <a:gd name="T35" fmla="*/ 2147483647 h 261"/>
                    <a:gd name="T36" fmla="*/ 2147483647 w 131"/>
                    <a:gd name="T37" fmla="*/ 2147483647 h 261"/>
                    <a:gd name="T38" fmla="*/ 2147483647 w 131"/>
                    <a:gd name="T39" fmla="*/ 2147483647 h 261"/>
                    <a:gd name="T40" fmla="*/ 2147483647 w 131"/>
                    <a:gd name="T41" fmla="*/ 2147483647 h 261"/>
                    <a:gd name="T42" fmla="*/ 2147483647 w 131"/>
                    <a:gd name="T43" fmla="*/ 2147483647 h 261"/>
                    <a:gd name="T44" fmla="*/ 2147483647 w 131"/>
                    <a:gd name="T45" fmla="*/ 2147483647 h 261"/>
                    <a:gd name="T46" fmla="*/ 2147483647 w 131"/>
                    <a:gd name="T47" fmla="*/ 2147483647 h 261"/>
                    <a:gd name="T48" fmla="*/ 2147483647 w 131"/>
                    <a:gd name="T49" fmla="*/ 2147483647 h 261"/>
                    <a:gd name="T50" fmla="*/ 2147483647 w 131"/>
                    <a:gd name="T51" fmla="*/ 2147483647 h 261"/>
                    <a:gd name="T52" fmla="*/ 2147483647 w 131"/>
                    <a:gd name="T53" fmla="*/ 2147483647 h 261"/>
                    <a:gd name="T54" fmla="*/ 2147483647 w 131"/>
                    <a:gd name="T55" fmla="*/ 2147483647 h 261"/>
                    <a:gd name="T56" fmla="*/ 2147483647 w 131"/>
                    <a:gd name="T57" fmla="*/ 2147483647 h 261"/>
                    <a:gd name="T58" fmla="*/ 2147483647 w 131"/>
                    <a:gd name="T59" fmla="*/ 2147483647 h 261"/>
                    <a:gd name="T60" fmla="*/ 2147483647 w 131"/>
                    <a:gd name="T61" fmla="*/ 2147483647 h 261"/>
                    <a:gd name="T62" fmla="*/ 2147483647 w 131"/>
                    <a:gd name="T63" fmla="*/ 2147483647 h 261"/>
                    <a:gd name="T64" fmla="*/ 2147483647 w 131"/>
                    <a:gd name="T65" fmla="*/ 2147483647 h 261"/>
                    <a:gd name="T66" fmla="*/ 2147483647 w 131"/>
                    <a:gd name="T67" fmla="*/ 2147483647 h 261"/>
                    <a:gd name="T68" fmla="*/ 2147483647 w 131"/>
                    <a:gd name="T69" fmla="*/ 2147483647 h 261"/>
                    <a:gd name="T70" fmla="*/ 2147483647 w 131"/>
                    <a:gd name="T71" fmla="*/ 2147483647 h 261"/>
                    <a:gd name="T72" fmla="*/ 2147483647 w 131"/>
                    <a:gd name="T73" fmla="*/ 2147483647 h 261"/>
                    <a:gd name="T74" fmla="*/ 2147483647 w 131"/>
                    <a:gd name="T75" fmla="*/ 2147483647 h 261"/>
                    <a:gd name="T76" fmla="*/ 2147483647 w 131"/>
                    <a:gd name="T77" fmla="*/ 2147483647 h 261"/>
                    <a:gd name="T78" fmla="*/ 2147483647 w 131"/>
                    <a:gd name="T79" fmla="*/ 2147483647 h 261"/>
                    <a:gd name="T80" fmla="*/ 2147483647 w 131"/>
                    <a:gd name="T81" fmla="*/ 2147483647 h 261"/>
                    <a:gd name="T82" fmla="*/ 2147483647 w 131"/>
                    <a:gd name="T83" fmla="*/ 2147483647 h 261"/>
                    <a:gd name="T84" fmla="*/ 2147483647 w 131"/>
                    <a:gd name="T85" fmla="*/ 2147483647 h 261"/>
                    <a:gd name="T86" fmla="*/ 2147483647 w 131"/>
                    <a:gd name="T87" fmla="*/ 2147483647 h 261"/>
                    <a:gd name="T88" fmla="*/ 2147483647 w 131"/>
                    <a:gd name="T89" fmla="*/ 2147483647 h 261"/>
                    <a:gd name="T90" fmla="*/ 2147483647 w 131"/>
                    <a:gd name="T91" fmla="*/ 2147483647 h 261"/>
                    <a:gd name="T92" fmla="*/ 2147483647 w 131"/>
                    <a:gd name="T93" fmla="*/ 0 h 261"/>
                    <a:gd name="T94" fmla="*/ 0 w 131"/>
                    <a:gd name="T95" fmla="*/ 2147483647 h 26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31"/>
                    <a:gd name="T145" fmla="*/ 0 h 261"/>
                    <a:gd name="T146" fmla="*/ 131 w 131"/>
                    <a:gd name="T147" fmla="*/ 261 h 26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31" h="261">
                      <a:moveTo>
                        <a:pt x="0" y="17"/>
                      </a:moveTo>
                      <a:lnTo>
                        <a:pt x="0" y="43"/>
                      </a:lnTo>
                      <a:lnTo>
                        <a:pt x="18" y="78"/>
                      </a:lnTo>
                      <a:lnTo>
                        <a:pt x="18" y="95"/>
                      </a:lnTo>
                      <a:lnTo>
                        <a:pt x="26" y="130"/>
                      </a:lnTo>
                      <a:lnTo>
                        <a:pt x="26" y="165"/>
                      </a:lnTo>
                      <a:lnTo>
                        <a:pt x="18" y="165"/>
                      </a:lnTo>
                      <a:lnTo>
                        <a:pt x="18" y="191"/>
                      </a:lnTo>
                      <a:lnTo>
                        <a:pt x="18" y="217"/>
                      </a:lnTo>
                      <a:lnTo>
                        <a:pt x="26" y="217"/>
                      </a:lnTo>
                      <a:lnTo>
                        <a:pt x="53" y="261"/>
                      </a:lnTo>
                      <a:lnTo>
                        <a:pt x="70" y="261"/>
                      </a:lnTo>
                      <a:lnTo>
                        <a:pt x="96" y="261"/>
                      </a:lnTo>
                      <a:lnTo>
                        <a:pt x="70" y="244"/>
                      </a:lnTo>
                      <a:lnTo>
                        <a:pt x="61" y="235"/>
                      </a:lnTo>
                      <a:lnTo>
                        <a:pt x="53" y="226"/>
                      </a:lnTo>
                      <a:lnTo>
                        <a:pt x="53" y="217"/>
                      </a:lnTo>
                      <a:lnTo>
                        <a:pt x="53" y="209"/>
                      </a:lnTo>
                      <a:lnTo>
                        <a:pt x="53" y="200"/>
                      </a:lnTo>
                      <a:lnTo>
                        <a:pt x="35" y="191"/>
                      </a:lnTo>
                      <a:lnTo>
                        <a:pt x="26" y="183"/>
                      </a:lnTo>
                      <a:lnTo>
                        <a:pt x="44" y="165"/>
                      </a:lnTo>
                      <a:lnTo>
                        <a:pt x="44" y="122"/>
                      </a:lnTo>
                      <a:lnTo>
                        <a:pt x="53" y="130"/>
                      </a:lnTo>
                      <a:lnTo>
                        <a:pt x="53" y="139"/>
                      </a:lnTo>
                      <a:lnTo>
                        <a:pt x="79" y="156"/>
                      </a:lnTo>
                      <a:lnTo>
                        <a:pt x="88" y="165"/>
                      </a:lnTo>
                      <a:lnTo>
                        <a:pt x="96" y="165"/>
                      </a:lnTo>
                      <a:lnTo>
                        <a:pt x="105" y="165"/>
                      </a:lnTo>
                      <a:lnTo>
                        <a:pt x="96" y="148"/>
                      </a:lnTo>
                      <a:lnTo>
                        <a:pt x="79" y="130"/>
                      </a:lnTo>
                      <a:lnTo>
                        <a:pt x="96" y="104"/>
                      </a:lnTo>
                      <a:lnTo>
                        <a:pt x="122" y="104"/>
                      </a:lnTo>
                      <a:lnTo>
                        <a:pt x="131" y="87"/>
                      </a:lnTo>
                      <a:lnTo>
                        <a:pt x="105" y="43"/>
                      </a:lnTo>
                      <a:lnTo>
                        <a:pt x="88" y="34"/>
                      </a:ln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61" y="52"/>
                      </a:lnTo>
                      <a:lnTo>
                        <a:pt x="53" y="52"/>
                      </a:lnTo>
                      <a:lnTo>
                        <a:pt x="44" y="17"/>
                      </a:lnTo>
                      <a:lnTo>
                        <a:pt x="2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1" name="Freeform 376"/>
                <p:cNvSpPr>
                  <a:spLocks/>
                </p:cNvSpPr>
                <p:nvPr/>
              </p:nvSpPr>
              <p:spPr bwMode="auto">
                <a:xfrm>
                  <a:off x="6070730" y="2390241"/>
                  <a:ext cx="140339" cy="279496"/>
                </a:xfrm>
                <a:custGeom>
                  <a:avLst/>
                  <a:gdLst>
                    <a:gd name="T0" fmla="*/ 0 w 131"/>
                    <a:gd name="T1" fmla="*/ 2147483647 h 261"/>
                    <a:gd name="T2" fmla="*/ 0 w 131"/>
                    <a:gd name="T3" fmla="*/ 2147483647 h 261"/>
                    <a:gd name="T4" fmla="*/ 2147483647 w 131"/>
                    <a:gd name="T5" fmla="*/ 2147483647 h 261"/>
                    <a:gd name="T6" fmla="*/ 2147483647 w 131"/>
                    <a:gd name="T7" fmla="*/ 2147483647 h 261"/>
                    <a:gd name="T8" fmla="*/ 2147483647 w 131"/>
                    <a:gd name="T9" fmla="*/ 2147483647 h 261"/>
                    <a:gd name="T10" fmla="*/ 2147483647 w 131"/>
                    <a:gd name="T11" fmla="*/ 2147483647 h 261"/>
                    <a:gd name="T12" fmla="*/ 2147483647 w 131"/>
                    <a:gd name="T13" fmla="*/ 2147483647 h 261"/>
                    <a:gd name="T14" fmla="*/ 2147483647 w 131"/>
                    <a:gd name="T15" fmla="*/ 2147483647 h 261"/>
                    <a:gd name="T16" fmla="*/ 2147483647 w 131"/>
                    <a:gd name="T17" fmla="*/ 2147483647 h 261"/>
                    <a:gd name="T18" fmla="*/ 2147483647 w 131"/>
                    <a:gd name="T19" fmla="*/ 2147483647 h 261"/>
                    <a:gd name="T20" fmla="*/ 2147483647 w 131"/>
                    <a:gd name="T21" fmla="*/ 2147483647 h 261"/>
                    <a:gd name="T22" fmla="*/ 2147483647 w 131"/>
                    <a:gd name="T23" fmla="*/ 2147483647 h 261"/>
                    <a:gd name="T24" fmla="*/ 2147483647 w 131"/>
                    <a:gd name="T25" fmla="*/ 2147483647 h 261"/>
                    <a:gd name="T26" fmla="*/ 2147483647 w 131"/>
                    <a:gd name="T27" fmla="*/ 2147483647 h 261"/>
                    <a:gd name="T28" fmla="*/ 2147483647 w 131"/>
                    <a:gd name="T29" fmla="*/ 2147483647 h 261"/>
                    <a:gd name="T30" fmla="*/ 2147483647 w 131"/>
                    <a:gd name="T31" fmla="*/ 2147483647 h 261"/>
                    <a:gd name="T32" fmla="*/ 2147483647 w 131"/>
                    <a:gd name="T33" fmla="*/ 2147483647 h 261"/>
                    <a:gd name="T34" fmla="*/ 2147483647 w 131"/>
                    <a:gd name="T35" fmla="*/ 2147483647 h 261"/>
                    <a:gd name="T36" fmla="*/ 2147483647 w 131"/>
                    <a:gd name="T37" fmla="*/ 2147483647 h 261"/>
                    <a:gd name="T38" fmla="*/ 2147483647 w 131"/>
                    <a:gd name="T39" fmla="*/ 2147483647 h 261"/>
                    <a:gd name="T40" fmla="*/ 2147483647 w 131"/>
                    <a:gd name="T41" fmla="*/ 2147483647 h 261"/>
                    <a:gd name="T42" fmla="*/ 2147483647 w 131"/>
                    <a:gd name="T43" fmla="*/ 2147483647 h 261"/>
                    <a:gd name="T44" fmla="*/ 2147483647 w 131"/>
                    <a:gd name="T45" fmla="*/ 2147483647 h 261"/>
                    <a:gd name="T46" fmla="*/ 2147483647 w 131"/>
                    <a:gd name="T47" fmla="*/ 2147483647 h 261"/>
                    <a:gd name="T48" fmla="*/ 2147483647 w 131"/>
                    <a:gd name="T49" fmla="*/ 2147483647 h 261"/>
                    <a:gd name="T50" fmla="*/ 2147483647 w 131"/>
                    <a:gd name="T51" fmla="*/ 2147483647 h 261"/>
                    <a:gd name="T52" fmla="*/ 2147483647 w 131"/>
                    <a:gd name="T53" fmla="*/ 2147483647 h 261"/>
                    <a:gd name="T54" fmla="*/ 2147483647 w 131"/>
                    <a:gd name="T55" fmla="*/ 2147483647 h 261"/>
                    <a:gd name="T56" fmla="*/ 2147483647 w 131"/>
                    <a:gd name="T57" fmla="*/ 2147483647 h 261"/>
                    <a:gd name="T58" fmla="*/ 2147483647 w 131"/>
                    <a:gd name="T59" fmla="*/ 2147483647 h 261"/>
                    <a:gd name="T60" fmla="*/ 2147483647 w 131"/>
                    <a:gd name="T61" fmla="*/ 2147483647 h 261"/>
                    <a:gd name="T62" fmla="*/ 2147483647 w 131"/>
                    <a:gd name="T63" fmla="*/ 2147483647 h 261"/>
                    <a:gd name="T64" fmla="*/ 2147483647 w 131"/>
                    <a:gd name="T65" fmla="*/ 2147483647 h 261"/>
                    <a:gd name="T66" fmla="*/ 2147483647 w 131"/>
                    <a:gd name="T67" fmla="*/ 2147483647 h 261"/>
                    <a:gd name="T68" fmla="*/ 2147483647 w 131"/>
                    <a:gd name="T69" fmla="*/ 2147483647 h 261"/>
                    <a:gd name="T70" fmla="*/ 2147483647 w 131"/>
                    <a:gd name="T71" fmla="*/ 2147483647 h 261"/>
                    <a:gd name="T72" fmla="*/ 2147483647 w 131"/>
                    <a:gd name="T73" fmla="*/ 2147483647 h 261"/>
                    <a:gd name="T74" fmla="*/ 2147483647 w 131"/>
                    <a:gd name="T75" fmla="*/ 2147483647 h 261"/>
                    <a:gd name="T76" fmla="*/ 2147483647 w 131"/>
                    <a:gd name="T77" fmla="*/ 2147483647 h 261"/>
                    <a:gd name="T78" fmla="*/ 2147483647 w 131"/>
                    <a:gd name="T79" fmla="*/ 2147483647 h 261"/>
                    <a:gd name="T80" fmla="*/ 2147483647 w 131"/>
                    <a:gd name="T81" fmla="*/ 2147483647 h 261"/>
                    <a:gd name="T82" fmla="*/ 2147483647 w 131"/>
                    <a:gd name="T83" fmla="*/ 2147483647 h 261"/>
                    <a:gd name="T84" fmla="*/ 2147483647 w 131"/>
                    <a:gd name="T85" fmla="*/ 2147483647 h 261"/>
                    <a:gd name="T86" fmla="*/ 2147483647 w 131"/>
                    <a:gd name="T87" fmla="*/ 2147483647 h 261"/>
                    <a:gd name="T88" fmla="*/ 2147483647 w 131"/>
                    <a:gd name="T89" fmla="*/ 2147483647 h 261"/>
                    <a:gd name="T90" fmla="*/ 2147483647 w 131"/>
                    <a:gd name="T91" fmla="*/ 2147483647 h 261"/>
                    <a:gd name="T92" fmla="*/ 2147483647 w 131"/>
                    <a:gd name="T93" fmla="*/ 0 h 261"/>
                    <a:gd name="T94" fmla="*/ 0 w 131"/>
                    <a:gd name="T95" fmla="*/ 2147483647 h 26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31"/>
                    <a:gd name="T145" fmla="*/ 0 h 261"/>
                    <a:gd name="T146" fmla="*/ 131 w 131"/>
                    <a:gd name="T147" fmla="*/ 261 h 26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31" h="261">
                      <a:moveTo>
                        <a:pt x="0" y="17"/>
                      </a:moveTo>
                      <a:lnTo>
                        <a:pt x="0" y="43"/>
                      </a:lnTo>
                      <a:lnTo>
                        <a:pt x="18" y="78"/>
                      </a:lnTo>
                      <a:lnTo>
                        <a:pt x="18" y="95"/>
                      </a:lnTo>
                      <a:lnTo>
                        <a:pt x="26" y="130"/>
                      </a:lnTo>
                      <a:lnTo>
                        <a:pt x="26" y="165"/>
                      </a:lnTo>
                      <a:lnTo>
                        <a:pt x="18" y="165"/>
                      </a:lnTo>
                      <a:lnTo>
                        <a:pt x="18" y="191"/>
                      </a:lnTo>
                      <a:lnTo>
                        <a:pt x="18" y="217"/>
                      </a:lnTo>
                      <a:lnTo>
                        <a:pt x="26" y="217"/>
                      </a:lnTo>
                      <a:lnTo>
                        <a:pt x="53" y="261"/>
                      </a:lnTo>
                      <a:lnTo>
                        <a:pt x="70" y="261"/>
                      </a:lnTo>
                      <a:lnTo>
                        <a:pt x="96" y="261"/>
                      </a:lnTo>
                      <a:lnTo>
                        <a:pt x="70" y="244"/>
                      </a:lnTo>
                      <a:lnTo>
                        <a:pt x="61" y="235"/>
                      </a:lnTo>
                      <a:lnTo>
                        <a:pt x="53" y="226"/>
                      </a:lnTo>
                      <a:lnTo>
                        <a:pt x="53" y="217"/>
                      </a:lnTo>
                      <a:lnTo>
                        <a:pt x="53" y="209"/>
                      </a:lnTo>
                      <a:lnTo>
                        <a:pt x="53" y="200"/>
                      </a:lnTo>
                      <a:lnTo>
                        <a:pt x="35" y="191"/>
                      </a:lnTo>
                      <a:lnTo>
                        <a:pt x="26" y="183"/>
                      </a:lnTo>
                      <a:lnTo>
                        <a:pt x="44" y="165"/>
                      </a:lnTo>
                      <a:lnTo>
                        <a:pt x="44" y="122"/>
                      </a:lnTo>
                      <a:lnTo>
                        <a:pt x="53" y="130"/>
                      </a:lnTo>
                      <a:lnTo>
                        <a:pt x="53" y="139"/>
                      </a:lnTo>
                      <a:lnTo>
                        <a:pt x="79" y="156"/>
                      </a:lnTo>
                      <a:lnTo>
                        <a:pt x="88" y="165"/>
                      </a:lnTo>
                      <a:lnTo>
                        <a:pt x="96" y="165"/>
                      </a:lnTo>
                      <a:lnTo>
                        <a:pt x="105" y="165"/>
                      </a:lnTo>
                      <a:lnTo>
                        <a:pt x="96" y="148"/>
                      </a:lnTo>
                      <a:lnTo>
                        <a:pt x="79" y="130"/>
                      </a:lnTo>
                      <a:lnTo>
                        <a:pt x="96" y="104"/>
                      </a:lnTo>
                      <a:lnTo>
                        <a:pt x="122" y="104"/>
                      </a:lnTo>
                      <a:lnTo>
                        <a:pt x="131" y="87"/>
                      </a:lnTo>
                      <a:lnTo>
                        <a:pt x="105" y="43"/>
                      </a:lnTo>
                      <a:lnTo>
                        <a:pt x="88" y="34"/>
                      </a:ln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61" y="52"/>
                      </a:lnTo>
                      <a:lnTo>
                        <a:pt x="53" y="52"/>
                      </a:lnTo>
                      <a:lnTo>
                        <a:pt x="44" y="17"/>
                      </a:lnTo>
                      <a:lnTo>
                        <a:pt x="2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2" name="Freeform 377"/>
                <p:cNvSpPr>
                  <a:spLocks/>
                </p:cNvSpPr>
                <p:nvPr/>
              </p:nvSpPr>
              <p:spPr bwMode="auto">
                <a:xfrm>
                  <a:off x="6098584" y="2352760"/>
                  <a:ext cx="140339" cy="168126"/>
                </a:xfrm>
                <a:custGeom>
                  <a:avLst/>
                  <a:gdLst>
                    <a:gd name="T0" fmla="*/ 2147483647 w 131"/>
                    <a:gd name="T1" fmla="*/ 0 h 157"/>
                    <a:gd name="T2" fmla="*/ 2147483647 w 131"/>
                    <a:gd name="T3" fmla="*/ 2147483647 h 157"/>
                    <a:gd name="T4" fmla="*/ 0 w 131"/>
                    <a:gd name="T5" fmla="*/ 2147483647 h 157"/>
                    <a:gd name="T6" fmla="*/ 2147483647 w 131"/>
                    <a:gd name="T7" fmla="*/ 2147483647 h 157"/>
                    <a:gd name="T8" fmla="*/ 2147483647 w 131"/>
                    <a:gd name="T9" fmla="*/ 2147483647 h 157"/>
                    <a:gd name="T10" fmla="*/ 2147483647 w 131"/>
                    <a:gd name="T11" fmla="*/ 2147483647 h 157"/>
                    <a:gd name="T12" fmla="*/ 2147483647 w 131"/>
                    <a:gd name="T13" fmla="*/ 2147483647 h 157"/>
                    <a:gd name="T14" fmla="*/ 2147483647 w 131"/>
                    <a:gd name="T15" fmla="*/ 2147483647 h 157"/>
                    <a:gd name="T16" fmla="*/ 2147483647 w 131"/>
                    <a:gd name="T17" fmla="*/ 2147483647 h 157"/>
                    <a:gd name="T18" fmla="*/ 2147483647 w 131"/>
                    <a:gd name="T19" fmla="*/ 2147483647 h 157"/>
                    <a:gd name="T20" fmla="*/ 2147483647 w 131"/>
                    <a:gd name="T21" fmla="*/ 2147483647 h 157"/>
                    <a:gd name="T22" fmla="*/ 2147483647 w 131"/>
                    <a:gd name="T23" fmla="*/ 2147483647 h 157"/>
                    <a:gd name="T24" fmla="*/ 2147483647 w 131"/>
                    <a:gd name="T25" fmla="*/ 2147483647 h 157"/>
                    <a:gd name="T26" fmla="*/ 2147483647 w 131"/>
                    <a:gd name="T27" fmla="*/ 2147483647 h 157"/>
                    <a:gd name="T28" fmla="*/ 2147483647 w 131"/>
                    <a:gd name="T29" fmla="*/ 2147483647 h 157"/>
                    <a:gd name="T30" fmla="*/ 2147483647 w 131"/>
                    <a:gd name="T31" fmla="*/ 2147483647 h 157"/>
                    <a:gd name="T32" fmla="*/ 2147483647 w 131"/>
                    <a:gd name="T33" fmla="*/ 2147483647 h 157"/>
                    <a:gd name="T34" fmla="*/ 2147483647 w 131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1"/>
                    <a:gd name="T55" fmla="*/ 0 h 157"/>
                    <a:gd name="T56" fmla="*/ 131 w 131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1" h="157">
                      <a:moveTo>
                        <a:pt x="27" y="0"/>
                      </a:moveTo>
                      <a:lnTo>
                        <a:pt x="9" y="8"/>
                      </a:lnTo>
                      <a:lnTo>
                        <a:pt x="0" y="35"/>
                      </a:lnTo>
                      <a:lnTo>
                        <a:pt x="18" y="52"/>
                      </a:lnTo>
                      <a:lnTo>
                        <a:pt x="27" y="87"/>
                      </a:lnTo>
                      <a:lnTo>
                        <a:pt x="35" y="87"/>
                      </a:lnTo>
                      <a:lnTo>
                        <a:pt x="44" y="69"/>
                      </a:lnTo>
                      <a:lnTo>
                        <a:pt x="53" y="87"/>
                      </a:lnTo>
                      <a:lnTo>
                        <a:pt x="62" y="69"/>
                      </a:lnTo>
                      <a:lnTo>
                        <a:pt x="79" y="78"/>
                      </a:lnTo>
                      <a:lnTo>
                        <a:pt x="105" y="122"/>
                      </a:lnTo>
                      <a:lnTo>
                        <a:pt x="96" y="139"/>
                      </a:lnTo>
                      <a:lnTo>
                        <a:pt x="114" y="157"/>
                      </a:lnTo>
                      <a:lnTo>
                        <a:pt x="123" y="139"/>
                      </a:lnTo>
                      <a:lnTo>
                        <a:pt x="131" y="139"/>
                      </a:lnTo>
                      <a:lnTo>
                        <a:pt x="131" y="113"/>
                      </a:lnTo>
                      <a:lnTo>
                        <a:pt x="79" y="61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3" name="Freeform 378"/>
                <p:cNvSpPr>
                  <a:spLocks/>
                </p:cNvSpPr>
                <p:nvPr/>
              </p:nvSpPr>
              <p:spPr bwMode="auto">
                <a:xfrm>
                  <a:off x="6098584" y="2352760"/>
                  <a:ext cx="140339" cy="168126"/>
                </a:xfrm>
                <a:custGeom>
                  <a:avLst/>
                  <a:gdLst>
                    <a:gd name="T0" fmla="*/ 2147483647 w 131"/>
                    <a:gd name="T1" fmla="*/ 0 h 157"/>
                    <a:gd name="T2" fmla="*/ 2147483647 w 131"/>
                    <a:gd name="T3" fmla="*/ 2147483647 h 157"/>
                    <a:gd name="T4" fmla="*/ 0 w 131"/>
                    <a:gd name="T5" fmla="*/ 2147483647 h 157"/>
                    <a:gd name="T6" fmla="*/ 2147483647 w 131"/>
                    <a:gd name="T7" fmla="*/ 2147483647 h 157"/>
                    <a:gd name="T8" fmla="*/ 2147483647 w 131"/>
                    <a:gd name="T9" fmla="*/ 2147483647 h 157"/>
                    <a:gd name="T10" fmla="*/ 2147483647 w 131"/>
                    <a:gd name="T11" fmla="*/ 2147483647 h 157"/>
                    <a:gd name="T12" fmla="*/ 2147483647 w 131"/>
                    <a:gd name="T13" fmla="*/ 2147483647 h 157"/>
                    <a:gd name="T14" fmla="*/ 2147483647 w 131"/>
                    <a:gd name="T15" fmla="*/ 2147483647 h 157"/>
                    <a:gd name="T16" fmla="*/ 2147483647 w 131"/>
                    <a:gd name="T17" fmla="*/ 2147483647 h 157"/>
                    <a:gd name="T18" fmla="*/ 2147483647 w 131"/>
                    <a:gd name="T19" fmla="*/ 2147483647 h 157"/>
                    <a:gd name="T20" fmla="*/ 2147483647 w 131"/>
                    <a:gd name="T21" fmla="*/ 2147483647 h 157"/>
                    <a:gd name="T22" fmla="*/ 2147483647 w 131"/>
                    <a:gd name="T23" fmla="*/ 2147483647 h 157"/>
                    <a:gd name="T24" fmla="*/ 2147483647 w 131"/>
                    <a:gd name="T25" fmla="*/ 2147483647 h 157"/>
                    <a:gd name="T26" fmla="*/ 2147483647 w 131"/>
                    <a:gd name="T27" fmla="*/ 2147483647 h 157"/>
                    <a:gd name="T28" fmla="*/ 2147483647 w 131"/>
                    <a:gd name="T29" fmla="*/ 2147483647 h 157"/>
                    <a:gd name="T30" fmla="*/ 2147483647 w 131"/>
                    <a:gd name="T31" fmla="*/ 2147483647 h 157"/>
                    <a:gd name="T32" fmla="*/ 2147483647 w 131"/>
                    <a:gd name="T33" fmla="*/ 2147483647 h 157"/>
                    <a:gd name="T34" fmla="*/ 2147483647 w 131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1"/>
                    <a:gd name="T55" fmla="*/ 0 h 157"/>
                    <a:gd name="T56" fmla="*/ 131 w 131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1" h="157">
                      <a:moveTo>
                        <a:pt x="27" y="0"/>
                      </a:moveTo>
                      <a:lnTo>
                        <a:pt x="9" y="8"/>
                      </a:lnTo>
                      <a:lnTo>
                        <a:pt x="0" y="35"/>
                      </a:lnTo>
                      <a:lnTo>
                        <a:pt x="18" y="52"/>
                      </a:lnTo>
                      <a:lnTo>
                        <a:pt x="27" y="87"/>
                      </a:lnTo>
                      <a:lnTo>
                        <a:pt x="35" y="87"/>
                      </a:lnTo>
                      <a:lnTo>
                        <a:pt x="44" y="69"/>
                      </a:lnTo>
                      <a:lnTo>
                        <a:pt x="53" y="87"/>
                      </a:lnTo>
                      <a:lnTo>
                        <a:pt x="62" y="69"/>
                      </a:lnTo>
                      <a:lnTo>
                        <a:pt x="79" y="78"/>
                      </a:lnTo>
                      <a:lnTo>
                        <a:pt x="105" y="122"/>
                      </a:lnTo>
                      <a:lnTo>
                        <a:pt x="96" y="139"/>
                      </a:lnTo>
                      <a:lnTo>
                        <a:pt x="114" y="157"/>
                      </a:lnTo>
                      <a:lnTo>
                        <a:pt x="123" y="139"/>
                      </a:lnTo>
                      <a:lnTo>
                        <a:pt x="131" y="139"/>
                      </a:lnTo>
                      <a:lnTo>
                        <a:pt x="131" y="113"/>
                      </a:lnTo>
                      <a:lnTo>
                        <a:pt x="79" y="61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4" name="Freeform 379"/>
                <p:cNvSpPr>
                  <a:spLocks/>
                </p:cNvSpPr>
                <p:nvPr/>
              </p:nvSpPr>
              <p:spPr bwMode="auto">
                <a:xfrm>
                  <a:off x="6127508" y="2333485"/>
                  <a:ext cx="158550" cy="280567"/>
                </a:xfrm>
                <a:custGeom>
                  <a:avLst/>
                  <a:gdLst>
                    <a:gd name="T0" fmla="*/ 2147483647 w 148"/>
                    <a:gd name="T1" fmla="*/ 2147483647 h 262"/>
                    <a:gd name="T2" fmla="*/ 2147483647 w 148"/>
                    <a:gd name="T3" fmla="*/ 0 h 262"/>
                    <a:gd name="T4" fmla="*/ 0 w 148"/>
                    <a:gd name="T5" fmla="*/ 2147483647 h 262"/>
                    <a:gd name="T6" fmla="*/ 2147483647 w 148"/>
                    <a:gd name="T7" fmla="*/ 2147483647 h 262"/>
                    <a:gd name="T8" fmla="*/ 2147483647 w 148"/>
                    <a:gd name="T9" fmla="*/ 2147483647 h 262"/>
                    <a:gd name="T10" fmla="*/ 2147483647 w 148"/>
                    <a:gd name="T11" fmla="*/ 2147483647 h 262"/>
                    <a:gd name="T12" fmla="*/ 2147483647 w 148"/>
                    <a:gd name="T13" fmla="*/ 2147483647 h 262"/>
                    <a:gd name="T14" fmla="*/ 2147483647 w 148"/>
                    <a:gd name="T15" fmla="*/ 2147483647 h 262"/>
                    <a:gd name="T16" fmla="*/ 2147483647 w 148"/>
                    <a:gd name="T17" fmla="*/ 2147483647 h 262"/>
                    <a:gd name="T18" fmla="*/ 2147483647 w 148"/>
                    <a:gd name="T19" fmla="*/ 2147483647 h 262"/>
                    <a:gd name="T20" fmla="*/ 2147483647 w 148"/>
                    <a:gd name="T21" fmla="*/ 2147483647 h 262"/>
                    <a:gd name="T22" fmla="*/ 2147483647 w 148"/>
                    <a:gd name="T23" fmla="*/ 2147483647 h 262"/>
                    <a:gd name="T24" fmla="*/ 2147483647 w 148"/>
                    <a:gd name="T25" fmla="*/ 2147483647 h 262"/>
                    <a:gd name="T26" fmla="*/ 2147483647 w 148"/>
                    <a:gd name="T27" fmla="*/ 2147483647 h 262"/>
                    <a:gd name="T28" fmla="*/ 2147483647 w 148"/>
                    <a:gd name="T29" fmla="*/ 2147483647 h 262"/>
                    <a:gd name="T30" fmla="*/ 2147483647 w 148"/>
                    <a:gd name="T31" fmla="*/ 2147483647 h 262"/>
                    <a:gd name="T32" fmla="*/ 2147483647 w 148"/>
                    <a:gd name="T33" fmla="*/ 2147483647 h 262"/>
                    <a:gd name="T34" fmla="*/ 2147483647 w 148"/>
                    <a:gd name="T35" fmla="*/ 2147483647 h 262"/>
                    <a:gd name="T36" fmla="*/ 2147483647 w 148"/>
                    <a:gd name="T37" fmla="*/ 2147483647 h 262"/>
                    <a:gd name="T38" fmla="*/ 2147483647 w 148"/>
                    <a:gd name="T39" fmla="*/ 2147483647 h 26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8"/>
                    <a:gd name="T61" fmla="*/ 0 h 262"/>
                    <a:gd name="T62" fmla="*/ 148 w 148"/>
                    <a:gd name="T63" fmla="*/ 262 h 26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8" h="262">
                      <a:moveTo>
                        <a:pt x="104" y="26"/>
                      </a:moveTo>
                      <a:lnTo>
                        <a:pt x="43" y="0"/>
                      </a:lnTo>
                      <a:lnTo>
                        <a:pt x="0" y="18"/>
                      </a:lnTo>
                      <a:lnTo>
                        <a:pt x="52" y="79"/>
                      </a:lnTo>
                      <a:lnTo>
                        <a:pt x="104" y="131"/>
                      </a:lnTo>
                      <a:lnTo>
                        <a:pt x="113" y="183"/>
                      </a:lnTo>
                      <a:lnTo>
                        <a:pt x="96" y="227"/>
                      </a:lnTo>
                      <a:lnTo>
                        <a:pt x="69" y="236"/>
                      </a:lnTo>
                      <a:lnTo>
                        <a:pt x="69" y="262"/>
                      </a:lnTo>
                      <a:lnTo>
                        <a:pt x="87" y="253"/>
                      </a:lnTo>
                      <a:lnTo>
                        <a:pt x="96" y="236"/>
                      </a:lnTo>
                      <a:lnTo>
                        <a:pt x="113" y="236"/>
                      </a:lnTo>
                      <a:lnTo>
                        <a:pt x="130" y="218"/>
                      </a:lnTo>
                      <a:lnTo>
                        <a:pt x="148" y="209"/>
                      </a:lnTo>
                      <a:lnTo>
                        <a:pt x="148" y="192"/>
                      </a:lnTo>
                      <a:lnTo>
                        <a:pt x="130" y="148"/>
                      </a:lnTo>
                      <a:lnTo>
                        <a:pt x="96" y="114"/>
                      </a:lnTo>
                      <a:lnTo>
                        <a:pt x="69" y="61"/>
                      </a:lnTo>
                      <a:lnTo>
                        <a:pt x="78" y="44"/>
                      </a:lnTo>
                      <a:lnTo>
                        <a:pt x="10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5" name="Freeform 380"/>
                <p:cNvSpPr>
                  <a:spLocks/>
                </p:cNvSpPr>
                <p:nvPr/>
              </p:nvSpPr>
              <p:spPr bwMode="auto">
                <a:xfrm>
                  <a:off x="6127508" y="2333485"/>
                  <a:ext cx="158550" cy="280567"/>
                </a:xfrm>
                <a:custGeom>
                  <a:avLst/>
                  <a:gdLst>
                    <a:gd name="T0" fmla="*/ 2147483647 w 148"/>
                    <a:gd name="T1" fmla="*/ 2147483647 h 262"/>
                    <a:gd name="T2" fmla="*/ 2147483647 w 148"/>
                    <a:gd name="T3" fmla="*/ 0 h 262"/>
                    <a:gd name="T4" fmla="*/ 0 w 148"/>
                    <a:gd name="T5" fmla="*/ 2147483647 h 262"/>
                    <a:gd name="T6" fmla="*/ 2147483647 w 148"/>
                    <a:gd name="T7" fmla="*/ 2147483647 h 262"/>
                    <a:gd name="T8" fmla="*/ 2147483647 w 148"/>
                    <a:gd name="T9" fmla="*/ 2147483647 h 262"/>
                    <a:gd name="T10" fmla="*/ 2147483647 w 148"/>
                    <a:gd name="T11" fmla="*/ 2147483647 h 262"/>
                    <a:gd name="T12" fmla="*/ 2147483647 w 148"/>
                    <a:gd name="T13" fmla="*/ 2147483647 h 262"/>
                    <a:gd name="T14" fmla="*/ 2147483647 w 148"/>
                    <a:gd name="T15" fmla="*/ 2147483647 h 262"/>
                    <a:gd name="T16" fmla="*/ 2147483647 w 148"/>
                    <a:gd name="T17" fmla="*/ 2147483647 h 262"/>
                    <a:gd name="T18" fmla="*/ 2147483647 w 148"/>
                    <a:gd name="T19" fmla="*/ 2147483647 h 262"/>
                    <a:gd name="T20" fmla="*/ 2147483647 w 148"/>
                    <a:gd name="T21" fmla="*/ 2147483647 h 262"/>
                    <a:gd name="T22" fmla="*/ 2147483647 w 148"/>
                    <a:gd name="T23" fmla="*/ 2147483647 h 262"/>
                    <a:gd name="T24" fmla="*/ 2147483647 w 148"/>
                    <a:gd name="T25" fmla="*/ 2147483647 h 262"/>
                    <a:gd name="T26" fmla="*/ 2147483647 w 148"/>
                    <a:gd name="T27" fmla="*/ 2147483647 h 262"/>
                    <a:gd name="T28" fmla="*/ 2147483647 w 148"/>
                    <a:gd name="T29" fmla="*/ 2147483647 h 262"/>
                    <a:gd name="T30" fmla="*/ 2147483647 w 148"/>
                    <a:gd name="T31" fmla="*/ 2147483647 h 262"/>
                    <a:gd name="T32" fmla="*/ 2147483647 w 148"/>
                    <a:gd name="T33" fmla="*/ 2147483647 h 262"/>
                    <a:gd name="T34" fmla="*/ 2147483647 w 148"/>
                    <a:gd name="T35" fmla="*/ 2147483647 h 262"/>
                    <a:gd name="T36" fmla="*/ 2147483647 w 148"/>
                    <a:gd name="T37" fmla="*/ 2147483647 h 262"/>
                    <a:gd name="T38" fmla="*/ 2147483647 w 148"/>
                    <a:gd name="T39" fmla="*/ 2147483647 h 26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8"/>
                    <a:gd name="T61" fmla="*/ 0 h 262"/>
                    <a:gd name="T62" fmla="*/ 148 w 148"/>
                    <a:gd name="T63" fmla="*/ 262 h 26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8" h="262">
                      <a:moveTo>
                        <a:pt x="104" y="26"/>
                      </a:moveTo>
                      <a:lnTo>
                        <a:pt x="43" y="0"/>
                      </a:lnTo>
                      <a:lnTo>
                        <a:pt x="0" y="18"/>
                      </a:lnTo>
                      <a:lnTo>
                        <a:pt x="52" y="79"/>
                      </a:lnTo>
                      <a:lnTo>
                        <a:pt x="104" y="131"/>
                      </a:lnTo>
                      <a:lnTo>
                        <a:pt x="113" y="183"/>
                      </a:lnTo>
                      <a:lnTo>
                        <a:pt x="96" y="227"/>
                      </a:lnTo>
                      <a:lnTo>
                        <a:pt x="69" y="236"/>
                      </a:lnTo>
                      <a:lnTo>
                        <a:pt x="69" y="262"/>
                      </a:lnTo>
                      <a:lnTo>
                        <a:pt x="87" y="253"/>
                      </a:lnTo>
                      <a:lnTo>
                        <a:pt x="96" y="236"/>
                      </a:lnTo>
                      <a:lnTo>
                        <a:pt x="113" y="236"/>
                      </a:lnTo>
                      <a:lnTo>
                        <a:pt x="130" y="218"/>
                      </a:lnTo>
                      <a:lnTo>
                        <a:pt x="148" y="209"/>
                      </a:lnTo>
                      <a:lnTo>
                        <a:pt x="148" y="192"/>
                      </a:lnTo>
                      <a:lnTo>
                        <a:pt x="130" y="148"/>
                      </a:lnTo>
                      <a:lnTo>
                        <a:pt x="96" y="114"/>
                      </a:lnTo>
                      <a:lnTo>
                        <a:pt x="69" y="61"/>
                      </a:lnTo>
                      <a:lnTo>
                        <a:pt x="78" y="44"/>
                      </a:lnTo>
                      <a:lnTo>
                        <a:pt x="10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6" name="Freeform 381"/>
                <p:cNvSpPr>
                  <a:spLocks/>
                </p:cNvSpPr>
                <p:nvPr/>
              </p:nvSpPr>
              <p:spPr bwMode="auto">
                <a:xfrm>
                  <a:off x="6155361" y="2501611"/>
                  <a:ext cx="93202" cy="84599"/>
                </a:xfrm>
                <a:custGeom>
                  <a:avLst/>
                  <a:gdLst>
                    <a:gd name="T0" fmla="*/ 2147483647 w 87"/>
                    <a:gd name="T1" fmla="*/ 0 h 79"/>
                    <a:gd name="T2" fmla="*/ 2147483647 w 87"/>
                    <a:gd name="T3" fmla="*/ 0 h 79"/>
                    <a:gd name="T4" fmla="*/ 2147483647 w 87"/>
                    <a:gd name="T5" fmla="*/ 2147483647 h 79"/>
                    <a:gd name="T6" fmla="*/ 2147483647 w 87"/>
                    <a:gd name="T7" fmla="*/ 0 h 79"/>
                    <a:gd name="T8" fmla="*/ 2147483647 w 87"/>
                    <a:gd name="T9" fmla="*/ 0 h 79"/>
                    <a:gd name="T10" fmla="*/ 0 w 87"/>
                    <a:gd name="T11" fmla="*/ 2147483647 h 79"/>
                    <a:gd name="T12" fmla="*/ 2147483647 w 87"/>
                    <a:gd name="T13" fmla="*/ 2147483647 h 79"/>
                    <a:gd name="T14" fmla="*/ 2147483647 w 87"/>
                    <a:gd name="T15" fmla="*/ 2147483647 h 79"/>
                    <a:gd name="T16" fmla="*/ 2147483647 w 87"/>
                    <a:gd name="T17" fmla="*/ 2147483647 h 79"/>
                    <a:gd name="T18" fmla="*/ 2147483647 w 87"/>
                    <a:gd name="T19" fmla="*/ 2147483647 h 79"/>
                    <a:gd name="T20" fmla="*/ 2147483647 w 87"/>
                    <a:gd name="T21" fmla="*/ 2147483647 h 79"/>
                    <a:gd name="T22" fmla="*/ 2147483647 w 87"/>
                    <a:gd name="T23" fmla="*/ 2147483647 h 79"/>
                    <a:gd name="T24" fmla="*/ 2147483647 w 87"/>
                    <a:gd name="T25" fmla="*/ 0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79"/>
                    <a:gd name="T41" fmla="*/ 87 w 87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79">
                      <a:moveTo>
                        <a:pt x="78" y="0"/>
                      </a:moveTo>
                      <a:lnTo>
                        <a:pt x="70" y="0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26"/>
                      </a:lnTo>
                      <a:lnTo>
                        <a:pt x="17" y="44"/>
                      </a:lnTo>
                      <a:lnTo>
                        <a:pt x="26" y="61"/>
                      </a:lnTo>
                      <a:lnTo>
                        <a:pt x="17" y="61"/>
                      </a:lnTo>
                      <a:lnTo>
                        <a:pt x="43" y="79"/>
                      </a:lnTo>
                      <a:lnTo>
                        <a:pt x="70" y="70"/>
                      </a:lnTo>
                      <a:lnTo>
                        <a:pt x="87" y="26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7" name="Freeform 382"/>
                <p:cNvSpPr>
                  <a:spLocks/>
                </p:cNvSpPr>
                <p:nvPr/>
              </p:nvSpPr>
              <p:spPr bwMode="auto">
                <a:xfrm>
                  <a:off x="6155361" y="2501611"/>
                  <a:ext cx="93202" cy="84599"/>
                </a:xfrm>
                <a:custGeom>
                  <a:avLst/>
                  <a:gdLst>
                    <a:gd name="T0" fmla="*/ 2147483647 w 87"/>
                    <a:gd name="T1" fmla="*/ 0 h 79"/>
                    <a:gd name="T2" fmla="*/ 2147483647 w 87"/>
                    <a:gd name="T3" fmla="*/ 0 h 79"/>
                    <a:gd name="T4" fmla="*/ 2147483647 w 87"/>
                    <a:gd name="T5" fmla="*/ 2147483647 h 79"/>
                    <a:gd name="T6" fmla="*/ 2147483647 w 87"/>
                    <a:gd name="T7" fmla="*/ 0 h 79"/>
                    <a:gd name="T8" fmla="*/ 2147483647 w 87"/>
                    <a:gd name="T9" fmla="*/ 0 h 79"/>
                    <a:gd name="T10" fmla="*/ 0 w 87"/>
                    <a:gd name="T11" fmla="*/ 2147483647 h 79"/>
                    <a:gd name="T12" fmla="*/ 2147483647 w 87"/>
                    <a:gd name="T13" fmla="*/ 2147483647 h 79"/>
                    <a:gd name="T14" fmla="*/ 2147483647 w 87"/>
                    <a:gd name="T15" fmla="*/ 2147483647 h 79"/>
                    <a:gd name="T16" fmla="*/ 2147483647 w 87"/>
                    <a:gd name="T17" fmla="*/ 2147483647 h 79"/>
                    <a:gd name="T18" fmla="*/ 2147483647 w 87"/>
                    <a:gd name="T19" fmla="*/ 2147483647 h 79"/>
                    <a:gd name="T20" fmla="*/ 2147483647 w 87"/>
                    <a:gd name="T21" fmla="*/ 2147483647 h 79"/>
                    <a:gd name="T22" fmla="*/ 2147483647 w 87"/>
                    <a:gd name="T23" fmla="*/ 2147483647 h 79"/>
                    <a:gd name="T24" fmla="*/ 2147483647 w 87"/>
                    <a:gd name="T25" fmla="*/ 0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79"/>
                    <a:gd name="T41" fmla="*/ 87 w 87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79">
                      <a:moveTo>
                        <a:pt x="78" y="0"/>
                      </a:moveTo>
                      <a:lnTo>
                        <a:pt x="70" y="0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26"/>
                      </a:lnTo>
                      <a:lnTo>
                        <a:pt x="17" y="44"/>
                      </a:lnTo>
                      <a:lnTo>
                        <a:pt x="26" y="61"/>
                      </a:lnTo>
                      <a:lnTo>
                        <a:pt x="17" y="61"/>
                      </a:lnTo>
                      <a:lnTo>
                        <a:pt x="43" y="79"/>
                      </a:lnTo>
                      <a:lnTo>
                        <a:pt x="70" y="70"/>
                      </a:lnTo>
                      <a:lnTo>
                        <a:pt x="87" y="26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8" name="Freeform 383"/>
                <p:cNvSpPr>
                  <a:spLocks/>
                </p:cNvSpPr>
                <p:nvPr/>
              </p:nvSpPr>
              <p:spPr bwMode="auto">
                <a:xfrm>
                  <a:off x="6286058" y="2986712"/>
                  <a:ext cx="728475" cy="551496"/>
                </a:xfrm>
                <a:custGeom>
                  <a:avLst/>
                  <a:gdLst>
                    <a:gd name="T0" fmla="*/ 2147483647 w 680"/>
                    <a:gd name="T1" fmla="*/ 2147483647 h 515"/>
                    <a:gd name="T2" fmla="*/ 2147483647 w 680"/>
                    <a:gd name="T3" fmla="*/ 0 h 515"/>
                    <a:gd name="T4" fmla="*/ 2147483647 w 680"/>
                    <a:gd name="T5" fmla="*/ 2147483647 h 515"/>
                    <a:gd name="T6" fmla="*/ 2147483647 w 680"/>
                    <a:gd name="T7" fmla="*/ 2147483647 h 515"/>
                    <a:gd name="T8" fmla="*/ 2147483647 w 680"/>
                    <a:gd name="T9" fmla="*/ 2147483647 h 515"/>
                    <a:gd name="T10" fmla="*/ 2147483647 w 680"/>
                    <a:gd name="T11" fmla="*/ 2147483647 h 515"/>
                    <a:gd name="T12" fmla="*/ 2147483647 w 680"/>
                    <a:gd name="T13" fmla="*/ 2147483647 h 515"/>
                    <a:gd name="T14" fmla="*/ 2147483647 w 680"/>
                    <a:gd name="T15" fmla="*/ 2147483647 h 515"/>
                    <a:gd name="T16" fmla="*/ 2147483647 w 680"/>
                    <a:gd name="T17" fmla="*/ 2147483647 h 515"/>
                    <a:gd name="T18" fmla="*/ 2147483647 w 680"/>
                    <a:gd name="T19" fmla="*/ 2147483647 h 515"/>
                    <a:gd name="T20" fmla="*/ 2147483647 w 680"/>
                    <a:gd name="T21" fmla="*/ 2147483647 h 515"/>
                    <a:gd name="T22" fmla="*/ 2147483647 w 680"/>
                    <a:gd name="T23" fmla="*/ 2147483647 h 515"/>
                    <a:gd name="T24" fmla="*/ 2147483647 w 680"/>
                    <a:gd name="T25" fmla="*/ 2147483647 h 515"/>
                    <a:gd name="T26" fmla="*/ 2147483647 w 680"/>
                    <a:gd name="T27" fmla="*/ 2147483647 h 515"/>
                    <a:gd name="T28" fmla="*/ 2147483647 w 680"/>
                    <a:gd name="T29" fmla="*/ 2147483647 h 515"/>
                    <a:gd name="T30" fmla="*/ 2147483647 w 680"/>
                    <a:gd name="T31" fmla="*/ 2147483647 h 515"/>
                    <a:gd name="T32" fmla="*/ 2147483647 w 680"/>
                    <a:gd name="T33" fmla="*/ 2147483647 h 515"/>
                    <a:gd name="T34" fmla="*/ 2147483647 w 680"/>
                    <a:gd name="T35" fmla="*/ 2147483647 h 515"/>
                    <a:gd name="T36" fmla="*/ 2147483647 w 680"/>
                    <a:gd name="T37" fmla="*/ 2147483647 h 515"/>
                    <a:gd name="T38" fmla="*/ 2147483647 w 680"/>
                    <a:gd name="T39" fmla="*/ 2147483647 h 515"/>
                    <a:gd name="T40" fmla="*/ 2147483647 w 680"/>
                    <a:gd name="T41" fmla="*/ 2147483647 h 515"/>
                    <a:gd name="T42" fmla="*/ 2147483647 w 680"/>
                    <a:gd name="T43" fmla="*/ 2147483647 h 515"/>
                    <a:gd name="T44" fmla="*/ 2147483647 w 680"/>
                    <a:gd name="T45" fmla="*/ 2147483647 h 515"/>
                    <a:gd name="T46" fmla="*/ 2147483647 w 680"/>
                    <a:gd name="T47" fmla="*/ 2147483647 h 515"/>
                    <a:gd name="T48" fmla="*/ 2147483647 w 680"/>
                    <a:gd name="T49" fmla="*/ 2147483647 h 515"/>
                    <a:gd name="T50" fmla="*/ 2147483647 w 680"/>
                    <a:gd name="T51" fmla="*/ 2147483647 h 515"/>
                    <a:gd name="T52" fmla="*/ 2147483647 w 680"/>
                    <a:gd name="T53" fmla="*/ 2147483647 h 515"/>
                    <a:gd name="T54" fmla="*/ 2147483647 w 680"/>
                    <a:gd name="T55" fmla="*/ 2147483647 h 515"/>
                    <a:gd name="T56" fmla="*/ 2147483647 w 680"/>
                    <a:gd name="T57" fmla="*/ 2147483647 h 515"/>
                    <a:gd name="T58" fmla="*/ 2147483647 w 680"/>
                    <a:gd name="T59" fmla="*/ 2147483647 h 515"/>
                    <a:gd name="T60" fmla="*/ 2147483647 w 680"/>
                    <a:gd name="T61" fmla="*/ 2147483647 h 515"/>
                    <a:gd name="T62" fmla="*/ 2147483647 w 680"/>
                    <a:gd name="T63" fmla="*/ 2147483647 h 515"/>
                    <a:gd name="T64" fmla="*/ 2147483647 w 680"/>
                    <a:gd name="T65" fmla="*/ 2147483647 h 515"/>
                    <a:gd name="T66" fmla="*/ 2147483647 w 680"/>
                    <a:gd name="T67" fmla="*/ 2147483647 h 515"/>
                    <a:gd name="T68" fmla="*/ 2147483647 w 680"/>
                    <a:gd name="T69" fmla="*/ 2147483647 h 515"/>
                    <a:gd name="T70" fmla="*/ 2147483647 w 680"/>
                    <a:gd name="T71" fmla="*/ 2147483647 h 515"/>
                    <a:gd name="T72" fmla="*/ 2147483647 w 680"/>
                    <a:gd name="T73" fmla="*/ 2147483647 h 515"/>
                    <a:gd name="T74" fmla="*/ 2147483647 w 680"/>
                    <a:gd name="T75" fmla="*/ 2147483647 h 515"/>
                    <a:gd name="T76" fmla="*/ 2147483647 w 680"/>
                    <a:gd name="T77" fmla="*/ 2147483647 h 515"/>
                    <a:gd name="T78" fmla="*/ 2147483647 w 680"/>
                    <a:gd name="T79" fmla="*/ 2147483647 h 515"/>
                    <a:gd name="T80" fmla="*/ 2147483647 w 680"/>
                    <a:gd name="T81" fmla="*/ 2147483647 h 515"/>
                    <a:gd name="T82" fmla="*/ 2147483647 w 680"/>
                    <a:gd name="T83" fmla="*/ 2147483647 h 515"/>
                    <a:gd name="T84" fmla="*/ 2147483647 w 680"/>
                    <a:gd name="T85" fmla="*/ 2147483647 h 515"/>
                    <a:gd name="T86" fmla="*/ 2147483647 w 680"/>
                    <a:gd name="T87" fmla="*/ 2147483647 h 515"/>
                    <a:gd name="T88" fmla="*/ 2147483647 w 680"/>
                    <a:gd name="T89" fmla="*/ 2147483647 h 515"/>
                    <a:gd name="T90" fmla="*/ 2147483647 w 680"/>
                    <a:gd name="T91" fmla="*/ 2147483647 h 515"/>
                    <a:gd name="T92" fmla="*/ 2147483647 w 680"/>
                    <a:gd name="T93" fmla="*/ 2147483647 h 515"/>
                    <a:gd name="T94" fmla="*/ 2147483647 w 680"/>
                    <a:gd name="T95" fmla="*/ 2147483647 h 515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80"/>
                    <a:gd name="T145" fmla="*/ 0 h 515"/>
                    <a:gd name="T146" fmla="*/ 680 w 680"/>
                    <a:gd name="T147" fmla="*/ 515 h 515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80" h="515">
                      <a:moveTo>
                        <a:pt x="593" y="79"/>
                      </a:moveTo>
                      <a:lnTo>
                        <a:pt x="567" y="61"/>
                      </a:lnTo>
                      <a:lnTo>
                        <a:pt x="575" y="35"/>
                      </a:lnTo>
                      <a:lnTo>
                        <a:pt x="558" y="0"/>
                      </a:lnTo>
                      <a:lnTo>
                        <a:pt x="540" y="18"/>
                      </a:lnTo>
                      <a:lnTo>
                        <a:pt x="532" y="96"/>
                      </a:lnTo>
                      <a:lnTo>
                        <a:pt x="506" y="122"/>
                      </a:lnTo>
                      <a:lnTo>
                        <a:pt x="488" y="122"/>
                      </a:lnTo>
                      <a:lnTo>
                        <a:pt x="471" y="105"/>
                      </a:lnTo>
                      <a:lnTo>
                        <a:pt x="462" y="96"/>
                      </a:lnTo>
                      <a:lnTo>
                        <a:pt x="445" y="96"/>
                      </a:lnTo>
                      <a:lnTo>
                        <a:pt x="427" y="79"/>
                      </a:lnTo>
                      <a:lnTo>
                        <a:pt x="445" y="53"/>
                      </a:lnTo>
                      <a:lnTo>
                        <a:pt x="453" y="35"/>
                      </a:lnTo>
                      <a:lnTo>
                        <a:pt x="453" y="26"/>
                      </a:lnTo>
                      <a:lnTo>
                        <a:pt x="445" y="26"/>
                      </a:lnTo>
                      <a:lnTo>
                        <a:pt x="436" y="26"/>
                      </a:lnTo>
                      <a:lnTo>
                        <a:pt x="418" y="26"/>
                      </a:lnTo>
                      <a:lnTo>
                        <a:pt x="392" y="0"/>
                      </a:lnTo>
                      <a:lnTo>
                        <a:pt x="375" y="9"/>
                      </a:lnTo>
                      <a:lnTo>
                        <a:pt x="383" y="26"/>
                      </a:lnTo>
                      <a:lnTo>
                        <a:pt x="366" y="35"/>
                      </a:lnTo>
                      <a:lnTo>
                        <a:pt x="340" y="44"/>
                      </a:lnTo>
                      <a:lnTo>
                        <a:pt x="331" y="61"/>
                      </a:lnTo>
                      <a:lnTo>
                        <a:pt x="331" y="87"/>
                      </a:lnTo>
                      <a:lnTo>
                        <a:pt x="305" y="87"/>
                      </a:lnTo>
                      <a:lnTo>
                        <a:pt x="296" y="61"/>
                      </a:lnTo>
                      <a:lnTo>
                        <a:pt x="270" y="53"/>
                      </a:lnTo>
                      <a:lnTo>
                        <a:pt x="270" y="70"/>
                      </a:lnTo>
                      <a:lnTo>
                        <a:pt x="261" y="70"/>
                      </a:lnTo>
                      <a:lnTo>
                        <a:pt x="253" y="87"/>
                      </a:lnTo>
                      <a:lnTo>
                        <a:pt x="244" y="87"/>
                      </a:lnTo>
                      <a:lnTo>
                        <a:pt x="244" y="105"/>
                      </a:lnTo>
                      <a:lnTo>
                        <a:pt x="227" y="105"/>
                      </a:lnTo>
                      <a:lnTo>
                        <a:pt x="218" y="122"/>
                      </a:lnTo>
                      <a:lnTo>
                        <a:pt x="218" y="114"/>
                      </a:lnTo>
                      <a:lnTo>
                        <a:pt x="200" y="122"/>
                      </a:lnTo>
                      <a:lnTo>
                        <a:pt x="200" y="140"/>
                      </a:lnTo>
                      <a:lnTo>
                        <a:pt x="166" y="175"/>
                      </a:lnTo>
                      <a:lnTo>
                        <a:pt x="122" y="175"/>
                      </a:lnTo>
                      <a:lnTo>
                        <a:pt x="104" y="183"/>
                      </a:lnTo>
                      <a:lnTo>
                        <a:pt x="96" y="183"/>
                      </a:lnTo>
                      <a:lnTo>
                        <a:pt x="87" y="192"/>
                      </a:lnTo>
                      <a:lnTo>
                        <a:pt x="43" y="218"/>
                      </a:lnTo>
                      <a:lnTo>
                        <a:pt x="35" y="210"/>
                      </a:lnTo>
                      <a:lnTo>
                        <a:pt x="35" y="236"/>
                      </a:lnTo>
                      <a:lnTo>
                        <a:pt x="35" y="262"/>
                      </a:lnTo>
                      <a:lnTo>
                        <a:pt x="43" y="271"/>
                      </a:lnTo>
                      <a:lnTo>
                        <a:pt x="35" y="288"/>
                      </a:lnTo>
                      <a:lnTo>
                        <a:pt x="17" y="279"/>
                      </a:lnTo>
                      <a:lnTo>
                        <a:pt x="35" y="340"/>
                      </a:lnTo>
                      <a:lnTo>
                        <a:pt x="17" y="358"/>
                      </a:lnTo>
                      <a:lnTo>
                        <a:pt x="35" y="384"/>
                      </a:lnTo>
                      <a:lnTo>
                        <a:pt x="17" y="419"/>
                      </a:lnTo>
                      <a:lnTo>
                        <a:pt x="0" y="427"/>
                      </a:lnTo>
                      <a:lnTo>
                        <a:pt x="9" y="436"/>
                      </a:lnTo>
                      <a:lnTo>
                        <a:pt x="43" y="445"/>
                      </a:lnTo>
                      <a:lnTo>
                        <a:pt x="87" y="427"/>
                      </a:lnTo>
                      <a:lnTo>
                        <a:pt x="139" y="427"/>
                      </a:lnTo>
                      <a:lnTo>
                        <a:pt x="157" y="410"/>
                      </a:lnTo>
                      <a:lnTo>
                        <a:pt x="218" y="393"/>
                      </a:lnTo>
                      <a:lnTo>
                        <a:pt x="244" y="384"/>
                      </a:lnTo>
                      <a:lnTo>
                        <a:pt x="261" y="384"/>
                      </a:lnTo>
                      <a:lnTo>
                        <a:pt x="279" y="384"/>
                      </a:lnTo>
                      <a:lnTo>
                        <a:pt x="314" y="393"/>
                      </a:lnTo>
                      <a:lnTo>
                        <a:pt x="314" y="410"/>
                      </a:lnTo>
                      <a:lnTo>
                        <a:pt x="322" y="410"/>
                      </a:lnTo>
                      <a:lnTo>
                        <a:pt x="322" y="436"/>
                      </a:lnTo>
                      <a:lnTo>
                        <a:pt x="375" y="410"/>
                      </a:lnTo>
                      <a:lnTo>
                        <a:pt x="349" y="445"/>
                      </a:lnTo>
                      <a:lnTo>
                        <a:pt x="375" y="436"/>
                      </a:lnTo>
                      <a:lnTo>
                        <a:pt x="357" y="454"/>
                      </a:lnTo>
                      <a:lnTo>
                        <a:pt x="375" y="454"/>
                      </a:lnTo>
                      <a:lnTo>
                        <a:pt x="375" y="480"/>
                      </a:lnTo>
                      <a:lnTo>
                        <a:pt x="366" y="488"/>
                      </a:lnTo>
                      <a:lnTo>
                        <a:pt x="375" y="506"/>
                      </a:lnTo>
                      <a:lnTo>
                        <a:pt x="410" y="506"/>
                      </a:lnTo>
                      <a:lnTo>
                        <a:pt x="418" y="515"/>
                      </a:lnTo>
                      <a:lnTo>
                        <a:pt x="445" y="497"/>
                      </a:lnTo>
                      <a:lnTo>
                        <a:pt x="453" y="515"/>
                      </a:lnTo>
                      <a:lnTo>
                        <a:pt x="488" y="506"/>
                      </a:lnTo>
                      <a:lnTo>
                        <a:pt x="514" y="497"/>
                      </a:lnTo>
                      <a:lnTo>
                        <a:pt x="532" y="488"/>
                      </a:lnTo>
                      <a:lnTo>
                        <a:pt x="532" y="480"/>
                      </a:lnTo>
                      <a:lnTo>
                        <a:pt x="558" y="445"/>
                      </a:lnTo>
                      <a:lnTo>
                        <a:pt x="593" y="427"/>
                      </a:lnTo>
                      <a:lnTo>
                        <a:pt x="593" y="410"/>
                      </a:lnTo>
                      <a:lnTo>
                        <a:pt x="619" y="401"/>
                      </a:lnTo>
                      <a:lnTo>
                        <a:pt x="671" y="314"/>
                      </a:lnTo>
                      <a:lnTo>
                        <a:pt x="671" y="297"/>
                      </a:lnTo>
                      <a:lnTo>
                        <a:pt x="680" y="271"/>
                      </a:lnTo>
                      <a:lnTo>
                        <a:pt x="654" y="236"/>
                      </a:lnTo>
                      <a:lnTo>
                        <a:pt x="654" y="218"/>
                      </a:lnTo>
                      <a:lnTo>
                        <a:pt x="636" y="218"/>
                      </a:lnTo>
                      <a:lnTo>
                        <a:pt x="619" y="175"/>
                      </a:lnTo>
                      <a:lnTo>
                        <a:pt x="610" y="157"/>
                      </a:lnTo>
                      <a:lnTo>
                        <a:pt x="593" y="7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9" name="Freeform 384"/>
                <p:cNvSpPr>
                  <a:spLocks/>
                </p:cNvSpPr>
                <p:nvPr/>
              </p:nvSpPr>
              <p:spPr bwMode="auto">
                <a:xfrm>
                  <a:off x="6286058" y="2986712"/>
                  <a:ext cx="728475" cy="551496"/>
                </a:xfrm>
                <a:custGeom>
                  <a:avLst/>
                  <a:gdLst>
                    <a:gd name="T0" fmla="*/ 2147483647 w 680"/>
                    <a:gd name="T1" fmla="*/ 2147483647 h 515"/>
                    <a:gd name="T2" fmla="*/ 2147483647 w 680"/>
                    <a:gd name="T3" fmla="*/ 0 h 515"/>
                    <a:gd name="T4" fmla="*/ 2147483647 w 680"/>
                    <a:gd name="T5" fmla="*/ 2147483647 h 515"/>
                    <a:gd name="T6" fmla="*/ 2147483647 w 680"/>
                    <a:gd name="T7" fmla="*/ 2147483647 h 515"/>
                    <a:gd name="T8" fmla="*/ 2147483647 w 680"/>
                    <a:gd name="T9" fmla="*/ 2147483647 h 515"/>
                    <a:gd name="T10" fmla="*/ 2147483647 w 680"/>
                    <a:gd name="T11" fmla="*/ 2147483647 h 515"/>
                    <a:gd name="T12" fmla="*/ 2147483647 w 680"/>
                    <a:gd name="T13" fmla="*/ 2147483647 h 515"/>
                    <a:gd name="T14" fmla="*/ 2147483647 w 680"/>
                    <a:gd name="T15" fmla="*/ 2147483647 h 515"/>
                    <a:gd name="T16" fmla="*/ 2147483647 w 680"/>
                    <a:gd name="T17" fmla="*/ 2147483647 h 515"/>
                    <a:gd name="T18" fmla="*/ 2147483647 w 680"/>
                    <a:gd name="T19" fmla="*/ 2147483647 h 515"/>
                    <a:gd name="T20" fmla="*/ 2147483647 w 680"/>
                    <a:gd name="T21" fmla="*/ 2147483647 h 515"/>
                    <a:gd name="T22" fmla="*/ 2147483647 w 680"/>
                    <a:gd name="T23" fmla="*/ 2147483647 h 515"/>
                    <a:gd name="T24" fmla="*/ 2147483647 w 680"/>
                    <a:gd name="T25" fmla="*/ 2147483647 h 515"/>
                    <a:gd name="T26" fmla="*/ 2147483647 w 680"/>
                    <a:gd name="T27" fmla="*/ 2147483647 h 515"/>
                    <a:gd name="T28" fmla="*/ 2147483647 w 680"/>
                    <a:gd name="T29" fmla="*/ 2147483647 h 515"/>
                    <a:gd name="T30" fmla="*/ 2147483647 w 680"/>
                    <a:gd name="T31" fmla="*/ 2147483647 h 515"/>
                    <a:gd name="T32" fmla="*/ 2147483647 w 680"/>
                    <a:gd name="T33" fmla="*/ 2147483647 h 515"/>
                    <a:gd name="T34" fmla="*/ 2147483647 w 680"/>
                    <a:gd name="T35" fmla="*/ 2147483647 h 515"/>
                    <a:gd name="T36" fmla="*/ 2147483647 w 680"/>
                    <a:gd name="T37" fmla="*/ 2147483647 h 515"/>
                    <a:gd name="T38" fmla="*/ 2147483647 w 680"/>
                    <a:gd name="T39" fmla="*/ 2147483647 h 515"/>
                    <a:gd name="T40" fmla="*/ 2147483647 w 680"/>
                    <a:gd name="T41" fmla="*/ 2147483647 h 515"/>
                    <a:gd name="T42" fmla="*/ 2147483647 w 680"/>
                    <a:gd name="T43" fmla="*/ 2147483647 h 515"/>
                    <a:gd name="T44" fmla="*/ 2147483647 w 680"/>
                    <a:gd name="T45" fmla="*/ 2147483647 h 515"/>
                    <a:gd name="T46" fmla="*/ 2147483647 w 680"/>
                    <a:gd name="T47" fmla="*/ 2147483647 h 515"/>
                    <a:gd name="T48" fmla="*/ 2147483647 w 680"/>
                    <a:gd name="T49" fmla="*/ 2147483647 h 515"/>
                    <a:gd name="T50" fmla="*/ 2147483647 w 680"/>
                    <a:gd name="T51" fmla="*/ 2147483647 h 515"/>
                    <a:gd name="T52" fmla="*/ 2147483647 w 680"/>
                    <a:gd name="T53" fmla="*/ 2147483647 h 515"/>
                    <a:gd name="T54" fmla="*/ 2147483647 w 680"/>
                    <a:gd name="T55" fmla="*/ 2147483647 h 515"/>
                    <a:gd name="T56" fmla="*/ 2147483647 w 680"/>
                    <a:gd name="T57" fmla="*/ 2147483647 h 515"/>
                    <a:gd name="T58" fmla="*/ 2147483647 w 680"/>
                    <a:gd name="T59" fmla="*/ 2147483647 h 515"/>
                    <a:gd name="T60" fmla="*/ 2147483647 w 680"/>
                    <a:gd name="T61" fmla="*/ 2147483647 h 515"/>
                    <a:gd name="T62" fmla="*/ 2147483647 w 680"/>
                    <a:gd name="T63" fmla="*/ 2147483647 h 515"/>
                    <a:gd name="T64" fmla="*/ 2147483647 w 680"/>
                    <a:gd name="T65" fmla="*/ 2147483647 h 515"/>
                    <a:gd name="T66" fmla="*/ 2147483647 w 680"/>
                    <a:gd name="T67" fmla="*/ 2147483647 h 515"/>
                    <a:gd name="T68" fmla="*/ 2147483647 w 680"/>
                    <a:gd name="T69" fmla="*/ 2147483647 h 515"/>
                    <a:gd name="T70" fmla="*/ 2147483647 w 680"/>
                    <a:gd name="T71" fmla="*/ 2147483647 h 515"/>
                    <a:gd name="T72" fmla="*/ 2147483647 w 680"/>
                    <a:gd name="T73" fmla="*/ 2147483647 h 515"/>
                    <a:gd name="T74" fmla="*/ 2147483647 w 680"/>
                    <a:gd name="T75" fmla="*/ 2147483647 h 515"/>
                    <a:gd name="T76" fmla="*/ 2147483647 w 680"/>
                    <a:gd name="T77" fmla="*/ 2147483647 h 515"/>
                    <a:gd name="T78" fmla="*/ 2147483647 w 680"/>
                    <a:gd name="T79" fmla="*/ 2147483647 h 515"/>
                    <a:gd name="T80" fmla="*/ 2147483647 w 680"/>
                    <a:gd name="T81" fmla="*/ 2147483647 h 515"/>
                    <a:gd name="T82" fmla="*/ 2147483647 w 680"/>
                    <a:gd name="T83" fmla="*/ 2147483647 h 515"/>
                    <a:gd name="T84" fmla="*/ 2147483647 w 680"/>
                    <a:gd name="T85" fmla="*/ 2147483647 h 515"/>
                    <a:gd name="T86" fmla="*/ 2147483647 w 680"/>
                    <a:gd name="T87" fmla="*/ 2147483647 h 515"/>
                    <a:gd name="T88" fmla="*/ 2147483647 w 680"/>
                    <a:gd name="T89" fmla="*/ 2147483647 h 515"/>
                    <a:gd name="T90" fmla="*/ 2147483647 w 680"/>
                    <a:gd name="T91" fmla="*/ 2147483647 h 515"/>
                    <a:gd name="T92" fmla="*/ 2147483647 w 680"/>
                    <a:gd name="T93" fmla="*/ 2147483647 h 515"/>
                    <a:gd name="T94" fmla="*/ 2147483647 w 680"/>
                    <a:gd name="T95" fmla="*/ 2147483647 h 515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80"/>
                    <a:gd name="T145" fmla="*/ 0 h 515"/>
                    <a:gd name="T146" fmla="*/ 680 w 680"/>
                    <a:gd name="T147" fmla="*/ 515 h 515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80" h="515">
                      <a:moveTo>
                        <a:pt x="593" y="79"/>
                      </a:moveTo>
                      <a:lnTo>
                        <a:pt x="567" y="61"/>
                      </a:lnTo>
                      <a:lnTo>
                        <a:pt x="575" y="35"/>
                      </a:lnTo>
                      <a:lnTo>
                        <a:pt x="558" y="0"/>
                      </a:lnTo>
                      <a:lnTo>
                        <a:pt x="540" y="18"/>
                      </a:lnTo>
                      <a:lnTo>
                        <a:pt x="532" y="96"/>
                      </a:lnTo>
                      <a:lnTo>
                        <a:pt x="506" y="122"/>
                      </a:lnTo>
                      <a:lnTo>
                        <a:pt x="488" y="122"/>
                      </a:lnTo>
                      <a:lnTo>
                        <a:pt x="471" y="105"/>
                      </a:lnTo>
                      <a:lnTo>
                        <a:pt x="462" y="96"/>
                      </a:lnTo>
                      <a:lnTo>
                        <a:pt x="445" y="96"/>
                      </a:lnTo>
                      <a:lnTo>
                        <a:pt x="427" y="79"/>
                      </a:lnTo>
                      <a:lnTo>
                        <a:pt x="445" y="53"/>
                      </a:lnTo>
                      <a:lnTo>
                        <a:pt x="453" y="35"/>
                      </a:lnTo>
                      <a:lnTo>
                        <a:pt x="453" y="26"/>
                      </a:lnTo>
                      <a:lnTo>
                        <a:pt x="445" y="26"/>
                      </a:lnTo>
                      <a:lnTo>
                        <a:pt x="436" y="26"/>
                      </a:lnTo>
                      <a:lnTo>
                        <a:pt x="418" y="26"/>
                      </a:lnTo>
                      <a:lnTo>
                        <a:pt x="392" y="0"/>
                      </a:lnTo>
                      <a:lnTo>
                        <a:pt x="375" y="9"/>
                      </a:lnTo>
                      <a:lnTo>
                        <a:pt x="383" y="26"/>
                      </a:lnTo>
                      <a:lnTo>
                        <a:pt x="366" y="35"/>
                      </a:lnTo>
                      <a:lnTo>
                        <a:pt x="340" y="44"/>
                      </a:lnTo>
                      <a:lnTo>
                        <a:pt x="331" y="61"/>
                      </a:lnTo>
                      <a:lnTo>
                        <a:pt x="331" y="87"/>
                      </a:lnTo>
                      <a:lnTo>
                        <a:pt x="305" y="87"/>
                      </a:lnTo>
                      <a:lnTo>
                        <a:pt x="296" y="61"/>
                      </a:lnTo>
                      <a:lnTo>
                        <a:pt x="270" y="53"/>
                      </a:lnTo>
                      <a:lnTo>
                        <a:pt x="270" y="70"/>
                      </a:lnTo>
                      <a:lnTo>
                        <a:pt x="261" y="70"/>
                      </a:lnTo>
                      <a:lnTo>
                        <a:pt x="253" y="87"/>
                      </a:lnTo>
                      <a:lnTo>
                        <a:pt x="244" y="87"/>
                      </a:lnTo>
                      <a:lnTo>
                        <a:pt x="244" y="105"/>
                      </a:lnTo>
                      <a:lnTo>
                        <a:pt x="227" y="105"/>
                      </a:lnTo>
                      <a:lnTo>
                        <a:pt x="218" y="122"/>
                      </a:lnTo>
                      <a:lnTo>
                        <a:pt x="218" y="114"/>
                      </a:lnTo>
                      <a:lnTo>
                        <a:pt x="200" y="122"/>
                      </a:lnTo>
                      <a:lnTo>
                        <a:pt x="200" y="140"/>
                      </a:lnTo>
                      <a:lnTo>
                        <a:pt x="166" y="175"/>
                      </a:lnTo>
                      <a:lnTo>
                        <a:pt x="122" y="175"/>
                      </a:lnTo>
                      <a:lnTo>
                        <a:pt x="104" y="183"/>
                      </a:lnTo>
                      <a:lnTo>
                        <a:pt x="96" y="183"/>
                      </a:lnTo>
                      <a:lnTo>
                        <a:pt x="87" y="192"/>
                      </a:lnTo>
                      <a:lnTo>
                        <a:pt x="43" y="218"/>
                      </a:lnTo>
                      <a:lnTo>
                        <a:pt x="35" y="210"/>
                      </a:lnTo>
                      <a:lnTo>
                        <a:pt x="35" y="236"/>
                      </a:lnTo>
                      <a:lnTo>
                        <a:pt x="35" y="262"/>
                      </a:lnTo>
                      <a:lnTo>
                        <a:pt x="43" y="271"/>
                      </a:lnTo>
                      <a:lnTo>
                        <a:pt x="35" y="288"/>
                      </a:lnTo>
                      <a:lnTo>
                        <a:pt x="17" y="279"/>
                      </a:lnTo>
                      <a:lnTo>
                        <a:pt x="35" y="340"/>
                      </a:lnTo>
                      <a:lnTo>
                        <a:pt x="17" y="358"/>
                      </a:lnTo>
                      <a:lnTo>
                        <a:pt x="35" y="384"/>
                      </a:lnTo>
                      <a:lnTo>
                        <a:pt x="17" y="419"/>
                      </a:lnTo>
                      <a:lnTo>
                        <a:pt x="0" y="427"/>
                      </a:lnTo>
                      <a:lnTo>
                        <a:pt x="9" y="436"/>
                      </a:lnTo>
                      <a:lnTo>
                        <a:pt x="43" y="445"/>
                      </a:lnTo>
                      <a:lnTo>
                        <a:pt x="87" y="427"/>
                      </a:lnTo>
                      <a:lnTo>
                        <a:pt x="139" y="427"/>
                      </a:lnTo>
                      <a:lnTo>
                        <a:pt x="157" y="410"/>
                      </a:lnTo>
                      <a:lnTo>
                        <a:pt x="218" y="393"/>
                      </a:lnTo>
                      <a:lnTo>
                        <a:pt x="244" y="384"/>
                      </a:lnTo>
                      <a:lnTo>
                        <a:pt x="261" y="384"/>
                      </a:lnTo>
                      <a:lnTo>
                        <a:pt x="279" y="384"/>
                      </a:lnTo>
                      <a:lnTo>
                        <a:pt x="314" y="393"/>
                      </a:lnTo>
                      <a:lnTo>
                        <a:pt x="314" y="410"/>
                      </a:lnTo>
                      <a:lnTo>
                        <a:pt x="322" y="410"/>
                      </a:lnTo>
                      <a:lnTo>
                        <a:pt x="322" y="436"/>
                      </a:lnTo>
                      <a:lnTo>
                        <a:pt x="375" y="410"/>
                      </a:lnTo>
                      <a:lnTo>
                        <a:pt x="349" y="445"/>
                      </a:lnTo>
                      <a:lnTo>
                        <a:pt x="375" y="436"/>
                      </a:lnTo>
                      <a:lnTo>
                        <a:pt x="357" y="454"/>
                      </a:lnTo>
                      <a:lnTo>
                        <a:pt x="375" y="454"/>
                      </a:lnTo>
                      <a:lnTo>
                        <a:pt x="375" y="480"/>
                      </a:lnTo>
                      <a:lnTo>
                        <a:pt x="366" y="488"/>
                      </a:lnTo>
                      <a:lnTo>
                        <a:pt x="375" y="506"/>
                      </a:lnTo>
                      <a:lnTo>
                        <a:pt x="410" y="506"/>
                      </a:lnTo>
                      <a:lnTo>
                        <a:pt x="418" y="515"/>
                      </a:lnTo>
                      <a:lnTo>
                        <a:pt x="445" y="497"/>
                      </a:lnTo>
                      <a:lnTo>
                        <a:pt x="453" y="515"/>
                      </a:lnTo>
                      <a:lnTo>
                        <a:pt x="488" y="506"/>
                      </a:lnTo>
                      <a:lnTo>
                        <a:pt x="514" y="497"/>
                      </a:lnTo>
                      <a:lnTo>
                        <a:pt x="532" y="488"/>
                      </a:lnTo>
                      <a:lnTo>
                        <a:pt x="532" y="480"/>
                      </a:lnTo>
                      <a:lnTo>
                        <a:pt x="558" y="445"/>
                      </a:lnTo>
                      <a:lnTo>
                        <a:pt x="593" y="427"/>
                      </a:lnTo>
                      <a:lnTo>
                        <a:pt x="593" y="410"/>
                      </a:lnTo>
                      <a:lnTo>
                        <a:pt x="619" y="401"/>
                      </a:lnTo>
                      <a:lnTo>
                        <a:pt x="671" y="314"/>
                      </a:lnTo>
                      <a:lnTo>
                        <a:pt x="671" y="297"/>
                      </a:lnTo>
                      <a:lnTo>
                        <a:pt x="680" y="271"/>
                      </a:lnTo>
                      <a:lnTo>
                        <a:pt x="654" y="236"/>
                      </a:lnTo>
                      <a:lnTo>
                        <a:pt x="654" y="218"/>
                      </a:lnTo>
                      <a:lnTo>
                        <a:pt x="636" y="218"/>
                      </a:lnTo>
                      <a:lnTo>
                        <a:pt x="619" y="175"/>
                      </a:lnTo>
                      <a:lnTo>
                        <a:pt x="610" y="157"/>
                      </a:lnTo>
                      <a:lnTo>
                        <a:pt x="593" y="7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0" name="Freeform 385"/>
                <p:cNvSpPr>
                  <a:spLocks/>
                </p:cNvSpPr>
                <p:nvPr/>
              </p:nvSpPr>
              <p:spPr bwMode="auto">
                <a:xfrm>
                  <a:off x="6706003" y="3574618"/>
                  <a:ext cx="74990" cy="56756"/>
                </a:xfrm>
                <a:custGeom>
                  <a:avLst/>
                  <a:gdLst>
                    <a:gd name="T0" fmla="*/ 2147483647 w 70"/>
                    <a:gd name="T1" fmla="*/ 2147483647 h 53"/>
                    <a:gd name="T2" fmla="*/ 2147483647 w 70"/>
                    <a:gd name="T3" fmla="*/ 0 h 53"/>
                    <a:gd name="T4" fmla="*/ 2147483647 w 70"/>
                    <a:gd name="T5" fmla="*/ 2147483647 h 53"/>
                    <a:gd name="T6" fmla="*/ 2147483647 w 70"/>
                    <a:gd name="T7" fmla="*/ 0 h 53"/>
                    <a:gd name="T8" fmla="*/ 2147483647 w 70"/>
                    <a:gd name="T9" fmla="*/ 2147483647 h 53"/>
                    <a:gd name="T10" fmla="*/ 0 w 70"/>
                    <a:gd name="T11" fmla="*/ 2147483647 h 53"/>
                    <a:gd name="T12" fmla="*/ 2147483647 w 70"/>
                    <a:gd name="T13" fmla="*/ 2147483647 h 53"/>
                    <a:gd name="T14" fmla="*/ 2147483647 w 70"/>
                    <a:gd name="T15" fmla="*/ 2147483647 h 53"/>
                    <a:gd name="T16" fmla="*/ 2147483647 w 70"/>
                    <a:gd name="T17" fmla="*/ 2147483647 h 5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0"/>
                    <a:gd name="T28" fmla="*/ 0 h 53"/>
                    <a:gd name="T29" fmla="*/ 70 w 70"/>
                    <a:gd name="T30" fmla="*/ 53 h 5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0" h="53">
                      <a:moveTo>
                        <a:pt x="70" y="9"/>
                      </a:moveTo>
                      <a:lnTo>
                        <a:pt x="70" y="0"/>
                      </a:lnTo>
                      <a:lnTo>
                        <a:pt x="35" y="9"/>
                      </a:ln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0" y="35"/>
                      </a:lnTo>
                      <a:lnTo>
                        <a:pt x="9" y="53"/>
                      </a:lnTo>
                      <a:lnTo>
                        <a:pt x="35" y="44"/>
                      </a:lnTo>
                      <a:lnTo>
                        <a:pt x="7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1" name="Freeform 386"/>
                <p:cNvSpPr>
                  <a:spLocks/>
                </p:cNvSpPr>
                <p:nvPr/>
              </p:nvSpPr>
              <p:spPr bwMode="auto">
                <a:xfrm>
                  <a:off x="6706003" y="3574618"/>
                  <a:ext cx="74990" cy="56756"/>
                </a:xfrm>
                <a:custGeom>
                  <a:avLst/>
                  <a:gdLst>
                    <a:gd name="T0" fmla="*/ 2147483647 w 70"/>
                    <a:gd name="T1" fmla="*/ 2147483647 h 53"/>
                    <a:gd name="T2" fmla="*/ 2147483647 w 70"/>
                    <a:gd name="T3" fmla="*/ 0 h 53"/>
                    <a:gd name="T4" fmla="*/ 2147483647 w 70"/>
                    <a:gd name="T5" fmla="*/ 2147483647 h 53"/>
                    <a:gd name="T6" fmla="*/ 2147483647 w 70"/>
                    <a:gd name="T7" fmla="*/ 0 h 53"/>
                    <a:gd name="T8" fmla="*/ 2147483647 w 70"/>
                    <a:gd name="T9" fmla="*/ 2147483647 h 53"/>
                    <a:gd name="T10" fmla="*/ 0 w 70"/>
                    <a:gd name="T11" fmla="*/ 2147483647 h 53"/>
                    <a:gd name="T12" fmla="*/ 2147483647 w 70"/>
                    <a:gd name="T13" fmla="*/ 2147483647 h 53"/>
                    <a:gd name="T14" fmla="*/ 2147483647 w 70"/>
                    <a:gd name="T15" fmla="*/ 2147483647 h 53"/>
                    <a:gd name="T16" fmla="*/ 2147483647 w 70"/>
                    <a:gd name="T17" fmla="*/ 2147483647 h 5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0"/>
                    <a:gd name="T28" fmla="*/ 0 h 53"/>
                    <a:gd name="T29" fmla="*/ 70 w 70"/>
                    <a:gd name="T30" fmla="*/ 53 h 5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0" h="53">
                      <a:moveTo>
                        <a:pt x="70" y="9"/>
                      </a:moveTo>
                      <a:lnTo>
                        <a:pt x="70" y="0"/>
                      </a:lnTo>
                      <a:lnTo>
                        <a:pt x="35" y="9"/>
                      </a:ln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0" y="35"/>
                      </a:lnTo>
                      <a:lnTo>
                        <a:pt x="9" y="53"/>
                      </a:lnTo>
                      <a:lnTo>
                        <a:pt x="35" y="44"/>
                      </a:lnTo>
                      <a:lnTo>
                        <a:pt x="7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2" name="Freeform 387"/>
                <p:cNvSpPr>
                  <a:spLocks/>
                </p:cNvSpPr>
                <p:nvPr/>
              </p:nvSpPr>
              <p:spPr bwMode="auto">
                <a:xfrm>
                  <a:off x="6033235" y="2669736"/>
                  <a:ext cx="197117" cy="223811"/>
                </a:xfrm>
                <a:custGeom>
                  <a:avLst/>
                  <a:gdLst>
                    <a:gd name="T0" fmla="*/ 2147483647 w 184"/>
                    <a:gd name="T1" fmla="*/ 2147483647 h 209"/>
                    <a:gd name="T2" fmla="*/ 2147483647 w 184"/>
                    <a:gd name="T3" fmla="*/ 2147483647 h 209"/>
                    <a:gd name="T4" fmla="*/ 0 w 184"/>
                    <a:gd name="T5" fmla="*/ 0 h 209"/>
                    <a:gd name="T6" fmla="*/ 2147483647 w 184"/>
                    <a:gd name="T7" fmla="*/ 2147483647 h 209"/>
                    <a:gd name="T8" fmla="*/ 2147483647 w 184"/>
                    <a:gd name="T9" fmla="*/ 2147483647 h 209"/>
                    <a:gd name="T10" fmla="*/ 2147483647 w 184"/>
                    <a:gd name="T11" fmla="*/ 2147483647 h 209"/>
                    <a:gd name="T12" fmla="*/ 2147483647 w 184"/>
                    <a:gd name="T13" fmla="*/ 2147483647 h 209"/>
                    <a:gd name="T14" fmla="*/ 2147483647 w 184"/>
                    <a:gd name="T15" fmla="*/ 2147483647 h 209"/>
                    <a:gd name="T16" fmla="*/ 2147483647 w 184"/>
                    <a:gd name="T17" fmla="*/ 2147483647 h 209"/>
                    <a:gd name="T18" fmla="*/ 2147483647 w 184"/>
                    <a:gd name="T19" fmla="*/ 2147483647 h 209"/>
                    <a:gd name="T20" fmla="*/ 2147483647 w 184"/>
                    <a:gd name="T21" fmla="*/ 2147483647 h 209"/>
                    <a:gd name="T22" fmla="*/ 2147483647 w 184"/>
                    <a:gd name="T23" fmla="*/ 2147483647 h 209"/>
                    <a:gd name="T24" fmla="*/ 2147483647 w 184"/>
                    <a:gd name="T25" fmla="*/ 2147483647 h 209"/>
                    <a:gd name="T26" fmla="*/ 2147483647 w 184"/>
                    <a:gd name="T27" fmla="*/ 2147483647 h 209"/>
                    <a:gd name="T28" fmla="*/ 2147483647 w 184"/>
                    <a:gd name="T29" fmla="*/ 2147483647 h 209"/>
                    <a:gd name="T30" fmla="*/ 2147483647 w 184"/>
                    <a:gd name="T31" fmla="*/ 2147483647 h 209"/>
                    <a:gd name="T32" fmla="*/ 2147483647 w 184"/>
                    <a:gd name="T33" fmla="*/ 2147483647 h 209"/>
                    <a:gd name="T34" fmla="*/ 2147483647 w 184"/>
                    <a:gd name="T35" fmla="*/ 2147483647 h 209"/>
                    <a:gd name="T36" fmla="*/ 2147483647 w 184"/>
                    <a:gd name="T37" fmla="*/ 2147483647 h 209"/>
                    <a:gd name="T38" fmla="*/ 2147483647 w 184"/>
                    <a:gd name="T39" fmla="*/ 2147483647 h 209"/>
                    <a:gd name="T40" fmla="*/ 2147483647 w 184"/>
                    <a:gd name="T41" fmla="*/ 2147483647 h 209"/>
                    <a:gd name="T42" fmla="*/ 2147483647 w 184"/>
                    <a:gd name="T43" fmla="*/ 2147483647 h 209"/>
                    <a:gd name="T44" fmla="*/ 2147483647 w 184"/>
                    <a:gd name="T45" fmla="*/ 2147483647 h 20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84"/>
                    <a:gd name="T70" fmla="*/ 0 h 209"/>
                    <a:gd name="T71" fmla="*/ 184 w 184"/>
                    <a:gd name="T72" fmla="*/ 209 h 209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84" h="209">
                      <a:moveTo>
                        <a:pt x="44" y="9"/>
                      </a:move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18" y="26"/>
                      </a:lnTo>
                      <a:lnTo>
                        <a:pt x="35" y="44"/>
                      </a:lnTo>
                      <a:lnTo>
                        <a:pt x="53" y="52"/>
                      </a:lnTo>
                      <a:lnTo>
                        <a:pt x="61" y="70"/>
                      </a:lnTo>
                      <a:lnTo>
                        <a:pt x="70" y="105"/>
                      </a:lnTo>
                      <a:lnTo>
                        <a:pt x="88" y="113"/>
                      </a:lnTo>
                      <a:lnTo>
                        <a:pt x="88" y="139"/>
                      </a:lnTo>
                      <a:lnTo>
                        <a:pt x="114" y="157"/>
                      </a:lnTo>
                      <a:lnTo>
                        <a:pt x="114" y="174"/>
                      </a:lnTo>
                      <a:lnTo>
                        <a:pt x="157" y="209"/>
                      </a:lnTo>
                      <a:lnTo>
                        <a:pt x="184" y="209"/>
                      </a:lnTo>
                      <a:lnTo>
                        <a:pt x="184" y="157"/>
                      </a:lnTo>
                      <a:lnTo>
                        <a:pt x="166" y="148"/>
                      </a:lnTo>
                      <a:lnTo>
                        <a:pt x="157" y="122"/>
                      </a:lnTo>
                      <a:lnTo>
                        <a:pt x="140" y="122"/>
                      </a:lnTo>
                      <a:lnTo>
                        <a:pt x="140" y="105"/>
                      </a:lnTo>
                      <a:lnTo>
                        <a:pt x="149" y="96"/>
                      </a:lnTo>
                      <a:lnTo>
                        <a:pt x="114" y="70"/>
                      </a:lnTo>
                      <a:lnTo>
                        <a:pt x="88" y="70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3" name="Freeform 388"/>
                <p:cNvSpPr>
                  <a:spLocks/>
                </p:cNvSpPr>
                <p:nvPr/>
              </p:nvSpPr>
              <p:spPr bwMode="auto">
                <a:xfrm>
                  <a:off x="6033235" y="2669736"/>
                  <a:ext cx="197117" cy="223811"/>
                </a:xfrm>
                <a:custGeom>
                  <a:avLst/>
                  <a:gdLst>
                    <a:gd name="T0" fmla="*/ 2147483647 w 184"/>
                    <a:gd name="T1" fmla="*/ 2147483647 h 209"/>
                    <a:gd name="T2" fmla="*/ 2147483647 w 184"/>
                    <a:gd name="T3" fmla="*/ 2147483647 h 209"/>
                    <a:gd name="T4" fmla="*/ 0 w 184"/>
                    <a:gd name="T5" fmla="*/ 0 h 209"/>
                    <a:gd name="T6" fmla="*/ 2147483647 w 184"/>
                    <a:gd name="T7" fmla="*/ 2147483647 h 209"/>
                    <a:gd name="T8" fmla="*/ 2147483647 w 184"/>
                    <a:gd name="T9" fmla="*/ 2147483647 h 209"/>
                    <a:gd name="T10" fmla="*/ 2147483647 w 184"/>
                    <a:gd name="T11" fmla="*/ 2147483647 h 209"/>
                    <a:gd name="T12" fmla="*/ 2147483647 w 184"/>
                    <a:gd name="T13" fmla="*/ 2147483647 h 209"/>
                    <a:gd name="T14" fmla="*/ 2147483647 w 184"/>
                    <a:gd name="T15" fmla="*/ 2147483647 h 209"/>
                    <a:gd name="T16" fmla="*/ 2147483647 w 184"/>
                    <a:gd name="T17" fmla="*/ 2147483647 h 209"/>
                    <a:gd name="T18" fmla="*/ 2147483647 w 184"/>
                    <a:gd name="T19" fmla="*/ 2147483647 h 209"/>
                    <a:gd name="T20" fmla="*/ 2147483647 w 184"/>
                    <a:gd name="T21" fmla="*/ 2147483647 h 209"/>
                    <a:gd name="T22" fmla="*/ 2147483647 w 184"/>
                    <a:gd name="T23" fmla="*/ 2147483647 h 209"/>
                    <a:gd name="T24" fmla="*/ 2147483647 w 184"/>
                    <a:gd name="T25" fmla="*/ 2147483647 h 209"/>
                    <a:gd name="T26" fmla="*/ 2147483647 w 184"/>
                    <a:gd name="T27" fmla="*/ 2147483647 h 209"/>
                    <a:gd name="T28" fmla="*/ 2147483647 w 184"/>
                    <a:gd name="T29" fmla="*/ 2147483647 h 209"/>
                    <a:gd name="T30" fmla="*/ 2147483647 w 184"/>
                    <a:gd name="T31" fmla="*/ 2147483647 h 209"/>
                    <a:gd name="T32" fmla="*/ 2147483647 w 184"/>
                    <a:gd name="T33" fmla="*/ 2147483647 h 209"/>
                    <a:gd name="T34" fmla="*/ 2147483647 w 184"/>
                    <a:gd name="T35" fmla="*/ 2147483647 h 209"/>
                    <a:gd name="T36" fmla="*/ 2147483647 w 184"/>
                    <a:gd name="T37" fmla="*/ 2147483647 h 209"/>
                    <a:gd name="T38" fmla="*/ 2147483647 w 184"/>
                    <a:gd name="T39" fmla="*/ 2147483647 h 209"/>
                    <a:gd name="T40" fmla="*/ 2147483647 w 184"/>
                    <a:gd name="T41" fmla="*/ 2147483647 h 209"/>
                    <a:gd name="T42" fmla="*/ 2147483647 w 184"/>
                    <a:gd name="T43" fmla="*/ 2147483647 h 209"/>
                    <a:gd name="T44" fmla="*/ 2147483647 w 184"/>
                    <a:gd name="T45" fmla="*/ 2147483647 h 20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84"/>
                    <a:gd name="T70" fmla="*/ 0 h 209"/>
                    <a:gd name="T71" fmla="*/ 184 w 184"/>
                    <a:gd name="T72" fmla="*/ 209 h 209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84" h="209">
                      <a:moveTo>
                        <a:pt x="44" y="9"/>
                      </a:move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18" y="26"/>
                      </a:lnTo>
                      <a:lnTo>
                        <a:pt x="35" y="44"/>
                      </a:lnTo>
                      <a:lnTo>
                        <a:pt x="53" y="52"/>
                      </a:lnTo>
                      <a:lnTo>
                        <a:pt x="61" y="70"/>
                      </a:lnTo>
                      <a:lnTo>
                        <a:pt x="70" y="105"/>
                      </a:lnTo>
                      <a:lnTo>
                        <a:pt x="88" y="113"/>
                      </a:lnTo>
                      <a:lnTo>
                        <a:pt x="88" y="139"/>
                      </a:lnTo>
                      <a:lnTo>
                        <a:pt x="114" y="157"/>
                      </a:lnTo>
                      <a:lnTo>
                        <a:pt x="114" y="174"/>
                      </a:lnTo>
                      <a:lnTo>
                        <a:pt x="157" y="209"/>
                      </a:lnTo>
                      <a:lnTo>
                        <a:pt x="184" y="209"/>
                      </a:lnTo>
                      <a:lnTo>
                        <a:pt x="184" y="157"/>
                      </a:lnTo>
                      <a:lnTo>
                        <a:pt x="166" y="148"/>
                      </a:lnTo>
                      <a:lnTo>
                        <a:pt x="157" y="122"/>
                      </a:lnTo>
                      <a:lnTo>
                        <a:pt x="140" y="122"/>
                      </a:lnTo>
                      <a:lnTo>
                        <a:pt x="140" y="105"/>
                      </a:lnTo>
                      <a:lnTo>
                        <a:pt x="149" y="96"/>
                      </a:lnTo>
                      <a:lnTo>
                        <a:pt x="114" y="70"/>
                      </a:lnTo>
                      <a:lnTo>
                        <a:pt x="88" y="70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4" name="Freeform 389"/>
                <p:cNvSpPr>
                  <a:spLocks/>
                </p:cNvSpPr>
                <p:nvPr/>
              </p:nvSpPr>
              <p:spPr bwMode="auto">
                <a:xfrm>
                  <a:off x="6127508" y="2669736"/>
                  <a:ext cx="73919" cy="83527"/>
                </a:xfrm>
                <a:custGeom>
                  <a:avLst/>
                  <a:gdLst>
                    <a:gd name="T0" fmla="*/ 2147483647 w 69"/>
                    <a:gd name="T1" fmla="*/ 0 h 78"/>
                    <a:gd name="T2" fmla="*/ 0 w 69"/>
                    <a:gd name="T3" fmla="*/ 0 h 78"/>
                    <a:gd name="T4" fmla="*/ 0 w 69"/>
                    <a:gd name="T5" fmla="*/ 2147483647 h 78"/>
                    <a:gd name="T6" fmla="*/ 0 w 69"/>
                    <a:gd name="T7" fmla="*/ 2147483647 h 78"/>
                    <a:gd name="T8" fmla="*/ 2147483647 w 69"/>
                    <a:gd name="T9" fmla="*/ 2147483647 h 78"/>
                    <a:gd name="T10" fmla="*/ 2147483647 w 69"/>
                    <a:gd name="T11" fmla="*/ 2147483647 h 78"/>
                    <a:gd name="T12" fmla="*/ 2147483647 w 69"/>
                    <a:gd name="T13" fmla="*/ 2147483647 h 78"/>
                    <a:gd name="T14" fmla="*/ 2147483647 w 69"/>
                    <a:gd name="T15" fmla="*/ 2147483647 h 78"/>
                    <a:gd name="T16" fmla="*/ 2147483647 w 69"/>
                    <a:gd name="T17" fmla="*/ 2147483647 h 78"/>
                    <a:gd name="T18" fmla="*/ 2147483647 w 69"/>
                    <a:gd name="T19" fmla="*/ 0 h 78"/>
                    <a:gd name="T20" fmla="*/ 2147483647 w 69"/>
                    <a:gd name="T21" fmla="*/ 0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9"/>
                    <a:gd name="T34" fmla="*/ 0 h 78"/>
                    <a:gd name="T35" fmla="*/ 69 w 69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9" h="7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26" y="61"/>
                      </a:lnTo>
                      <a:lnTo>
                        <a:pt x="52" y="78"/>
                      </a:lnTo>
                      <a:lnTo>
                        <a:pt x="69" y="70"/>
                      </a:lnTo>
                      <a:lnTo>
                        <a:pt x="52" y="61"/>
                      </a:lnTo>
                      <a:lnTo>
                        <a:pt x="52" y="17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5" name="Freeform 390"/>
                <p:cNvSpPr>
                  <a:spLocks/>
                </p:cNvSpPr>
                <p:nvPr/>
              </p:nvSpPr>
              <p:spPr bwMode="auto">
                <a:xfrm>
                  <a:off x="6127508" y="2669736"/>
                  <a:ext cx="73919" cy="83527"/>
                </a:xfrm>
                <a:custGeom>
                  <a:avLst/>
                  <a:gdLst>
                    <a:gd name="T0" fmla="*/ 2147483647 w 69"/>
                    <a:gd name="T1" fmla="*/ 0 h 78"/>
                    <a:gd name="T2" fmla="*/ 0 w 69"/>
                    <a:gd name="T3" fmla="*/ 0 h 78"/>
                    <a:gd name="T4" fmla="*/ 0 w 69"/>
                    <a:gd name="T5" fmla="*/ 2147483647 h 78"/>
                    <a:gd name="T6" fmla="*/ 0 w 69"/>
                    <a:gd name="T7" fmla="*/ 2147483647 h 78"/>
                    <a:gd name="T8" fmla="*/ 2147483647 w 69"/>
                    <a:gd name="T9" fmla="*/ 2147483647 h 78"/>
                    <a:gd name="T10" fmla="*/ 2147483647 w 69"/>
                    <a:gd name="T11" fmla="*/ 2147483647 h 78"/>
                    <a:gd name="T12" fmla="*/ 2147483647 w 69"/>
                    <a:gd name="T13" fmla="*/ 2147483647 h 78"/>
                    <a:gd name="T14" fmla="*/ 2147483647 w 69"/>
                    <a:gd name="T15" fmla="*/ 2147483647 h 78"/>
                    <a:gd name="T16" fmla="*/ 2147483647 w 69"/>
                    <a:gd name="T17" fmla="*/ 2147483647 h 78"/>
                    <a:gd name="T18" fmla="*/ 2147483647 w 69"/>
                    <a:gd name="T19" fmla="*/ 0 h 78"/>
                    <a:gd name="T20" fmla="*/ 2147483647 w 69"/>
                    <a:gd name="T21" fmla="*/ 0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9"/>
                    <a:gd name="T34" fmla="*/ 0 h 78"/>
                    <a:gd name="T35" fmla="*/ 69 w 69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9" h="7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26" y="61"/>
                      </a:lnTo>
                      <a:lnTo>
                        <a:pt x="52" y="78"/>
                      </a:lnTo>
                      <a:lnTo>
                        <a:pt x="69" y="70"/>
                      </a:lnTo>
                      <a:lnTo>
                        <a:pt x="52" y="61"/>
                      </a:lnTo>
                      <a:lnTo>
                        <a:pt x="52" y="17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6" name="Freeform 391"/>
                <p:cNvSpPr>
                  <a:spLocks/>
                </p:cNvSpPr>
                <p:nvPr/>
              </p:nvSpPr>
              <p:spPr bwMode="auto">
                <a:xfrm>
                  <a:off x="6687791" y="2790744"/>
                  <a:ext cx="176763" cy="168126"/>
                </a:xfrm>
                <a:custGeom>
                  <a:avLst/>
                  <a:gdLst>
                    <a:gd name="T0" fmla="*/ 2147483647 w 165"/>
                    <a:gd name="T1" fmla="*/ 2147483647 h 157"/>
                    <a:gd name="T2" fmla="*/ 2147483647 w 165"/>
                    <a:gd name="T3" fmla="*/ 2147483647 h 157"/>
                    <a:gd name="T4" fmla="*/ 2147483647 w 165"/>
                    <a:gd name="T5" fmla="*/ 2147483647 h 157"/>
                    <a:gd name="T6" fmla="*/ 2147483647 w 165"/>
                    <a:gd name="T7" fmla="*/ 2147483647 h 157"/>
                    <a:gd name="T8" fmla="*/ 2147483647 w 165"/>
                    <a:gd name="T9" fmla="*/ 2147483647 h 157"/>
                    <a:gd name="T10" fmla="*/ 2147483647 w 165"/>
                    <a:gd name="T11" fmla="*/ 2147483647 h 157"/>
                    <a:gd name="T12" fmla="*/ 2147483647 w 165"/>
                    <a:gd name="T13" fmla="*/ 2147483647 h 157"/>
                    <a:gd name="T14" fmla="*/ 2147483647 w 165"/>
                    <a:gd name="T15" fmla="*/ 2147483647 h 157"/>
                    <a:gd name="T16" fmla="*/ 2147483647 w 165"/>
                    <a:gd name="T17" fmla="*/ 2147483647 h 157"/>
                    <a:gd name="T18" fmla="*/ 2147483647 w 165"/>
                    <a:gd name="T19" fmla="*/ 0 h 157"/>
                    <a:gd name="T20" fmla="*/ 0 w 165"/>
                    <a:gd name="T21" fmla="*/ 2147483647 h 157"/>
                    <a:gd name="T22" fmla="*/ 0 w 165"/>
                    <a:gd name="T23" fmla="*/ 2147483647 h 157"/>
                    <a:gd name="T24" fmla="*/ 2147483647 w 165"/>
                    <a:gd name="T25" fmla="*/ 2147483647 h 157"/>
                    <a:gd name="T26" fmla="*/ 2147483647 w 165"/>
                    <a:gd name="T27" fmla="*/ 2147483647 h 157"/>
                    <a:gd name="T28" fmla="*/ 2147483647 w 165"/>
                    <a:gd name="T29" fmla="*/ 2147483647 h 157"/>
                    <a:gd name="T30" fmla="*/ 2147483647 w 165"/>
                    <a:gd name="T31" fmla="*/ 2147483647 h 157"/>
                    <a:gd name="T32" fmla="*/ 2147483647 w 165"/>
                    <a:gd name="T33" fmla="*/ 2147483647 h 157"/>
                    <a:gd name="T34" fmla="*/ 2147483647 w 165"/>
                    <a:gd name="T35" fmla="*/ 2147483647 h 157"/>
                    <a:gd name="T36" fmla="*/ 2147483647 w 165"/>
                    <a:gd name="T37" fmla="*/ 2147483647 h 157"/>
                    <a:gd name="T38" fmla="*/ 2147483647 w 165"/>
                    <a:gd name="T39" fmla="*/ 2147483647 h 157"/>
                    <a:gd name="T40" fmla="*/ 2147483647 w 165"/>
                    <a:gd name="T41" fmla="*/ 2147483647 h 157"/>
                    <a:gd name="T42" fmla="*/ 2147483647 w 165"/>
                    <a:gd name="T43" fmla="*/ 2147483647 h 157"/>
                    <a:gd name="T44" fmla="*/ 2147483647 w 165"/>
                    <a:gd name="T45" fmla="*/ 2147483647 h 157"/>
                    <a:gd name="T46" fmla="*/ 2147483647 w 165"/>
                    <a:gd name="T47" fmla="*/ 2147483647 h 157"/>
                    <a:gd name="T48" fmla="*/ 2147483647 w 165"/>
                    <a:gd name="T49" fmla="*/ 2147483647 h 157"/>
                    <a:gd name="T50" fmla="*/ 2147483647 w 165"/>
                    <a:gd name="T51" fmla="*/ 2147483647 h 157"/>
                    <a:gd name="T52" fmla="*/ 2147483647 w 165"/>
                    <a:gd name="T53" fmla="*/ 2147483647 h 157"/>
                    <a:gd name="T54" fmla="*/ 2147483647 w 165"/>
                    <a:gd name="T55" fmla="*/ 2147483647 h 157"/>
                    <a:gd name="T56" fmla="*/ 2147483647 w 165"/>
                    <a:gd name="T57" fmla="*/ 2147483647 h 157"/>
                    <a:gd name="T58" fmla="*/ 2147483647 w 165"/>
                    <a:gd name="T59" fmla="*/ 2147483647 h 157"/>
                    <a:gd name="T60" fmla="*/ 2147483647 w 165"/>
                    <a:gd name="T61" fmla="*/ 2147483647 h 157"/>
                    <a:gd name="T62" fmla="*/ 2147483647 w 165"/>
                    <a:gd name="T63" fmla="*/ 2147483647 h 157"/>
                    <a:gd name="T64" fmla="*/ 2147483647 w 165"/>
                    <a:gd name="T65" fmla="*/ 2147483647 h 157"/>
                    <a:gd name="T66" fmla="*/ 2147483647 w 165"/>
                    <a:gd name="T67" fmla="*/ 2147483647 h 157"/>
                    <a:gd name="T68" fmla="*/ 2147483647 w 165"/>
                    <a:gd name="T69" fmla="*/ 2147483647 h 157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65"/>
                    <a:gd name="T106" fmla="*/ 0 h 157"/>
                    <a:gd name="T107" fmla="*/ 165 w 165"/>
                    <a:gd name="T108" fmla="*/ 157 h 157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65" h="157">
                      <a:moveTo>
                        <a:pt x="165" y="35"/>
                      </a:moveTo>
                      <a:lnTo>
                        <a:pt x="139" y="26"/>
                      </a:lnTo>
                      <a:lnTo>
                        <a:pt x="122" y="18"/>
                      </a:lnTo>
                      <a:lnTo>
                        <a:pt x="104" y="18"/>
                      </a:lnTo>
                      <a:lnTo>
                        <a:pt x="96" y="26"/>
                      </a:lnTo>
                      <a:lnTo>
                        <a:pt x="87" y="44"/>
                      </a:lnTo>
                      <a:lnTo>
                        <a:pt x="70" y="44"/>
                      </a:lnTo>
                      <a:lnTo>
                        <a:pt x="52" y="35"/>
                      </a:lnTo>
                      <a:lnTo>
                        <a:pt x="52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26"/>
                      </a:lnTo>
                      <a:lnTo>
                        <a:pt x="35" y="35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26" y="87"/>
                      </a:lnTo>
                      <a:lnTo>
                        <a:pt x="43" y="61"/>
                      </a:lnTo>
                      <a:lnTo>
                        <a:pt x="43" y="53"/>
                      </a:lnTo>
                      <a:lnTo>
                        <a:pt x="52" y="44"/>
                      </a:lnTo>
                      <a:lnTo>
                        <a:pt x="52" y="61"/>
                      </a:lnTo>
                      <a:lnTo>
                        <a:pt x="61" y="61"/>
                      </a:lnTo>
                      <a:lnTo>
                        <a:pt x="61" y="79"/>
                      </a:lnTo>
                      <a:lnTo>
                        <a:pt x="87" y="79"/>
                      </a:lnTo>
                      <a:lnTo>
                        <a:pt x="113" y="87"/>
                      </a:lnTo>
                      <a:lnTo>
                        <a:pt x="122" y="122"/>
                      </a:lnTo>
                      <a:lnTo>
                        <a:pt x="131" y="140"/>
                      </a:lnTo>
                      <a:lnTo>
                        <a:pt x="139" y="140"/>
                      </a:lnTo>
                      <a:lnTo>
                        <a:pt x="165" y="157"/>
                      </a:lnTo>
                      <a:lnTo>
                        <a:pt x="165" y="122"/>
                      </a:lnTo>
                      <a:lnTo>
                        <a:pt x="165" y="105"/>
                      </a:lnTo>
                      <a:lnTo>
                        <a:pt x="165" y="96"/>
                      </a:lnTo>
                      <a:lnTo>
                        <a:pt x="165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7" name="Freeform 392"/>
                <p:cNvSpPr>
                  <a:spLocks/>
                </p:cNvSpPr>
                <p:nvPr/>
              </p:nvSpPr>
              <p:spPr bwMode="auto">
                <a:xfrm>
                  <a:off x="6687791" y="2790744"/>
                  <a:ext cx="176763" cy="168126"/>
                </a:xfrm>
                <a:custGeom>
                  <a:avLst/>
                  <a:gdLst>
                    <a:gd name="T0" fmla="*/ 2147483647 w 165"/>
                    <a:gd name="T1" fmla="*/ 2147483647 h 157"/>
                    <a:gd name="T2" fmla="*/ 2147483647 w 165"/>
                    <a:gd name="T3" fmla="*/ 2147483647 h 157"/>
                    <a:gd name="T4" fmla="*/ 2147483647 w 165"/>
                    <a:gd name="T5" fmla="*/ 2147483647 h 157"/>
                    <a:gd name="T6" fmla="*/ 2147483647 w 165"/>
                    <a:gd name="T7" fmla="*/ 2147483647 h 157"/>
                    <a:gd name="T8" fmla="*/ 2147483647 w 165"/>
                    <a:gd name="T9" fmla="*/ 2147483647 h 157"/>
                    <a:gd name="T10" fmla="*/ 2147483647 w 165"/>
                    <a:gd name="T11" fmla="*/ 2147483647 h 157"/>
                    <a:gd name="T12" fmla="*/ 2147483647 w 165"/>
                    <a:gd name="T13" fmla="*/ 2147483647 h 157"/>
                    <a:gd name="T14" fmla="*/ 2147483647 w 165"/>
                    <a:gd name="T15" fmla="*/ 2147483647 h 157"/>
                    <a:gd name="T16" fmla="*/ 2147483647 w 165"/>
                    <a:gd name="T17" fmla="*/ 2147483647 h 157"/>
                    <a:gd name="T18" fmla="*/ 2147483647 w 165"/>
                    <a:gd name="T19" fmla="*/ 0 h 157"/>
                    <a:gd name="T20" fmla="*/ 0 w 165"/>
                    <a:gd name="T21" fmla="*/ 2147483647 h 157"/>
                    <a:gd name="T22" fmla="*/ 0 w 165"/>
                    <a:gd name="T23" fmla="*/ 2147483647 h 157"/>
                    <a:gd name="T24" fmla="*/ 2147483647 w 165"/>
                    <a:gd name="T25" fmla="*/ 2147483647 h 157"/>
                    <a:gd name="T26" fmla="*/ 2147483647 w 165"/>
                    <a:gd name="T27" fmla="*/ 2147483647 h 157"/>
                    <a:gd name="T28" fmla="*/ 2147483647 w 165"/>
                    <a:gd name="T29" fmla="*/ 2147483647 h 157"/>
                    <a:gd name="T30" fmla="*/ 2147483647 w 165"/>
                    <a:gd name="T31" fmla="*/ 2147483647 h 157"/>
                    <a:gd name="T32" fmla="*/ 2147483647 w 165"/>
                    <a:gd name="T33" fmla="*/ 2147483647 h 157"/>
                    <a:gd name="T34" fmla="*/ 2147483647 w 165"/>
                    <a:gd name="T35" fmla="*/ 2147483647 h 157"/>
                    <a:gd name="T36" fmla="*/ 2147483647 w 165"/>
                    <a:gd name="T37" fmla="*/ 2147483647 h 157"/>
                    <a:gd name="T38" fmla="*/ 2147483647 w 165"/>
                    <a:gd name="T39" fmla="*/ 2147483647 h 157"/>
                    <a:gd name="T40" fmla="*/ 2147483647 w 165"/>
                    <a:gd name="T41" fmla="*/ 2147483647 h 157"/>
                    <a:gd name="T42" fmla="*/ 2147483647 w 165"/>
                    <a:gd name="T43" fmla="*/ 2147483647 h 157"/>
                    <a:gd name="T44" fmla="*/ 2147483647 w 165"/>
                    <a:gd name="T45" fmla="*/ 2147483647 h 157"/>
                    <a:gd name="T46" fmla="*/ 2147483647 w 165"/>
                    <a:gd name="T47" fmla="*/ 2147483647 h 157"/>
                    <a:gd name="T48" fmla="*/ 2147483647 w 165"/>
                    <a:gd name="T49" fmla="*/ 2147483647 h 157"/>
                    <a:gd name="T50" fmla="*/ 2147483647 w 165"/>
                    <a:gd name="T51" fmla="*/ 2147483647 h 157"/>
                    <a:gd name="T52" fmla="*/ 2147483647 w 165"/>
                    <a:gd name="T53" fmla="*/ 2147483647 h 157"/>
                    <a:gd name="T54" fmla="*/ 2147483647 w 165"/>
                    <a:gd name="T55" fmla="*/ 2147483647 h 157"/>
                    <a:gd name="T56" fmla="*/ 2147483647 w 165"/>
                    <a:gd name="T57" fmla="*/ 2147483647 h 157"/>
                    <a:gd name="T58" fmla="*/ 2147483647 w 165"/>
                    <a:gd name="T59" fmla="*/ 2147483647 h 157"/>
                    <a:gd name="T60" fmla="*/ 2147483647 w 165"/>
                    <a:gd name="T61" fmla="*/ 2147483647 h 157"/>
                    <a:gd name="T62" fmla="*/ 2147483647 w 165"/>
                    <a:gd name="T63" fmla="*/ 2147483647 h 157"/>
                    <a:gd name="T64" fmla="*/ 2147483647 w 165"/>
                    <a:gd name="T65" fmla="*/ 2147483647 h 157"/>
                    <a:gd name="T66" fmla="*/ 2147483647 w 165"/>
                    <a:gd name="T67" fmla="*/ 2147483647 h 157"/>
                    <a:gd name="T68" fmla="*/ 2147483647 w 165"/>
                    <a:gd name="T69" fmla="*/ 2147483647 h 157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65"/>
                    <a:gd name="T106" fmla="*/ 0 h 157"/>
                    <a:gd name="T107" fmla="*/ 165 w 165"/>
                    <a:gd name="T108" fmla="*/ 157 h 157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65" h="157">
                      <a:moveTo>
                        <a:pt x="165" y="35"/>
                      </a:moveTo>
                      <a:lnTo>
                        <a:pt x="139" y="26"/>
                      </a:lnTo>
                      <a:lnTo>
                        <a:pt x="122" y="18"/>
                      </a:lnTo>
                      <a:lnTo>
                        <a:pt x="104" y="18"/>
                      </a:lnTo>
                      <a:lnTo>
                        <a:pt x="96" y="26"/>
                      </a:lnTo>
                      <a:lnTo>
                        <a:pt x="87" y="44"/>
                      </a:lnTo>
                      <a:lnTo>
                        <a:pt x="70" y="44"/>
                      </a:lnTo>
                      <a:lnTo>
                        <a:pt x="52" y="35"/>
                      </a:lnTo>
                      <a:lnTo>
                        <a:pt x="52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26"/>
                      </a:lnTo>
                      <a:lnTo>
                        <a:pt x="35" y="35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26" y="87"/>
                      </a:lnTo>
                      <a:lnTo>
                        <a:pt x="43" y="61"/>
                      </a:lnTo>
                      <a:lnTo>
                        <a:pt x="43" y="53"/>
                      </a:lnTo>
                      <a:lnTo>
                        <a:pt x="52" y="44"/>
                      </a:lnTo>
                      <a:lnTo>
                        <a:pt x="52" y="61"/>
                      </a:lnTo>
                      <a:lnTo>
                        <a:pt x="61" y="61"/>
                      </a:lnTo>
                      <a:lnTo>
                        <a:pt x="61" y="79"/>
                      </a:lnTo>
                      <a:lnTo>
                        <a:pt x="87" y="79"/>
                      </a:lnTo>
                      <a:lnTo>
                        <a:pt x="113" y="87"/>
                      </a:lnTo>
                      <a:lnTo>
                        <a:pt x="122" y="122"/>
                      </a:lnTo>
                      <a:lnTo>
                        <a:pt x="131" y="140"/>
                      </a:lnTo>
                      <a:lnTo>
                        <a:pt x="139" y="140"/>
                      </a:lnTo>
                      <a:lnTo>
                        <a:pt x="165" y="157"/>
                      </a:lnTo>
                      <a:lnTo>
                        <a:pt x="165" y="122"/>
                      </a:lnTo>
                      <a:lnTo>
                        <a:pt x="165" y="105"/>
                      </a:lnTo>
                      <a:lnTo>
                        <a:pt x="165" y="96"/>
                      </a:lnTo>
                      <a:lnTo>
                        <a:pt x="165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8" name="Freeform 393"/>
                <p:cNvSpPr>
                  <a:spLocks/>
                </p:cNvSpPr>
                <p:nvPr/>
              </p:nvSpPr>
              <p:spPr bwMode="auto">
                <a:xfrm>
                  <a:off x="6799205" y="2921390"/>
                  <a:ext cx="28925" cy="27842"/>
                </a:xfrm>
                <a:custGeom>
                  <a:avLst/>
                  <a:gdLst>
                    <a:gd name="T0" fmla="*/ 2147483647 w 27"/>
                    <a:gd name="T1" fmla="*/ 0 h 26"/>
                    <a:gd name="T2" fmla="*/ 0 w 27"/>
                    <a:gd name="T3" fmla="*/ 2147483647 h 26"/>
                    <a:gd name="T4" fmla="*/ 0 w 27"/>
                    <a:gd name="T5" fmla="*/ 2147483647 h 26"/>
                    <a:gd name="T6" fmla="*/ 2147483647 w 27"/>
                    <a:gd name="T7" fmla="*/ 2147483647 h 26"/>
                    <a:gd name="T8" fmla="*/ 2147483647 w 27"/>
                    <a:gd name="T9" fmla="*/ 2147483647 h 26"/>
                    <a:gd name="T10" fmla="*/ 2147483647 w 27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26"/>
                    <a:gd name="T20" fmla="*/ 27 w 2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26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8" y="26"/>
                      </a:lnTo>
                      <a:lnTo>
                        <a:pt x="27" y="1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9" name="Freeform 394"/>
                <p:cNvSpPr>
                  <a:spLocks/>
                </p:cNvSpPr>
                <p:nvPr/>
              </p:nvSpPr>
              <p:spPr bwMode="auto">
                <a:xfrm>
                  <a:off x="6799205" y="2921390"/>
                  <a:ext cx="28925" cy="27842"/>
                </a:xfrm>
                <a:custGeom>
                  <a:avLst/>
                  <a:gdLst>
                    <a:gd name="T0" fmla="*/ 2147483647 w 27"/>
                    <a:gd name="T1" fmla="*/ 0 h 26"/>
                    <a:gd name="T2" fmla="*/ 0 w 27"/>
                    <a:gd name="T3" fmla="*/ 2147483647 h 26"/>
                    <a:gd name="T4" fmla="*/ 0 w 27"/>
                    <a:gd name="T5" fmla="*/ 2147483647 h 26"/>
                    <a:gd name="T6" fmla="*/ 2147483647 w 27"/>
                    <a:gd name="T7" fmla="*/ 2147483647 h 26"/>
                    <a:gd name="T8" fmla="*/ 2147483647 w 27"/>
                    <a:gd name="T9" fmla="*/ 2147483647 h 26"/>
                    <a:gd name="T10" fmla="*/ 2147483647 w 27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26"/>
                    <a:gd name="T20" fmla="*/ 27 w 2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26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8" y="26"/>
                      </a:lnTo>
                      <a:lnTo>
                        <a:pt x="27" y="1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0" name="Freeform 395"/>
                <p:cNvSpPr>
                  <a:spLocks/>
                </p:cNvSpPr>
                <p:nvPr/>
              </p:nvSpPr>
              <p:spPr bwMode="auto">
                <a:xfrm>
                  <a:off x="6659938" y="2810020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0 h 17"/>
                    <a:gd name="T4" fmla="*/ 0 w 17"/>
                    <a:gd name="T5" fmla="*/ 2147483647 h 17"/>
                    <a:gd name="T6" fmla="*/ 2147483647 w 17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8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1" name="Freeform 396"/>
                <p:cNvSpPr>
                  <a:spLocks/>
                </p:cNvSpPr>
                <p:nvPr/>
              </p:nvSpPr>
              <p:spPr bwMode="auto">
                <a:xfrm>
                  <a:off x="6659938" y="2810020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0 h 17"/>
                    <a:gd name="T4" fmla="*/ 0 w 17"/>
                    <a:gd name="T5" fmla="*/ 2147483647 h 17"/>
                    <a:gd name="T6" fmla="*/ 2147483647 w 17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8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2" name="Freeform 397"/>
                <p:cNvSpPr>
                  <a:spLocks/>
                </p:cNvSpPr>
                <p:nvPr/>
              </p:nvSpPr>
              <p:spPr bwMode="auto">
                <a:xfrm>
                  <a:off x="6631013" y="2828224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2147483647 h 26"/>
                    <a:gd name="T4" fmla="*/ 2147483647 w 53"/>
                    <a:gd name="T5" fmla="*/ 0 h 26"/>
                    <a:gd name="T6" fmla="*/ 2147483647 w 53"/>
                    <a:gd name="T7" fmla="*/ 2147483647 h 26"/>
                    <a:gd name="T8" fmla="*/ 0 w 53"/>
                    <a:gd name="T9" fmla="*/ 0 h 26"/>
                    <a:gd name="T10" fmla="*/ 0 w 53"/>
                    <a:gd name="T11" fmla="*/ 2147483647 h 26"/>
                    <a:gd name="T12" fmla="*/ 2147483647 w 53"/>
                    <a:gd name="T13" fmla="*/ 2147483647 h 26"/>
                    <a:gd name="T14" fmla="*/ 2147483647 w 53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3"/>
                    <a:gd name="T25" fmla="*/ 0 h 26"/>
                    <a:gd name="T26" fmla="*/ 53 w 53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3" h="26">
                      <a:moveTo>
                        <a:pt x="44" y="26"/>
                      </a:moveTo>
                      <a:lnTo>
                        <a:pt x="53" y="18"/>
                      </a:lnTo>
                      <a:lnTo>
                        <a:pt x="35" y="0"/>
                      </a:ln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8" y="9"/>
                      </a:lnTo>
                      <a:lnTo>
                        <a:pt x="4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3" name="Freeform 398"/>
                <p:cNvSpPr>
                  <a:spLocks/>
                </p:cNvSpPr>
                <p:nvPr/>
              </p:nvSpPr>
              <p:spPr bwMode="auto">
                <a:xfrm>
                  <a:off x="6631013" y="2828224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2147483647 h 26"/>
                    <a:gd name="T4" fmla="*/ 2147483647 w 53"/>
                    <a:gd name="T5" fmla="*/ 0 h 26"/>
                    <a:gd name="T6" fmla="*/ 2147483647 w 53"/>
                    <a:gd name="T7" fmla="*/ 2147483647 h 26"/>
                    <a:gd name="T8" fmla="*/ 0 w 53"/>
                    <a:gd name="T9" fmla="*/ 0 h 26"/>
                    <a:gd name="T10" fmla="*/ 0 w 53"/>
                    <a:gd name="T11" fmla="*/ 2147483647 h 26"/>
                    <a:gd name="T12" fmla="*/ 2147483647 w 53"/>
                    <a:gd name="T13" fmla="*/ 2147483647 h 26"/>
                    <a:gd name="T14" fmla="*/ 2147483647 w 53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3"/>
                    <a:gd name="T25" fmla="*/ 0 h 26"/>
                    <a:gd name="T26" fmla="*/ 53 w 53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3" h="26">
                      <a:moveTo>
                        <a:pt x="44" y="26"/>
                      </a:moveTo>
                      <a:lnTo>
                        <a:pt x="53" y="18"/>
                      </a:lnTo>
                      <a:lnTo>
                        <a:pt x="35" y="0"/>
                      </a:ln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8" y="9"/>
                      </a:lnTo>
                      <a:lnTo>
                        <a:pt x="4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4" name="Freeform 399"/>
                <p:cNvSpPr>
                  <a:spLocks/>
                </p:cNvSpPr>
                <p:nvPr/>
              </p:nvSpPr>
              <p:spPr bwMode="auto">
                <a:xfrm>
                  <a:off x="6762781" y="2810020"/>
                  <a:ext cx="27853" cy="8567"/>
                </a:xfrm>
                <a:custGeom>
                  <a:avLst/>
                  <a:gdLst>
                    <a:gd name="T0" fmla="*/ 0 w 26"/>
                    <a:gd name="T1" fmla="*/ 2147483647 h 8"/>
                    <a:gd name="T2" fmla="*/ 2147483647 w 26"/>
                    <a:gd name="T3" fmla="*/ 2147483647 h 8"/>
                    <a:gd name="T4" fmla="*/ 2147483647 w 26"/>
                    <a:gd name="T5" fmla="*/ 0 h 8"/>
                    <a:gd name="T6" fmla="*/ 0 w 26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8"/>
                    <a:gd name="T14" fmla="*/ 26 w 2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8">
                      <a:moveTo>
                        <a:pt x="0" y="8"/>
                      </a:moveTo>
                      <a:lnTo>
                        <a:pt x="26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5" name="Freeform 400"/>
                <p:cNvSpPr>
                  <a:spLocks/>
                </p:cNvSpPr>
                <p:nvPr/>
              </p:nvSpPr>
              <p:spPr bwMode="auto">
                <a:xfrm>
                  <a:off x="6762781" y="2810020"/>
                  <a:ext cx="27853" cy="8567"/>
                </a:xfrm>
                <a:custGeom>
                  <a:avLst/>
                  <a:gdLst>
                    <a:gd name="T0" fmla="*/ 0 w 26"/>
                    <a:gd name="T1" fmla="*/ 2147483647 h 8"/>
                    <a:gd name="T2" fmla="*/ 2147483647 w 26"/>
                    <a:gd name="T3" fmla="*/ 2147483647 h 8"/>
                    <a:gd name="T4" fmla="*/ 2147483647 w 26"/>
                    <a:gd name="T5" fmla="*/ 0 h 8"/>
                    <a:gd name="T6" fmla="*/ 0 w 26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8"/>
                    <a:gd name="T14" fmla="*/ 26 w 2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8">
                      <a:moveTo>
                        <a:pt x="0" y="8"/>
                      </a:moveTo>
                      <a:lnTo>
                        <a:pt x="26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6" name="Freeform 401"/>
                <p:cNvSpPr>
                  <a:spLocks/>
                </p:cNvSpPr>
                <p:nvPr/>
              </p:nvSpPr>
              <p:spPr bwMode="auto">
                <a:xfrm>
                  <a:off x="6762781" y="2790744"/>
                  <a:ext cx="18212" cy="9638"/>
                </a:xfrm>
                <a:custGeom>
                  <a:avLst/>
                  <a:gdLst>
                    <a:gd name="T0" fmla="*/ 0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0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7" name="Freeform 402"/>
                <p:cNvSpPr>
                  <a:spLocks/>
                </p:cNvSpPr>
                <p:nvPr/>
              </p:nvSpPr>
              <p:spPr bwMode="auto">
                <a:xfrm>
                  <a:off x="6762781" y="2790744"/>
                  <a:ext cx="18212" cy="9638"/>
                </a:xfrm>
                <a:custGeom>
                  <a:avLst/>
                  <a:gdLst>
                    <a:gd name="T0" fmla="*/ 0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0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8" name="Freeform 403"/>
                <p:cNvSpPr>
                  <a:spLocks/>
                </p:cNvSpPr>
                <p:nvPr/>
              </p:nvSpPr>
              <p:spPr bwMode="auto">
                <a:xfrm>
                  <a:off x="6622442" y="2725421"/>
                  <a:ext cx="27853" cy="74961"/>
                </a:xfrm>
                <a:custGeom>
                  <a:avLst/>
                  <a:gdLst>
                    <a:gd name="T0" fmla="*/ 2147483647 w 26"/>
                    <a:gd name="T1" fmla="*/ 2147483647 h 70"/>
                    <a:gd name="T2" fmla="*/ 2147483647 w 26"/>
                    <a:gd name="T3" fmla="*/ 2147483647 h 70"/>
                    <a:gd name="T4" fmla="*/ 2147483647 w 26"/>
                    <a:gd name="T5" fmla="*/ 0 h 70"/>
                    <a:gd name="T6" fmla="*/ 2147483647 w 26"/>
                    <a:gd name="T7" fmla="*/ 2147483647 h 70"/>
                    <a:gd name="T8" fmla="*/ 2147483647 w 26"/>
                    <a:gd name="T9" fmla="*/ 2147483647 h 70"/>
                    <a:gd name="T10" fmla="*/ 0 w 26"/>
                    <a:gd name="T11" fmla="*/ 2147483647 h 70"/>
                    <a:gd name="T12" fmla="*/ 0 w 26"/>
                    <a:gd name="T13" fmla="*/ 2147483647 h 70"/>
                    <a:gd name="T14" fmla="*/ 2147483647 w 26"/>
                    <a:gd name="T15" fmla="*/ 2147483647 h 70"/>
                    <a:gd name="T16" fmla="*/ 2147483647 w 26"/>
                    <a:gd name="T17" fmla="*/ 2147483647 h 70"/>
                    <a:gd name="T18" fmla="*/ 2147483647 w 26"/>
                    <a:gd name="T19" fmla="*/ 2147483647 h 7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6"/>
                    <a:gd name="T31" fmla="*/ 0 h 70"/>
                    <a:gd name="T32" fmla="*/ 26 w 26"/>
                    <a:gd name="T33" fmla="*/ 70 h 7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6" h="70">
                      <a:moveTo>
                        <a:pt x="26" y="53"/>
                      </a:moveTo>
                      <a:lnTo>
                        <a:pt x="26" y="18"/>
                      </a:lnTo>
                      <a:lnTo>
                        <a:pt x="17" y="0"/>
                      </a:lnTo>
                      <a:lnTo>
                        <a:pt x="8" y="18"/>
                      </a:lnTo>
                      <a:lnTo>
                        <a:pt x="8" y="26"/>
                      </a:lnTo>
                      <a:lnTo>
                        <a:pt x="0" y="18"/>
                      </a:lnTo>
                      <a:lnTo>
                        <a:pt x="0" y="61"/>
                      </a:lnTo>
                      <a:lnTo>
                        <a:pt x="8" y="70"/>
                      </a:lnTo>
                      <a:lnTo>
                        <a:pt x="17" y="44"/>
                      </a:lnTo>
                      <a:lnTo>
                        <a:pt x="26" y="5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9" name="Freeform 404"/>
                <p:cNvSpPr>
                  <a:spLocks/>
                </p:cNvSpPr>
                <p:nvPr/>
              </p:nvSpPr>
              <p:spPr bwMode="auto">
                <a:xfrm>
                  <a:off x="6622442" y="2725421"/>
                  <a:ext cx="27853" cy="74961"/>
                </a:xfrm>
                <a:custGeom>
                  <a:avLst/>
                  <a:gdLst>
                    <a:gd name="T0" fmla="*/ 2147483647 w 26"/>
                    <a:gd name="T1" fmla="*/ 2147483647 h 70"/>
                    <a:gd name="T2" fmla="*/ 2147483647 w 26"/>
                    <a:gd name="T3" fmla="*/ 2147483647 h 70"/>
                    <a:gd name="T4" fmla="*/ 2147483647 w 26"/>
                    <a:gd name="T5" fmla="*/ 0 h 70"/>
                    <a:gd name="T6" fmla="*/ 2147483647 w 26"/>
                    <a:gd name="T7" fmla="*/ 2147483647 h 70"/>
                    <a:gd name="T8" fmla="*/ 2147483647 w 26"/>
                    <a:gd name="T9" fmla="*/ 2147483647 h 70"/>
                    <a:gd name="T10" fmla="*/ 0 w 26"/>
                    <a:gd name="T11" fmla="*/ 2147483647 h 70"/>
                    <a:gd name="T12" fmla="*/ 0 w 26"/>
                    <a:gd name="T13" fmla="*/ 2147483647 h 70"/>
                    <a:gd name="T14" fmla="*/ 2147483647 w 26"/>
                    <a:gd name="T15" fmla="*/ 2147483647 h 70"/>
                    <a:gd name="T16" fmla="*/ 2147483647 w 26"/>
                    <a:gd name="T17" fmla="*/ 2147483647 h 70"/>
                    <a:gd name="T18" fmla="*/ 2147483647 w 26"/>
                    <a:gd name="T19" fmla="*/ 2147483647 h 7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6"/>
                    <a:gd name="T31" fmla="*/ 0 h 70"/>
                    <a:gd name="T32" fmla="*/ 26 w 26"/>
                    <a:gd name="T33" fmla="*/ 70 h 7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6" h="70">
                      <a:moveTo>
                        <a:pt x="26" y="53"/>
                      </a:moveTo>
                      <a:lnTo>
                        <a:pt x="26" y="18"/>
                      </a:lnTo>
                      <a:lnTo>
                        <a:pt x="17" y="0"/>
                      </a:lnTo>
                      <a:lnTo>
                        <a:pt x="8" y="18"/>
                      </a:lnTo>
                      <a:lnTo>
                        <a:pt x="8" y="26"/>
                      </a:lnTo>
                      <a:lnTo>
                        <a:pt x="0" y="18"/>
                      </a:lnTo>
                      <a:lnTo>
                        <a:pt x="0" y="61"/>
                      </a:lnTo>
                      <a:lnTo>
                        <a:pt x="8" y="70"/>
                      </a:lnTo>
                      <a:lnTo>
                        <a:pt x="17" y="44"/>
                      </a:lnTo>
                      <a:lnTo>
                        <a:pt x="26" y="5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0" name="Freeform 405"/>
                <p:cNvSpPr>
                  <a:spLocks/>
                </p:cNvSpPr>
                <p:nvPr/>
              </p:nvSpPr>
              <p:spPr bwMode="auto">
                <a:xfrm>
                  <a:off x="6463892" y="2744697"/>
                  <a:ext cx="121056" cy="148851"/>
                </a:xfrm>
                <a:custGeom>
                  <a:avLst/>
                  <a:gdLst>
                    <a:gd name="T0" fmla="*/ 2147483647 w 113"/>
                    <a:gd name="T1" fmla="*/ 2147483647 h 139"/>
                    <a:gd name="T2" fmla="*/ 2147483647 w 113"/>
                    <a:gd name="T3" fmla="*/ 2147483647 h 139"/>
                    <a:gd name="T4" fmla="*/ 2147483647 w 113"/>
                    <a:gd name="T5" fmla="*/ 2147483647 h 139"/>
                    <a:gd name="T6" fmla="*/ 2147483647 w 113"/>
                    <a:gd name="T7" fmla="*/ 2147483647 h 139"/>
                    <a:gd name="T8" fmla="*/ 2147483647 w 113"/>
                    <a:gd name="T9" fmla="*/ 2147483647 h 139"/>
                    <a:gd name="T10" fmla="*/ 2147483647 w 113"/>
                    <a:gd name="T11" fmla="*/ 0 h 139"/>
                    <a:gd name="T12" fmla="*/ 2147483647 w 113"/>
                    <a:gd name="T13" fmla="*/ 2147483647 h 139"/>
                    <a:gd name="T14" fmla="*/ 2147483647 w 113"/>
                    <a:gd name="T15" fmla="*/ 2147483647 h 139"/>
                    <a:gd name="T16" fmla="*/ 2147483647 w 113"/>
                    <a:gd name="T17" fmla="*/ 2147483647 h 139"/>
                    <a:gd name="T18" fmla="*/ 2147483647 w 113"/>
                    <a:gd name="T19" fmla="*/ 2147483647 h 139"/>
                    <a:gd name="T20" fmla="*/ 2147483647 w 113"/>
                    <a:gd name="T21" fmla="*/ 2147483647 h 139"/>
                    <a:gd name="T22" fmla="*/ 2147483647 w 113"/>
                    <a:gd name="T23" fmla="*/ 2147483647 h 139"/>
                    <a:gd name="T24" fmla="*/ 2147483647 w 113"/>
                    <a:gd name="T25" fmla="*/ 2147483647 h 139"/>
                    <a:gd name="T26" fmla="*/ 2147483647 w 113"/>
                    <a:gd name="T27" fmla="*/ 2147483647 h 139"/>
                    <a:gd name="T28" fmla="*/ 0 w 113"/>
                    <a:gd name="T29" fmla="*/ 2147483647 h 139"/>
                    <a:gd name="T30" fmla="*/ 2147483647 w 113"/>
                    <a:gd name="T31" fmla="*/ 2147483647 h 139"/>
                    <a:gd name="T32" fmla="*/ 2147483647 w 113"/>
                    <a:gd name="T33" fmla="*/ 2147483647 h 139"/>
                    <a:gd name="T34" fmla="*/ 2147483647 w 113"/>
                    <a:gd name="T35" fmla="*/ 2147483647 h 139"/>
                    <a:gd name="T36" fmla="*/ 2147483647 w 113"/>
                    <a:gd name="T37" fmla="*/ 2147483647 h 139"/>
                    <a:gd name="T38" fmla="*/ 2147483647 w 113"/>
                    <a:gd name="T39" fmla="*/ 2147483647 h 139"/>
                    <a:gd name="T40" fmla="*/ 2147483647 w 113"/>
                    <a:gd name="T41" fmla="*/ 2147483647 h 139"/>
                    <a:gd name="T42" fmla="*/ 2147483647 w 113"/>
                    <a:gd name="T43" fmla="*/ 2147483647 h 139"/>
                    <a:gd name="T44" fmla="*/ 2147483647 w 113"/>
                    <a:gd name="T45" fmla="*/ 2147483647 h 139"/>
                    <a:gd name="T46" fmla="*/ 2147483647 w 113"/>
                    <a:gd name="T47" fmla="*/ 2147483647 h 139"/>
                    <a:gd name="T48" fmla="*/ 2147483647 w 113"/>
                    <a:gd name="T49" fmla="*/ 2147483647 h 139"/>
                    <a:gd name="T50" fmla="*/ 2147483647 w 113"/>
                    <a:gd name="T51" fmla="*/ 2147483647 h 139"/>
                    <a:gd name="T52" fmla="*/ 2147483647 w 113"/>
                    <a:gd name="T53" fmla="*/ 2147483647 h 139"/>
                    <a:gd name="T54" fmla="*/ 2147483647 w 113"/>
                    <a:gd name="T55" fmla="*/ 2147483647 h 139"/>
                    <a:gd name="T56" fmla="*/ 2147483647 w 113"/>
                    <a:gd name="T57" fmla="*/ 2147483647 h 139"/>
                    <a:gd name="T58" fmla="*/ 2147483647 w 113"/>
                    <a:gd name="T59" fmla="*/ 2147483647 h 139"/>
                    <a:gd name="T60" fmla="*/ 2147483647 w 113"/>
                    <a:gd name="T61" fmla="*/ 2147483647 h 139"/>
                    <a:gd name="T62" fmla="*/ 2147483647 w 113"/>
                    <a:gd name="T63" fmla="*/ 2147483647 h 139"/>
                    <a:gd name="T64" fmla="*/ 2147483647 w 113"/>
                    <a:gd name="T65" fmla="*/ 2147483647 h 139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13"/>
                    <a:gd name="T100" fmla="*/ 0 h 139"/>
                    <a:gd name="T101" fmla="*/ 113 w 113"/>
                    <a:gd name="T102" fmla="*/ 139 h 139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13" h="139">
                      <a:moveTo>
                        <a:pt x="34" y="26"/>
                      </a:moveTo>
                      <a:lnTo>
                        <a:pt x="69" y="26"/>
                      </a:lnTo>
                      <a:lnTo>
                        <a:pt x="78" y="35"/>
                      </a:lnTo>
                      <a:lnTo>
                        <a:pt x="95" y="35"/>
                      </a:lnTo>
                      <a:lnTo>
                        <a:pt x="113" y="8"/>
                      </a:lnTo>
                      <a:lnTo>
                        <a:pt x="104" y="0"/>
                      </a:lnTo>
                      <a:lnTo>
                        <a:pt x="95" y="17"/>
                      </a:lnTo>
                      <a:lnTo>
                        <a:pt x="78" y="17"/>
                      </a:lnTo>
                      <a:lnTo>
                        <a:pt x="52" y="8"/>
                      </a:lnTo>
                      <a:lnTo>
                        <a:pt x="34" y="8"/>
                      </a:lnTo>
                      <a:lnTo>
                        <a:pt x="17" y="26"/>
                      </a:lnTo>
                      <a:lnTo>
                        <a:pt x="8" y="52"/>
                      </a:lnTo>
                      <a:lnTo>
                        <a:pt x="8" y="61"/>
                      </a:lnTo>
                      <a:lnTo>
                        <a:pt x="8" y="78"/>
                      </a:lnTo>
                      <a:lnTo>
                        <a:pt x="0" y="87"/>
                      </a:lnTo>
                      <a:lnTo>
                        <a:pt x="8" y="104"/>
                      </a:lnTo>
                      <a:lnTo>
                        <a:pt x="8" y="139"/>
                      </a:lnTo>
                      <a:lnTo>
                        <a:pt x="34" y="122"/>
                      </a:lnTo>
                      <a:lnTo>
                        <a:pt x="26" y="78"/>
                      </a:lnTo>
                      <a:lnTo>
                        <a:pt x="34" y="78"/>
                      </a:lnTo>
                      <a:lnTo>
                        <a:pt x="52" y="130"/>
                      </a:lnTo>
                      <a:lnTo>
                        <a:pt x="78" y="130"/>
                      </a:lnTo>
                      <a:lnTo>
                        <a:pt x="69" y="113"/>
                      </a:lnTo>
                      <a:lnTo>
                        <a:pt x="61" y="104"/>
                      </a:lnTo>
                      <a:lnTo>
                        <a:pt x="61" y="87"/>
                      </a:lnTo>
                      <a:lnTo>
                        <a:pt x="52" y="69"/>
                      </a:lnTo>
                      <a:lnTo>
                        <a:pt x="61" y="61"/>
                      </a:lnTo>
                      <a:lnTo>
                        <a:pt x="78" y="69"/>
                      </a:lnTo>
                      <a:lnTo>
                        <a:pt x="69" y="43"/>
                      </a:lnTo>
                      <a:lnTo>
                        <a:pt x="43" y="52"/>
                      </a:lnTo>
                      <a:lnTo>
                        <a:pt x="34" y="61"/>
                      </a:lnTo>
                      <a:lnTo>
                        <a:pt x="26" y="43"/>
                      </a:lnTo>
                      <a:lnTo>
                        <a:pt x="3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1" name="Freeform 406"/>
                <p:cNvSpPr>
                  <a:spLocks/>
                </p:cNvSpPr>
                <p:nvPr/>
              </p:nvSpPr>
              <p:spPr bwMode="auto">
                <a:xfrm>
                  <a:off x="6463892" y="2744697"/>
                  <a:ext cx="121056" cy="148851"/>
                </a:xfrm>
                <a:custGeom>
                  <a:avLst/>
                  <a:gdLst>
                    <a:gd name="T0" fmla="*/ 2147483647 w 113"/>
                    <a:gd name="T1" fmla="*/ 2147483647 h 139"/>
                    <a:gd name="T2" fmla="*/ 2147483647 w 113"/>
                    <a:gd name="T3" fmla="*/ 2147483647 h 139"/>
                    <a:gd name="T4" fmla="*/ 2147483647 w 113"/>
                    <a:gd name="T5" fmla="*/ 2147483647 h 139"/>
                    <a:gd name="T6" fmla="*/ 2147483647 w 113"/>
                    <a:gd name="T7" fmla="*/ 2147483647 h 139"/>
                    <a:gd name="T8" fmla="*/ 2147483647 w 113"/>
                    <a:gd name="T9" fmla="*/ 2147483647 h 139"/>
                    <a:gd name="T10" fmla="*/ 2147483647 w 113"/>
                    <a:gd name="T11" fmla="*/ 0 h 139"/>
                    <a:gd name="T12" fmla="*/ 2147483647 w 113"/>
                    <a:gd name="T13" fmla="*/ 2147483647 h 139"/>
                    <a:gd name="T14" fmla="*/ 2147483647 w 113"/>
                    <a:gd name="T15" fmla="*/ 2147483647 h 139"/>
                    <a:gd name="T16" fmla="*/ 2147483647 w 113"/>
                    <a:gd name="T17" fmla="*/ 2147483647 h 139"/>
                    <a:gd name="T18" fmla="*/ 2147483647 w 113"/>
                    <a:gd name="T19" fmla="*/ 2147483647 h 139"/>
                    <a:gd name="T20" fmla="*/ 2147483647 w 113"/>
                    <a:gd name="T21" fmla="*/ 2147483647 h 139"/>
                    <a:gd name="T22" fmla="*/ 2147483647 w 113"/>
                    <a:gd name="T23" fmla="*/ 2147483647 h 139"/>
                    <a:gd name="T24" fmla="*/ 2147483647 w 113"/>
                    <a:gd name="T25" fmla="*/ 2147483647 h 139"/>
                    <a:gd name="T26" fmla="*/ 2147483647 w 113"/>
                    <a:gd name="T27" fmla="*/ 2147483647 h 139"/>
                    <a:gd name="T28" fmla="*/ 0 w 113"/>
                    <a:gd name="T29" fmla="*/ 2147483647 h 139"/>
                    <a:gd name="T30" fmla="*/ 2147483647 w 113"/>
                    <a:gd name="T31" fmla="*/ 2147483647 h 139"/>
                    <a:gd name="T32" fmla="*/ 2147483647 w 113"/>
                    <a:gd name="T33" fmla="*/ 2147483647 h 139"/>
                    <a:gd name="T34" fmla="*/ 2147483647 w 113"/>
                    <a:gd name="T35" fmla="*/ 2147483647 h 139"/>
                    <a:gd name="T36" fmla="*/ 2147483647 w 113"/>
                    <a:gd name="T37" fmla="*/ 2147483647 h 139"/>
                    <a:gd name="T38" fmla="*/ 2147483647 w 113"/>
                    <a:gd name="T39" fmla="*/ 2147483647 h 139"/>
                    <a:gd name="T40" fmla="*/ 2147483647 w 113"/>
                    <a:gd name="T41" fmla="*/ 2147483647 h 139"/>
                    <a:gd name="T42" fmla="*/ 2147483647 w 113"/>
                    <a:gd name="T43" fmla="*/ 2147483647 h 139"/>
                    <a:gd name="T44" fmla="*/ 2147483647 w 113"/>
                    <a:gd name="T45" fmla="*/ 2147483647 h 139"/>
                    <a:gd name="T46" fmla="*/ 2147483647 w 113"/>
                    <a:gd name="T47" fmla="*/ 2147483647 h 139"/>
                    <a:gd name="T48" fmla="*/ 2147483647 w 113"/>
                    <a:gd name="T49" fmla="*/ 2147483647 h 139"/>
                    <a:gd name="T50" fmla="*/ 2147483647 w 113"/>
                    <a:gd name="T51" fmla="*/ 2147483647 h 139"/>
                    <a:gd name="T52" fmla="*/ 2147483647 w 113"/>
                    <a:gd name="T53" fmla="*/ 2147483647 h 139"/>
                    <a:gd name="T54" fmla="*/ 2147483647 w 113"/>
                    <a:gd name="T55" fmla="*/ 2147483647 h 139"/>
                    <a:gd name="T56" fmla="*/ 2147483647 w 113"/>
                    <a:gd name="T57" fmla="*/ 2147483647 h 139"/>
                    <a:gd name="T58" fmla="*/ 2147483647 w 113"/>
                    <a:gd name="T59" fmla="*/ 2147483647 h 139"/>
                    <a:gd name="T60" fmla="*/ 2147483647 w 113"/>
                    <a:gd name="T61" fmla="*/ 2147483647 h 139"/>
                    <a:gd name="T62" fmla="*/ 2147483647 w 113"/>
                    <a:gd name="T63" fmla="*/ 2147483647 h 139"/>
                    <a:gd name="T64" fmla="*/ 2147483647 w 113"/>
                    <a:gd name="T65" fmla="*/ 2147483647 h 139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13"/>
                    <a:gd name="T100" fmla="*/ 0 h 139"/>
                    <a:gd name="T101" fmla="*/ 113 w 113"/>
                    <a:gd name="T102" fmla="*/ 139 h 139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13" h="139">
                      <a:moveTo>
                        <a:pt x="34" y="26"/>
                      </a:moveTo>
                      <a:lnTo>
                        <a:pt x="69" y="26"/>
                      </a:lnTo>
                      <a:lnTo>
                        <a:pt x="78" y="35"/>
                      </a:lnTo>
                      <a:lnTo>
                        <a:pt x="95" y="35"/>
                      </a:lnTo>
                      <a:lnTo>
                        <a:pt x="113" y="8"/>
                      </a:lnTo>
                      <a:lnTo>
                        <a:pt x="104" y="0"/>
                      </a:lnTo>
                      <a:lnTo>
                        <a:pt x="95" y="17"/>
                      </a:lnTo>
                      <a:lnTo>
                        <a:pt x="78" y="17"/>
                      </a:lnTo>
                      <a:lnTo>
                        <a:pt x="52" y="8"/>
                      </a:lnTo>
                      <a:lnTo>
                        <a:pt x="34" y="8"/>
                      </a:lnTo>
                      <a:lnTo>
                        <a:pt x="17" y="26"/>
                      </a:lnTo>
                      <a:lnTo>
                        <a:pt x="8" y="52"/>
                      </a:lnTo>
                      <a:lnTo>
                        <a:pt x="8" y="61"/>
                      </a:lnTo>
                      <a:lnTo>
                        <a:pt x="8" y="78"/>
                      </a:lnTo>
                      <a:lnTo>
                        <a:pt x="0" y="87"/>
                      </a:lnTo>
                      <a:lnTo>
                        <a:pt x="8" y="104"/>
                      </a:lnTo>
                      <a:lnTo>
                        <a:pt x="8" y="139"/>
                      </a:lnTo>
                      <a:lnTo>
                        <a:pt x="34" y="122"/>
                      </a:lnTo>
                      <a:lnTo>
                        <a:pt x="26" y="78"/>
                      </a:lnTo>
                      <a:lnTo>
                        <a:pt x="34" y="78"/>
                      </a:lnTo>
                      <a:lnTo>
                        <a:pt x="52" y="130"/>
                      </a:lnTo>
                      <a:lnTo>
                        <a:pt x="78" y="130"/>
                      </a:lnTo>
                      <a:lnTo>
                        <a:pt x="69" y="113"/>
                      </a:lnTo>
                      <a:lnTo>
                        <a:pt x="61" y="104"/>
                      </a:lnTo>
                      <a:lnTo>
                        <a:pt x="61" y="87"/>
                      </a:lnTo>
                      <a:lnTo>
                        <a:pt x="52" y="69"/>
                      </a:lnTo>
                      <a:lnTo>
                        <a:pt x="61" y="61"/>
                      </a:lnTo>
                      <a:lnTo>
                        <a:pt x="78" y="69"/>
                      </a:lnTo>
                      <a:lnTo>
                        <a:pt x="69" y="43"/>
                      </a:lnTo>
                      <a:lnTo>
                        <a:pt x="43" y="52"/>
                      </a:lnTo>
                      <a:lnTo>
                        <a:pt x="34" y="61"/>
                      </a:lnTo>
                      <a:lnTo>
                        <a:pt x="26" y="43"/>
                      </a:lnTo>
                      <a:lnTo>
                        <a:pt x="3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2" name="Freeform 408"/>
                <p:cNvSpPr>
                  <a:spLocks/>
                </p:cNvSpPr>
                <p:nvPr/>
              </p:nvSpPr>
              <p:spPr bwMode="auto">
                <a:xfrm>
                  <a:off x="6565665" y="2810020"/>
                  <a:ext cx="37495" cy="18205"/>
                </a:xfrm>
                <a:custGeom>
                  <a:avLst/>
                  <a:gdLst>
                    <a:gd name="T0" fmla="*/ 0 w 35"/>
                    <a:gd name="T1" fmla="*/ 2147483647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w 35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17"/>
                      </a:moveTo>
                      <a:lnTo>
                        <a:pt x="18" y="8"/>
                      </a:lnTo>
                      <a:lnTo>
                        <a:pt x="35" y="17"/>
                      </a:lnTo>
                      <a:lnTo>
                        <a:pt x="35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3" name="Freeform 409"/>
                <p:cNvSpPr>
                  <a:spLocks/>
                </p:cNvSpPr>
                <p:nvPr/>
              </p:nvSpPr>
              <p:spPr bwMode="auto">
                <a:xfrm>
                  <a:off x="6565665" y="2810020"/>
                  <a:ext cx="37495" cy="18205"/>
                </a:xfrm>
                <a:custGeom>
                  <a:avLst/>
                  <a:gdLst>
                    <a:gd name="T0" fmla="*/ 0 w 35"/>
                    <a:gd name="T1" fmla="*/ 2147483647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w 35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17"/>
                      </a:moveTo>
                      <a:lnTo>
                        <a:pt x="18" y="8"/>
                      </a:lnTo>
                      <a:lnTo>
                        <a:pt x="35" y="17"/>
                      </a:lnTo>
                      <a:lnTo>
                        <a:pt x="35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4" name="Freeform 410"/>
                <p:cNvSpPr>
                  <a:spLocks/>
                </p:cNvSpPr>
                <p:nvPr/>
              </p:nvSpPr>
              <p:spPr bwMode="auto">
                <a:xfrm>
                  <a:off x="6603160" y="2837862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5" name="Freeform 411"/>
                <p:cNvSpPr>
                  <a:spLocks/>
                </p:cNvSpPr>
                <p:nvPr/>
              </p:nvSpPr>
              <p:spPr bwMode="auto">
                <a:xfrm>
                  <a:off x="6603160" y="2837862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6" name="Freeform 412"/>
                <p:cNvSpPr>
                  <a:spLocks/>
                </p:cNvSpPr>
                <p:nvPr/>
              </p:nvSpPr>
              <p:spPr bwMode="auto">
                <a:xfrm>
                  <a:off x="6584948" y="2921390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2147483647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9" y="18"/>
                      </a:move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7" name="Freeform 413"/>
                <p:cNvSpPr>
                  <a:spLocks/>
                </p:cNvSpPr>
                <p:nvPr/>
              </p:nvSpPr>
              <p:spPr bwMode="auto">
                <a:xfrm>
                  <a:off x="6584948" y="2921390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2147483647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9" y="18"/>
                      </a:move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8" name="Freeform 414"/>
                <p:cNvSpPr>
                  <a:spLocks/>
                </p:cNvSpPr>
                <p:nvPr/>
              </p:nvSpPr>
              <p:spPr bwMode="auto">
                <a:xfrm>
                  <a:off x="6537811" y="2949232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2147483647 w 61"/>
                    <a:gd name="T3" fmla="*/ 0 h 35"/>
                    <a:gd name="T4" fmla="*/ 2147483647 w 61"/>
                    <a:gd name="T5" fmla="*/ 2147483647 h 35"/>
                    <a:gd name="T6" fmla="*/ 0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2147483647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61" y="0"/>
                      </a:moveTo>
                      <a:lnTo>
                        <a:pt x="53" y="0"/>
                      </a:lnTo>
                      <a:lnTo>
                        <a:pt x="26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44" y="18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9" name="Freeform 415"/>
                <p:cNvSpPr>
                  <a:spLocks/>
                </p:cNvSpPr>
                <p:nvPr/>
              </p:nvSpPr>
              <p:spPr bwMode="auto">
                <a:xfrm>
                  <a:off x="6537811" y="2949232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2147483647 w 61"/>
                    <a:gd name="T3" fmla="*/ 0 h 35"/>
                    <a:gd name="T4" fmla="*/ 2147483647 w 61"/>
                    <a:gd name="T5" fmla="*/ 2147483647 h 35"/>
                    <a:gd name="T6" fmla="*/ 0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2147483647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61" y="0"/>
                      </a:moveTo>
                      <a:lnTo>
                        <a:pt x="53" y="0"/>
                      </a:lnTo>
                      <a:lnTo>
                        <a:pt x="26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44" y="18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0" name="Freeform 416"/>
                <p:cNvSpPr>
                  <a:spLocks/>
                </p:cNvSpPr>
                <p:nvPr/>
              </p:nvSpPr>
              <p:spPr bwMode="auto">
                <a:xfrm>
                  <a:off x="6472463" y="2940666"/>
                  <a:ext cx="27853" cy="18205"/>
                </a:xfrm>
                <a:custGeom>
                  <a:avLst/>
                  <a:gdLst>
                    <a:gd name="T0" fmla="*/ 2147483647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0 h 17"/>
                    <a:gd name="T6" fmla="*/ 0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7"/>
                    <a:gd name="T20" fmla="*/ 26 w 26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7">
                      <a:moveTo>
                        <a:pt x="26" y="17"/>
                      </a:moveTo>
                      <a:lnTo>
                        <a:pt x="26" y="8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18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1" name="Freeform 417"/>
                <p:cNvSpPr>
                  <a:spLocks/>
                </p:cNvSpPr>
                <p:nvPr/>
              </p:nvSpPr>
              <p:spPr bwMode="auto">
                <a:xfrm>
                  <a:off x="6472463" y="2940666"/>
                  <a:ext cx="27853" cy="18205"/>
                </a:xfrm>
                <a:custGeom>
                  <a:avLst/>
                  <a:gdLst>
                    <a:gd name="T0" fmla="*/ 2147483647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0 h 17"/>
                    <a:gd name="T6" fmla="*/ 0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7"/>
                    <a:gd name="T20" fmla="*/ 26 w 26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7">
                      <a:moveTo>
                        <a:pt x="26" y="17"/>
                      </a:moveTo>
                      <a:lnTo>
                        <a:pt x="26" y="8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18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2" name="Freeform 418"/>
                <p:cNvSpPr>
                  <a:spLocks/>
                </p:cNvSpPr>
                <p:nvPr/>
              </p:nvSpPr>
              <p:spPr bwMode="auto">
                <a:xfrm>
                  <a:off x="6509958" y="2940666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0 w 18"/>
                    <a:gd name="T3" fmla="*/ 0 h 17"/>
                    <a:gd name="T4" fmla="*/ 2147483647 w 18"/>
                    <a:gd name="T5" fmla="*/ 2147483647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3" name="Freeform 419"/>
                <p:cNvSpPr>
                  <a:spLocks/>
                </p:cNvSpPr>
                <p:nvPr/>
              </p:nvSpPr>
              <p:spPr bwMode="auto">
                <a:xfrm>
                  <a:off x="6509958" y="2940666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0 w 18"/>
                    <a:gd name="T3" fmla="*/ 0 h 17"/>
                    <a:gd name="T4" fmla="*/ 2147483647 w 18"/>
                    <a:gd name="T5" fmla="*/ 2147483647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4" name="Freeform 420"/>
                <p:cNvSpPr>
                  <a:spLocks/>
                </p:cNvSpPr>
                <p:nvPr/>
              </p:nvSpPr>
              <p:spPr bwMode="auto">
                <a:xfrm>
                  <a:off x="6519600" y="2986712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9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5" name="Freeform 421"/>
                <p:cNvSpPr>
                  <a:spLocks/>
                </p:cNvSpPr>
                <p:nvPr/>
              </p:nvSpPr>
              <p:spPr bwMode="auto">
                <a:xfrm>
                  <a:off x="6519600" y="2986712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9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6" name="Freeform 422"/>
                <p:cNvSpPr>
                  <a:spLocks/>
                </p:cNvSpPr>
                <p:nvPr/>
              </p:nvSpPr>
              <p:spPr bwMode="auto">
                <a:xfrm>
                  <a:off x="6565665" y="2940666"/>
                  <a:ext cx="9642" cy="8567"/>
                </a:xfrm>
                <a:custGeom>
                  <a:avLst/>
                  <a:gdLst>
                    <a:gd name="T0" fmla="*/ 0 w 9"/>
                    <a:gd name="T1" fmla="*/ 2147483647 h 8"/>
                    <a:gd name="T2" fmla="*/ 2147483647 w 9"/>
                    <a:gd name="T3" fmla="*/ 0 h 8"/>
                    <a:gd name="T4" fmla="*/ 0 w 9"/>
                    <a:gd name="T5" fmla="*/ 0 h 8"/>
                    <a:gd name="T6" fmla="*/ 0 w 9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8"/>
                    <a:gd name="T14" fmla="*/ 9 w 9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8">
                      <a:moveTo>
                        <a:pt x="0" y="8"/>
                      </a:move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7" name="Freeform 423"/>
                <p:cNvSpPr>
                  <a:spLocks/>
                </p:cNvSpPr>
                <p:nvPr/>
              </p:nvSpPr>
              <p:spPr bwMode="auto">
                <a:xfrm>
                  <a:off x="6565665" y="2940666"/>
                  <a:ext cx="9642" cy="8567"/>
                </a:xfrm>
                <a:custGeom>
                  <a:avLst/>
                  <a:gdLst>
                    <a:gd name="T0" fmla="*/ 0 w 9"/>
                    <a:gd name="T1" fmla="*/ 2147483647 h 8"/>
                    <a:gd name="T2" fmla="*/ 2147483647 w 9"/>
                    <a:gd name="T3" fmla="*/ 0 h 8"/>
                    <a:gd name="T4" fmla="*/ 0 w 9"/>
                    <a:gd name="T5" fmla="*/ 0 h 8"/>
                    <a:gd name="T6" fmla="*/ 0 w 9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8"/>
                    <a:gd name="T14" fmla="*/ 9 w 9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8">
                      <a:moveTo>
                        <a:pt x="0" y="8"/>
                      </a:move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8" name="Freeform 424"/>
                <p:cNvSpPr>
                  <a:spLocks/>
                </p:cNvSpPr>
                <p:nvPr/>
              </p:nvSpPr>
              <p:spPr bwMode="auto">
                <a:xfrm>
                  <a:off x="6678150" y="2921390"/>
                  <a:ext cx="18212" cy="19276"/>
                </a:xfrm>
                <a:custGeom>
                  <a:avLst/>
                  <a:gdLst>
                    <a:gd name="T0" fmla="*/ 0 w 17"/>
                    <a:gd name="T1" fmla="*/ 2147483647 h 18"/>
                    <a:gd name="T2" fmla="*/ 2147483647 w 17"/>
                    <a:gd name="T3" fmla="*/ 2147483647 h 18"/>
                    <a:gd name="T4" fmla="*/ 2147483647 w 17"/>
                    <a:gd name="T5" fmla="*/ 0 h 18"/>
                    <a:gd name="T6" fmla="*/ 2147483647 w 17"/>
                    <a:gd name="T7" fmla="*/ 0 h 18"/>
                    <a:gd name="T8" fmla="*/ 0 w 17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18"/>
                      </a:move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9" name="Freeform 425"/>
                <p:cNvSpPr>
                  <a:spLocks/>
                </p:cNvSpPr>
                <p:nvPr/>
              </p:nvSpPr>
              <p:spPr bwMode="auto">
                <a:xfrm>
                  <a:off x="6678150" y="2921390"/>
                  <a:ext cx="18212" cy="19276"/>
                </a:xfrm>
                <a:custGeom>
                  <a:avLst/>
                  <a:gdLst>
                    <a:gd name="T0" fmla="*/ 0 w 17"/>
                    <a:gd name="T1" fmla="*/ 2147483647 h 18"/>
                    <a:gd name="T2" fmla="*/ 2147483647 w 17"/>
                    <a:gd name="T3" fmla="*/ 2147483647 h 18"/>
                    <a:gd name="T4" fmla="*/ 2147483647 w 17"/>
                    <a:gd name="T5" fmla="*/ 0 h 18"/>
                    <a:gd name="T6" fmla="*/ 2147483647 w 17"/>
                    <a:gd name="T7" fmla="*/ 0 h 18"/>
                    <a:gd name="T8" fmla="*/ 0 w 17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18"/>
                      </a:move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0" name="Freeform 426"/>
                <p:cNvSpPr>
                  <a:spLocks/>
                </p:cNvSpPr>
                <p:nvPr/>
              </p:nvSpPr>
              <p:spPr bwMode="auto">
                <a:xfrm>
                  <a:off x="6733857" y="2883909"/>
                  <a:ext cx="28925" cy="37481"/>
                </a:xfrm>
                <a:custGeom>
                  <a:avLst/>
                  <a:gdLst>
                    <a:gd name="T0" fmla="*/ 2147483647 w 27"/>
                    <a:gd name="T1" fmla="*/ 2147483647 h 35"/>
                    <a:gd name="T2" fmla="*/ 2147483647 w 27"/>
                    <a:gd name="T3" fmla="*/ 2147483647 h 35"/>
                    <a:gd name="T4" fmla="*/ 2147483647 w 27"/>
                    <a:gd name="T5" fmla="*/ 2147483647 h 35"/>
                    <a:gd name="T6" fmla="*/ 2147483647 w 27"/>
                    <a:gd name="T7" fmla="*/ 0 h 35"/>
                    <a:gd name="T8" fmla="*/ 0 w 27"/>
                    <a:gd name="T9" fmla="*/ 2147483647 h 35"/>
                    <a:gd name="T10" fmla="*/ 2147483647 w 2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35"/>
                    <a:gd name="T20" fmla="*/ 27 w 2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35">
                      <a:moveTo>
                        <a:pt x="9" y="35"/>
                      </a:moveTo>
                      <a:lnTo>
                        <a:pt x="9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1" name="Freeform 427"/>
                <p:cNvSpPr>
                  <a:spLocks/>
                </p:cNvSpPr>
                <p:nvPr/>
              </p:nvSpPr>
              <p:spPr bwMode="auto">
                <a:xfrm>
                  <a:off x="6733857" y="2883909"/>
                  <a:ext cx="28925" cy="37481"/>
                </a:xfrm>
                <a:custGeom>
                  <a:avLst/>
                  <a:gdLst>
                    <a:gd name="T0" fmla="*/ 2147483647 w 27"/>
                    <a:gd name="T1" fmla="*/ 2147483647 h 35"/>
                    <a:gd name="T2" fmla="*/ 2147483647 w 27"/>
                    <a:gd name="T3" fmla="*/ 2147483647 h 35"/>
                    <a:gd name="T4" fmla="*/ 2147483647 w 27"/>
                    <a:gd name="T5" fmla="*/ 2147483647 h 35"/>
                    <a:gd name="T6" fmla="*/ 2147483647 w 27"/>
                    <a:gd name="T7" fmla="*/ 0 h 35"/>
                    <a:gd name="T8" fmla="*/ 0 w 27"/>
                    <a:gd name="T9" fmla="*/ 2147483647 h 35"/>
                    <a:gd name="T10" fmla="*/ 2147483647 w 2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35"/>
                    <a:gd name="T20" fmla="*/ 27 w 2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35">
                      <a:moveTo>
                        <a:pt x="9" y="35"/>
                      </a:moveTo>
                      <a:lnTo>
                        <a:pt x="9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2" name="Freeform 428"/>
                <p:cNvSpPr>
                  <a:spLocks/>
                </p:cNvSpPr>
                <p:nvPr/>
              </p:nvSpPr>
              <p:spPr bwMode="auto">
                <a:xfrm>
                  <a:off x="6276417" y="2697579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2147483647 w 175"/>
                    <a:gd name="T7" fmla="*/ 2147483647 h 148"/>
                    <a:gd name="T8" fmla="*/ 2147483647 w 175"/>
                    <a:gd name="T9" fmla="*/ 0 h 148"/>
                    <a:gd name="T10" fmla="*/ 2147483647 w 175"/>
                    <a:gd name="T11" fmla="*/ 2147483647 h 148"/>
                    <a:gd name="T12" fmla="*/ 2147483647 w 175"/>
                    <a:gd name="T13" fmla="*/ 2147483647 h 148"/>
                    <a:gd name="T14" fmla="*/ 2147483647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0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2147483647 w 175"/>
                    <a:gd name="T51" fmla="*/ 2147483647 h 148"/>
                    <a:gd name="T52" fmla="*/ 2147483647 w 175"/>
                    <a:gd name="T53" fmla="*/ 2147483647 h 148"/>
                    <a:gd name="T54" fmla="*/ 2147483647 w 175"/>
                    <a:gd name="T55" fmla="*/ 2147483647 h 148"/>
                    <a:gd name="T56" fmla="*/ 2147483647 w 175"/>
                    <a:gd name="T57" fmla="*/ 2147483647 h 14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75"/>
                    <a:gd name="T88" fmla="*/ 0 h 148"/>
                    <a:gd name="T89" fmla="*/ 175 w 175"/>
                    <a:gd name="T90" fmla="*/ 148 h 14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75" h="148">
                      <a:moveTo>
                        <a:pt x="157" y="26"/>
                      </a:moveTo>
                      <a:lnTo>
                        <a:pt x="157" y="18"/>
                      </a:lnTo>
                      <a:lnTo>
                        <a:pt x="148" y="18"/>
                      </a:lnTo>
                      <a:lnTo>
                        <a:pt x="157" y="9"/>
                      </a:lnTo>
                      <a:lnTo>
                        <a:pt x="148" y="0"/>
                      </a:lnTo>
                      <a:lnTo>
                        <a:pt x="131" y="18"/>
                      </a:lnTo>
                      <a:lnTo>
                        <a:pt x="113" y="44"/>
                      </a:lnTo>
                      <a:lnTo>
                        <a:pt x="96" y="61"/>
                      </a:lnTo>
                      <a:lnTo>
                        <a:pt x="79" y="52"/>
                      </a:lnTo>
                      <a:lnTo>
                        <a:pt x="61" y="61"/>
                      </a:lnTo>
                      <a:lnTo>
                        <a:pt x="35" y="70"/>
                      </a:lnTo>
                      <a:lnTo>
                        <a:pt x="26" y="44"/>
                      </a:lnTo>
                      <a:lnTo>
                        <a:pt x="18" y="44"/>
                      </a:lnTo>
                      <a:lnTo>
                        <a:pt x="0" y="70"/>
                      </a:lnTo>
                      <a:lnTo>
                        <a:pt x="26" y="96"/>
                      </a:lnTo>
                      <a:lnTo>
                        <a:pt x="35" y="131"/>
                      </a:lnTo>
                      <a:lnTo>
                        <a:pt x="52" y="131"/>
                      </a:lnTo>
                      <a:lnTo>
                        <a:pt x="70" y="148"/>
                      </a:lnTo>
                      <a:lnTo>
                        <a:pt x="79" y="131"/>
                      </a:lnTo>
                      <a:lnTo>
                        <a:pt x="105" y="131"/>
                      </a:lnTo>
                      <a:lnTo>
                        <a:pt x="105" y="148"/>
                      </a:lnTo>
                      <a:lnTo>
                        <a:pt x="113" y="148"/>
                      </a:lnTo>
                      <a:lnTo>
                        <a:pt x="131" y="140"/>
                      </a:lnTo>
                      <a:lnTo>
                        <a:pt x="131" y="96"/>
                      </a:lnTo>
                      <a:lnTo>
                        <a:pt x="157" y="87"/>
                      </a:lnTo>
                      <a:lnTo>
                        <a:pt x="148" y="79"/>
                      </a:lnTo>
                      <a:lnTo>
                        <a:pt x="166" y="61"/>
                      </a:lnTo>
                      <a:lnTo>
                        <a:pt x="175" y="61"/>
                      </a:lnTo>
                      <a:lnTo>
                        <a:pt x="157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3" name="Freeform 429"/>
                <p:cNvSpPr>
                  <a:spLocks/>
                </p:cNvSpPr>
                <p:nvPr/>
              </p:nvSpPr>
              <p:spPr bwMode="auto">
                <a:xfrm>
                  <a:off x="6276417" y="2697579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2147483647 w 175"/>
                    <a:gd name="T7" fmla="*/ 2147483647 h 148"/>
                    <a:gd name="T8" fmla="*/ 2147483647 w 175"/>
                    <a:gd name="T9" fmla="*/ 0 h 148"/>
                    <a:gd name="T10" fmla="*/ 2147483647 w 175"/>
                    <a:gd name="T11" fmla="*/ 2147483647 h 148"/>
                    <a:gd name="T12" fmla="*/ 2147483647 w 175"/>
                    <a:gd name="T13" fmla="*/ 2147483647 h 148"/>
                    <a:gd name="T14" fmla="*/ 2147483647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0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2147483647 w 175"/>
                    <a:gd name="T51" fmla="*/ 2147483647 h 148"/>
                    <a:gd name="T52" fmla="*/ 2147483647 w 175"/>
                    <a:gd name="T53" fmla="*/ 2147483647 h 148"/>
                    <a:gd name="T54" fmla="*/ 2147483647 w 175"/>
                    <a:gd name="T55" fmla="*/ 2147483647 h 148"/>
                    <a:gd name="T56" fmla="*/ 2147483647 w 175"/>
                    <a:gd name="T57" fmla="*/ 2147483647 h 14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75"/>
                    <a:gd name="T88" fmla="*/ 0 h 148"/>
                    <a:gd name="T89" fmla="*/ 175 w 175"/>
                    <a:gd name="T90" fmla="*/ 148 h 14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75" h="148">
                      <a:moveTo>
                        <a:pt x="157" y="26"/>
                      </a:moveTo>
                      <a:lnTo>
                        <a:pt x="157" y="18"/>
                      </a:lnTo>
                      <a:lnTo>
                        <a:pt x="148" y="18"/>
                      </a:lnTo>
                      <a:lnTo>
                        <a:pt x="157" y="9"/>
                      </a:lnTo>
                      <a:lnTo>
                        <a:pt x="148" y="0"/>
                      </a:lnTo>
                      <a:lnTo>
                        <a:pt x="131" y="18"/>
                      </a:lnTo>
                      <a:lnTo>
                        <a:pt x="113" y="44"/>
                      </a:lnTo>
                      <a:lnTo>
                        <a:pt x="96" y="61"/>
                      </a:lnTo>
                      <a:lnTo>
                        <a:pt x="79" y="52"/>
                      </a:lnTo>
                      <a:lnTo>
                        <a:pt x="61" y="61"/>
                      </a:lnTo>
                      <a:lnTo>
                        <a:pt x="35" y="70"/>
                      </a:lnTo>
                      <a:lnTo>
                        <a:pt x="26" y="44"/>
                      </a:lnTo>
                      <a:lnTo>
                        <a:pt x="18" y="44"/>
                      </a:lnTo>
                      <a:lnTo>
                        <a:pt x="0" y="70"/>
                      </a:lnTo>
                      <a:lnTo>
                        <a:pt x="26" y="96"/>
                      </a:lnTo>
                      <a:lnTo>
                        <a:pt x="35" y="131"/>
                      </a:lnTo>
                      <a:lnTo>
                        <a:pt x="52" y="131"/>
                      </a:lnTo>
                      <a:lnTo>
                        <a:pt x="70" y="148"/>
                      </a:lnTo>
                      <a:lnTo>
                        <a:pt x="79" y="131"/>
                      </a:lnTo>
                      <a:lnTo>
                        <a:pt x="105" y="131"/>
                      </a:lnTo>
                      <a:lnTo>
                        <a:pt x="105" y="148"/>
                      </a:lnTo>
                      <a:lnTo>
                        <a:pt x="113" y="148"/>
                      </a:lnTo>
                      <a:lnTo>
                        <a:pt x="131" y="140"/>
                      </a:lnTo>
                      <a:lnTo>
                        <a:pt x="131" y="96"/>
                      </a:lnTo>
                      <a:lnTo>
                        <a:pt x="157" y="87"/>
                      </a:lnTo>
                      <a:lnTo>
                        <a:pt x="148" y="79"/>
                      </a:lnTo>
                      <a:lnTo>
                        <a:pt x="166" y="61"/>
                      </a:lnTo>
                      <a:lnTo>
                        <a:pt x="175" y="61"/>
                      </a:lnTo>
                      <a:lnTo>
                        <a:pt x="157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4" name="Freeform 430"/>
                <p:cNvSpPr>
                  <a:spLocks/>
                </p:cNvSpPr>
                <p:nvPr/>
              </p:nvSpPr>
              <p:spPr bwMode="auto">
                <a:xfrm>
                  <a:off x="6220710" y="2810020"/>
                  <a:ext cx="18212" cy="27842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0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2147483647 w 17"/>
                    <a:gd name="T13" fmla="*/ 0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"/>
                    <a:gd name="T22" fmla="*/ 0 h 26"/>
                    <a:gd name="T23" fmla="*/ 17 w 17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" h="26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7" y="26"/>
                      </a:lnTo>
                      <a:lnTo>
                        <a:pt x="17" y="17"/>
                      </a:lnTo>
                      <a:lnTo>
                        <a:pt x="9" y="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5" name="Freeform 431"/>
                <p:cNvSpPr>
                  <a:spLocks/>
                </p:cNvSpPr>
                <p:nvPr/>
              </p:nvSpPr>
              <p:spPr bwMode="auto">
                <a:xfrm>
                  <a:off x="6220710" y="2810020"/>
                  <a:ext cx="18212" cy="27842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0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2147483647 w 17"/>
                    <a:gd name="T13" fmla="*/ 0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"/>
                    <a:gd name="T22" fmla="*/ 0 h 26"/>
                    <a:gd name="T23" fmla="*/ 17 w 17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" h="26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7" y="26"/>
                      </a:lnTo>
                      <a:lnTo>
                        <a:pt x="17" y="17"/>
                      </a:lnTo>
                      <a:lnTo>
                        <a:pt x="9" y="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6" name="Freeform 432"/>
                <p:cNvSpPr>
                  <a:spLocks/>
                </p:cNvSpPr>
                <p:nvPr/>
              </p:nvSpPr>
              <p:spPr bwMode="auto">
                <a:xfrm>
                  <a:off x="6258206" y="2828224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0 h 9"/>
                    <a:gd name="T4" fmla="*/ 0 w 17"/>
                    <a:gd name="T5" fmla="*/ 2147483647 h 9"/>
                    <a:gd name="T6" fmla="*/ 2147483647 w 17"/>
                    <a:gd name="T7" fmla="*/ 2147483647 h 9"/>
                    <a:gd name="T8" fmla="*/ 2147483647 w 1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9"/>
                    <a:gd name="T17" fmla="*/ 17 w 17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9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7" name="Freeform 433"/>
                <p:cNvSpPr>
                  <a:spLocks/>
                </p:cNvSpPr>
                <p:nvPr/>
              </p:nvSpPr>
              <p:spPr bwMode="auto">
                <a:xfrm>
                  <a:off x="6258206" y="2828224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0 h 9"/>
                    <a:gd name="T4" fmla="*/ 0 w 17"/>
                    <a:gd name="T5" fmla="*/ 2147483647 h 9"/>
                    <a:gd name="T6" fmla="*/ 2147483647 w 17"/>
                    <a:gd name="T7" fmla="*/ 2147483647 h 9"/>
                    <a:gd name="T8" fmla="*/ 2147483647 w 1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9"/>
                    <a:gd name="T17" fmla="*/ 17 w 17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9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8" name="Freeform 434"/>
                <p:cNvSpPr>
                  <a:spLocks/>
                </p:cNvSpPr>
                <p:nvPr/>
              </p:nvSpPr>
              <p:spPr bwMode="auto">
                <a:xfrm>
                  <a:off x="6220710" y="2893547"/>
                  <a:ext cx="176763" cy="65323"/>
                </a:xfrm>
                <a:custGeom>
                  <a:avLst/>
                  <a:gdLst>
                    <a:gd name="T0" fmla="*/ 2147483647 w 165"/>
                    <a:gd name="T1" fmla="*/ 2147483647 h 61"/>
                    <a:gd name="T2" fmla="*/ 2147483647 w 165"/>
                    <a:gd name="T3" fmla="*/ 2147483647 h 61"/>
                    <a:gd name="T4" fmla="*/ 2147483647 w 165"/>
                    <a:gd name="T5" fmla="*/ 2147483647 h 61"/>
                    <a:gd name="T6" fmla="*/ 2147483647 w 165"/>
                    <a:gd name="T7" fmla="*/ 2147483647 h 61"/>
                    <a:gd name="T8" fmla="*/ 2147483647 w 165"/>
                    <a:gd name="T9" fmla="*/ 0 h 61"/>
                    <a:gd name="T10" fmla="*/ 2147483647 w 165"/>
                    <a:gd name="T11" fmla="*/ 2147483647 h 61"/>
                    <a:gd name="T12" fmla="*/ 0 w 165"/>
                    <a:gd name="T13" fmla="*/ 2147483647 h 61"/>
                    <a:gd name="T14" fmla="*/ 2147483647 w 165"/>
                    <a:gd name="T15" fmla="*/ 2147483647 h 61"/>
                    <a:gd name="T16" fmla="*/ 2147483647 w 165"/>
                    <a:gd name="T17" fmla="*/ 2147483647 h 61"/>
                    <a:gd name="T18" fmla="*/ 2147483647 w 165"/>
                    <a:gd name="T19" fmla="*/ 2147483647 h 61"/>
                    <a:gd name="T20" fmla="*/ 2147483647 w 165"/>
                    <a:gd name="T21" fmla="*/ 2147483647 h 61"/>
                    <a:gd name="T22" fmla="*/ 2147483647 w 165"/>
                    <a:gd name="T23" fmla="*/ 2147483647 h 61"/>
                    <a:gd name="T24" fmla="*/ 2147483647 w 165"/>
                    <a:gd name="T25" fmla="*/ 2147483647 h 61"/>
                    <a:gd name="T26" fmla="*/ 2147483647 w 165"/>
                    <a:gd name="T27" fmla="*/ 2147483647 h 61"/>
                    <a:gd name="T28" fmla="*/ 2147483647 w 165"/>
                    <a:gd name="T29" fmla="*/ 2147483647 h 61"/>
                    <a:gd name="T30" fmla="*/ 2147483647 w 165"/>
                    <a:gd name="T31" fmla="*/ 2147483647 h 61"/>
                    <a:gd name="T32" fmla="*/ 2147483647 w 165"/>
                    <a:gd name="T33" fmla="*/ 2147483647 h 61"/>
                    <a:gd name="T34" fmla="*/ 2147483647 w 165"/>
                    <a:gd name="T35" fmla="*/ 2147483647 h 61"/>
                    <a:gd name="T36" fmla="*/ 2147483647 w 165"/>
                    <a:gd name="T37" fmla="*/ 2147483647 h 61"/>
                    <a:gd name="T38" fmla="*/ 2147483647 w 165"/>
                    <a:gd name="T39" fmla="*/ 2147483647 h 61"/>
                    <a:gd name="T40" fmla="*/ 2147483647 w 165"/>
                    <a:gd name="T41" fmla="*/ 2147483647 h 61"/>
                    <a:gd name="T42" fmla="*/ 2147483647 w 165"/>
                    <a:gd name="T43" fmla="*/ 2147483647 h 61"/>
                    <a:gd name="T44" fmla="*/ 2147483647 w 165"/>
                    <a:gd name="T45" fmla="*/ 2147483647 h 61"/>
                    <a:gd name="T46" fmla="*/ 2147483647 w 165"/>
                    <a:gd name="T47" fmla="*/ 2147483647 h 6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65"/>
                    <a:gd name="T73" fmla="*/ 0 h 61"/>
                    <a:gd name="T74" fmla="*/ 165 w 165"/>
                    <a:gd name="T75" fmla="*/ 61 h 61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65" h="61">
                      <a:moveTo>
                        <a:pt x="87" y="9"/>
                      </a:moveTo>
                      <a:lnTo>
                        <a:pt x="78" y="26"/>
                      </a:lnTo>
                      <a:lnTo>
                        <a:pt x="52" y="26"/>
                      </a:lnTo>
                      <a:lnTo>
                        <a:pt x="43" y="9"/>
                      </a:lnTo>
                      <a:lnTo>
                        <a:pt x="26" y="0"/>
                      </a:lnTo>
                      <a:lnTo>
                        <a:pt x="9" y="9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78" y="35"/>
                      </a:lnTo>
                      <a:lnTo>
                        <a:pt x="78" y="44"/>
                      </a:lnTo>
                      <a:lnTo>
                        <a:pt x="113" y="61"/>
                      </a:lnTo>
                      <a:lnTo>
                        <a:pt x="131" y="52"/>
                      </a:lnTo>
                      <a:lnTo>
                        <a:pt x="139" y="61"/>
                      </a:lnTo>
                      <a:lnTo>
                        <a:pt x="157" y="52"/>
                      </a:lnTo>
                      <a:lnTo>
                        <a:pt x="165" y="61"/>
                      </a:lnTo>
                      <a:lnTo>
                        <a:pt x="165" y="52"/>
                      </a:lnTo>
                      <a:lnTo>
                        <a:pt x="165" y="35"/>
                      </a:lnTo>
                      <a:lnTo>
                        <a:pt x="157" y="44"/>
                      </a:lnTo>
                      <a:lnTo>
                        <a:pt x="139" y="35"/>
                      </a:lnTo>
                      <a:lnTo>
                        <a:pt x="131" y="35"/>
                      </a:lnTo>
                      <a:lnTo>
                        <a:pt x="104" y="9"/>
                      </a:lnTo>
                      <a:lnTo>
                        <a:pt x="8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9" name="Freeform 435"/>
                <p:cNvSpPr>
                  <a:spLocks/>
                </p:cNvSpPr>
                <p:nvPr/>
              </p:nvSpPr>
              <p:spPr bwMode="auto">
                <a:xfrm>
                  <a:off x="6220710" y="2893547"/>
                  <a:ext cx="176763" cy="65323"/>
                </a:xfrm>
                <a:custGeom>
                  <a:avLst/>
                  <a:gdLst>
                    <a:gd name="T0" fmla="*/ 2147483647 w 165"/>
                    <a:gd name="T1" fmla="*/ 2147483647 h 61"/>
                    <a:gd name="T2" fmla="*/ 2147483647 w 165"/>
                    <a:gd name="T3" fmla="*/ 2147483647 h 61"/>
                    <a:gd name="T4" fmla="*/ 2147483647 w 165"/>
                    <a:gd name="T5" fmla="*/ 2147483647 h 61"/>
                    <a:gd name="T6" fmla="*/ 2147483647 w 165"/>
                    <a:gd name="T7" fmla="*/ 2147483647 h 61"/>
                    <a:gd name="T8" fmla="*/ 2147483647 w 165"/>
                    <a:gd name="T9" fmla="*/ 0 h 61"/>
                    <a:gd name="T10" fmla="*/ 2147483647 w 165"/>
                    <a:gd name="T11" fmla="*/ 2147483647 h 61"/>
                    <a:gd name="T12" fmla="*/ 0 w 165"/>
                    <a:gd name="T13" fmla="*/ 2147483647 h 61"/>
                    <a:gd name="T14" fmla="*/ 2147483647 w 165"/>
                    <a:gd name="T15" fmla="*/ 2147483647 h 61"/>
                    <a:gd name="T16" fmla="*/ 2147483647 w 165"/>
                    <a:gd name="T17" fmla="*/ 2147483647 h 61"/>
                    <a:gd name="T18" fmla="*/ 2147483647 w 165"/>
                    <a:gd name="T19" fmla="*/ 2147483647 h 61"/>
                    <a:gd name="T20" fmla="*/ 2147483647 w 165"/>
                    <a:gd name="T21" fmla="*/ 2147483647 h 61"/>
                    <a:gd name="T22" fmla="*/ 2147483647 w 165"/>
                    <a:gd name="T23" fmla="*/ 2147483647 h 61"/>
                    <a:gd name="T24" fmla="*/ 2147483647 w 165"/>
                    <a:gd name="T25" fmla="*/ 2147483647 h 61"/>
                    <a:gd name="T26" fmla="*/ 2147483647 w 165"/>
                    <a:gd name="T27" fmla="*/ 2147483647 h 61"/>
                    <a:gd name="T28" fmla="*/ 2147483647 w 165"/>
                    <a:gd name="T29" fmla="*/ 2147483647 h 61"/>
                    <a:gd name="T30" fmla="*/ 2147483647 w 165"/>
                    <a:gd name="T31" fmla="*/ 2147483647 h 61"/>
                    <a:gd name="T32" fmla="*/ 2147483647 w 165"/>
                    <a:gd name="T33" fmla="*/ 2147483647 h 61"/>
                    <a:gd name="T34" fmla="*/ 2147483647 w 165"/>
                    <a:gd name="T35" fmla="*/ 2147483647 h 61"/>
                    <a:gd name="T36" fmla="*/ 2147483647 w 165"/>
                    <a:gd name="T37" fmla="*/ 2147483647 h 61"/>
                    <a:gd name="T38" fmla="*/ 2147483647 w 165"/>
                    <a:gd name="T39" fmla="*/ 2147483647 h 61"/>
                    <a:gd name="T40" fmla="*/ 2147483647 w 165"/>
                    <a:gd name="T41" fmla="*/ 2147483647 h 61"/>
                    <a:gd name="T42" fmla="*/ 2147483647 w 165"/>
                    <a:gd name="T43" fmla="*/ 2147483647 h 61"/>
                    <a:gd name="T44" fmla="*/ 2147483647 w 165"/>
                    <a:gd name="T45" fmla="*/ 2147483647 h 61"/>
                    <a:gd name="T46" fmla="*/ 2147483647 w 165"/>
                    <a:gd name="T47" fmla="*/ 2147483647 h 6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65"/>
                    <a:gd name="T73" fmla="*/ 0 h 61"/>
                    <a:gd name="T74" fmla="*/ 165 w 165"/>
                    <a:gd name="T75" fmla="*/ 61 h 61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65" h="61">
                      <a:moveTo>
                        <a:pt x="87" y="9"/>
                      </a:moveTo>
                      <a:lnTo>
                        <a:pt x="78" y="26"/>
                      </a:lnTo>
                      <a:lnTo>
                        <a:pt x="52" y="26"/>
                      </a:lnTo>
                      <a:lnTo>
                        <a:pt x="43" y="9"/>
                      </a:lnTo>
                      <a:lnTo>
                        <a:pt x="26" y="0"/>
                      </a:lnTo>
                      <a:lnTo>
                        <a:pt x="9" y="9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78" y="35"/>
                      </a:lnTo>
                      <a:lnTo>
                        <a:pt x="78" y="44"/>
                      </a:lnTo>
                      <a:lnTo>
                        <a:pt x="113" y="61"/>
                      </a:lnTo>
                      <a:lnTo>
                        <a:pt x="131" y="52"/>
                      </a:lnTo>
                      <a:lnTo>
                        <a:pt x="139" y="61"/>
                      </a:lnTo>
                      <a:lnTo>
                        <a:pt x="157" y="52"/>
                      </a:lnTo>
                      <a:lnTo>
                        <a:pt x="165" y="61"/>
                      </a:lnTo>
                      <a:lnTo>
                        <a:pt x="165" y="52"/>
                      </a:lnTo>
                      <a:lnTo>
                        <a:pt x="165" y="35"/>
                      </a:lnTo>
                      <a:lnTo>
                        <a:pt x="157" y="44"/>
                      </a:lnTo>
                      <a:lnTo>
                        <a:pt x="139" y="35"/>
                      </a:lnTo>
                      <a:lnTo>
                        <a:pt x="131" y="35"/>
                      </a:lnTo>
                      <a:lnTo>
                        <a:pt x="104" y="9"/>
                      </a:lnTo>
                      <a:lnTo>
                        <a:pt x="8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0" name="Freeform 436"/>
                <p:cNvSpPr>
                  <a:spLocks/>
                </p:cNvSpPr>
                <p:nvPr/>
              </p:nvSpPr>
              <p:spPr bwMode="auto">
                <a:xfrm>
                  <a:off x="6434968" y="2940666"/>
                  <a:ext cx="28925" cy="18205"/>
                </a:xfrm>
                <a:custGeom>
                  <a:avLst/>
                  <a:gdLst>
                    <a:gd name="T0" fmla="*/ 2147483647 w 27"/>
                    <a:gd name="T1" fmla="*/ 0 h 17"/>
                    <a:gd name="T2" fmla="*/ 0 w 27"/>
                    <a:gd name="T3" fmla="*/ 2147483647 h 17"/>
                    <a:gd name="T4" fmla="*/ 2147483647 w 27"/>
                    <a:gd name="T5" fmla="*/ 2147483647 h 17"/>
                    <a:gd name="T6" fmla="*/ 2147483647 w 2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7"/>
                    <a:gd name="T13" fmla="*/ 0 h 17"/>
                    <a:gd name="T14" fmla="*/ 27 w 2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7" h="17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2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1" name="Freeform 437"/>
                <p:cNvSpPr>
                  <a:spLocks/>
                </p:cNvSpPr>
                <p:nvPr/>
              </p:nvSpPr>
              <p:spPr bwMode="auto">
                <a:xfrm>
                  <a:off x="6434968" y="2940666"/>
                  <a:ext cx="28925" cy="18205"/>
                </a:xfrm>
                <a:custGeom>
                  <a:avLst/>
                  <a:gdLst>
                    <a:gd name="T0" fmla="*/ 2147483647 w 27"/>
                    <a:gd name="T1" fmla="*/ 0 h 17"/>
                    <a:gd name="T2" fmla="*/ 0 w 27"/>
                    <a:gd name="T3" fmla="*/ 2147483647 h 17"/>
                    <a:gd name="T4" fmla="*/ 2147483647 w 27"/>
                    <a:gd name="T5" fmla="*/ 2147483647 h 17"/>
                    <a:gd name="T6" fmla="*/ 2147483647 w 2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7"/>
                    <a:gd name="T13" fmla="*/ 0 h 17"/>
                    <a:gd name="T14" fmla="*/ 27 w 2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7" h="17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2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2" name="Freeform 438"/>
                <p:cNvSpPr>
                  <a:spLocks/>
                </p:cNvSpPr>
                <p:nvPr/>
              </p:nvSpPr>
              <p:spPr bwMode="auto">
                <a:xfrm>
                  <a:off x="6407114" y="2949232"/>
                  <a:ext cx="27853" cy="9638"/>
                </a:xfrm>
                <a:custGeom>
                  <a:avLst/>
                  <a:gdLst>
                    <a:gd name="T0" fmla="*/ 2147483647 w 26"/>
                    <a:gd name="T1" fmla="*/ 2147483647 h 9"/>
                    <a:gd name="T2" fmla="*/ 2147483647 w 26"/>
                    <a:gd name="T3" fmla="*/ 0 h 9"/>
                    <a:gd name="T4" fmla="*/ 0 w 26"/>
                    <a:gd name="T5" fmla="*/ 0 h 9"/>
                    <a:gd name="T6" fmla="*/ 0 w 26"/>
                    <a:gd name="T7" fmla="*/ 2147483647 h 9"/>
                    <a:gd name="T8" fmla="*/ 2147483647 w 26"/>
                    <a:gd name="T9" fmla="*/ 2147483647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9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3" name="Freeform 439"/>
                <p:cNvSpPr>
                  <a:spLocks/>
                </p:cNvSpPr>
                <p:nvPr/>
              </p:nvSpPr>
              <p:spPr bwMode="auto">
                <a:xfrm>
                  <a:off x="6407114" y="2949232"/>
                  <a:ext cx="27853" cy="9638"/>
                </a:xfrm>
                <a:custGeom>
                  <a:avLst/>
                  <a:gdLst>
                    <a:gd name="T0" fmla="*/ 2147483647 w 26"/>
                    <a:gd name="T1" fmla="*/ 2147483647 h 9"/>
                    <a:gd name="T2" fmla="*/ 2147483647 w 26"/>
                    <a:gd name="T3" fmla="*/ 0 h 9"/>
                    <a:gd name="T4" fmla="*/ 0 w 26"/>
                    <a:gd name="T5" fmla="*/ 0 h 9"/>
                    <a:gd name="T6" fmla="*/ 0 w 26"/>
                    <a:gd name="T7" fmla="*/ 2147483647 h 9"/>
                    <a:gd name="T8" fmla="*/ 2147483647 w 26"/>
                    <a:gd name="T9" fmla="*/ 2147483647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9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4" name="Freeform 440"/>
                <p:cNvSpPr>
                  <a:spLocks/>
                </p:cNvSpPr>
                <p:nvPr/>
              </p:nvSpPr>
              <p:spPr bwMode="auto">
                <a:xfrm>
                  <a:off x="6454251" y="2958870"/>
                  <a:ext cx="37495" cy="19276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0 w 35"/>
                    <a:gd name="T5" fmla="*/ 2147483647 h 18"/>
                    <a:gd name="T6" fmla="*/ 2147483647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9"/>
                      </a:moveTo>
                      <a:lnTo>
                        <a:pt x="17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5" name="Freeform 441"/>
                <p:cNvSpPr>
                  <a:spLocks/>
                </p:cNvSpPr>
                <p:nvPr/>
              </p:nvSpPr>
              <p:spPr bwMode="auto">
                <a:xfrm>
                  <a:off x="6454251" y="2958870"/>
                  <a:ext cx="37495" cy="19276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0 w 35"/>
                    <a:gd name="T5" fmla="*/ 2147483647 h 18"/>
                    <a:gd name="T6" fmla="*/ 2147483647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9"/>
                      </a:moveTo>
                      <a:lnTo>
                        <a:pt x="17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6" name="Freeform 442"/>
                <p:cNvSpPr>
                  <a:spLocks/>
                </p:cNvSpPr>
                <p:nvPr/>
              </p:nvSpPr>
              <p:spPr bwMode="auto">
                <a:xfrm>
                  <a:off x="6042877" y="2725421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0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18" y="18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7" name="Freeform 443"/>
                <p:cNvSpPr>
                  <a:spLocks/>
                </p:cNvSpPr>
                <p:nvPr/>
              </p:nvSpPr>
              <p:spPr bwMode="auto">
                <a:xfrm>
                  <a:off x="6042877" y="2725421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0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18" y="18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8" name="Freeform 444"/>
                <p:cNvSpPr>
                  <a:spLocks/>
                </p:cNvSpPr>
                <p:nvPr/>
              </p:nvSpPr>
              <p:spPr bwMode="auto">
                <a:xfrm>
                  <a:off x="6098584" y="2800382"/>
                  <a:ext cx="19283" cy="27842"/>
                </a:xfrm>
                <a:custGeom>
                  <a:avLst/>
                  <a:gdLst>
                    <a:gd name="T0" fmla="*/ 0 w 18"/>
                    <a:gd name="T1" fmla="*/ 0 h 26"/>
                    <a:gd name="T2" fmla="*/ 0 w 18"/>
                    <a:gd name="T3" fmla="*/ 0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0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" y="26"/>
                      </a:lnTo>
                      <a:lnTo>
                        <a:pt x="18" y="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9" name="Freeform 445"/>
                <p:cNvSpPr>
                  <a:spLocks/>
                </p:cNvSpPr>
                <p:nvPr/>
              </p:nvSpPr>
              <p:spPr bwMode="auto">
                <a:xfrm>
                  <a:off x="6098584" y="2800382"/>
                  <a:ext cx="19283" cy="27842"/>
                </a:xfrm>
                <a:custGeom>
                  <a:avLst/>
                  <a:gdLst>
                    <a:gd name="T0" fmla="*/ 0 w 18"/>
                    <a:gd name="T1" fmla="*/ 0 h 26"/>
                    <a:gd name="T2" fmla="*/ 0 w 18"/>
                    <a:gd name="T3" fmla="*/ 0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0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" y="26"/>
                      </a:lnTo>
                      <a:lnTo>
                        <a:pt x="18" y="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0" name="Freeform 446"/>
                <p:cNvSpPr>
                  <a:spLocks/>
                </p:cNvSpPr>
                <p:nvPr/>
              </p:nvSpPr>
              <p:spPr bwMode="auto">
                <a:xfrm>
                  <a:off x="6304271" y="2632256"/>
                  <a:ext cx="159622" cy="140284"/>
                </a:xfrm>
                <a:custGeom>
                  <a:avLst/>
                  <a:gdLst>
                    <a:gd name="T0" fmla="*/ 2147483647 w 149"/>
                    <a:gd name="T1" fmla="*/ 0 h 131"/>
                    <a:gd name="T2" fmla="*/ 2147483647 w 149"/>
                    <a:gd name="T3" fmla="*/ 2147483647 h 131"/>
                    <a:gd name="T4" fmla="*/ 2147483647 w 149"/>
                    <a:gd name="T5" fmla="*/ 2147483647 h 131"/>
                    <a:gd name="T6" fmla="*/ 2147483647 w 149"/>
                    <a:gd name="T7" fmla="*/ 2147483647 h 131"/>
                    <a:gd name="T8" fmla="*/ 2147483647 w 149"/>
                    <a:gd name="T9" fmla="*/ 2147483647 h 131"/>
                    <a:gd name="T10" fmla="*/ 2147483647 w 149"/>
                    <a:gd name="T11" fmla="*/ 2147483647 h 131"/>
                    <a:gd name="T12" fmla="*/ 2147483647 w 149"/>
                    <a:gd name="T13" fmla="*/ 2147483647 h 131"/>
                    <a:gd name="T14" fmla="*/ 2147483647 w 149"/>
                    <a:gd name="T15" fmla="*/ 2147483647 h 131"/>
                    <a:gd name="T16" fmla="*/ 2147483647 w 149"/>
                    <a:gd name="T17" fmla="*/ 2147483647 h 131"/>
                    <a:gd name="T18" fmla="*/ 0 w 149"/>
                    <a:gd name="T19" fmla="*/ 2147483647 h 131"/>
                    <a:gd name="T20" fmla="*/ 2147483647 w 149"/>
                    <a:gd name="T21" fmla="*/ 2147483647 h 131"/>
                    <a:gd name="T22" fmla="*/ 2147483647 w 149"/>
                    <a:gd name="T23" fmla="*/ 2147483647 h 131"/>
                    <a:gd name="T24" fmla="*/ 2147483647 w 149"/>
                    <a:gd name="T25" fmla="*/ 2147483647 h 131"/>
                    <a:gd name="T26" fmla="*/ 2147483647 w 149"/>
                    <a:gd name="T27" fmla="*/ 2147483647 h 131"/>
                    <a:gd name="T28" fmla="*/ 2147483647 w 149"/>
                    <a:gd name="T29" fmla="*/ 2147483647 h 131"/>
                    <a:gd name="T30" fmla="*/ 2147483647 w 149"/>
                    <a:gd name="T31" fmla="*/ 2147483647 h 131"/>
                    <a:gd name="T32" fmla="*/ 2147483647 w 149"/>
                    <a:gd name="T33" fmla="*/ 2147483647 h 131"/>
                    <a:gd name="T34" fmla="*/ 2147483647 w 149"/>
                    <a:gd name="T35" fmla="*/ 2147483647 h 131"/>
                    <a:gd name="T36" fmla="*/ 2147483647 w 149"/>
                    <a:gd name="T37" fmla="*/ 2147483647 h 131"/>
                    <a:gd name="T38" fmla="*/ 2147483647 w 149"/>
                    <a:gd name="T39" fmla="*/ 0 h 13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9"/>
                    <a:gd name="T61" fmla="*/ 0 h 131"/>
                    <a:gd name="T62" fmla="*/ 149 w 149"/>
                    <a:gd name="T63" fmla="*/ 131 h 13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9" h="131">
                      <a:moveTo>
                        <a:pt x="122" y="0"/>
                      </a:moveTo>
                      <a:lnTo>
                        <a:pt x="87" y="44"/>
                      </a:lnTo>
                      <a:lnTo>
                        <a:pt x="96" y="61"/>
                      </a:lnTo>
                      <a:lnTo>
                        <a:pt x="79" y="70"/>
                      </a:lnTo>
                      <a:lnTo>
                        <a:pt x="61" y="52"/>
                      </a:lnTo>
                      <a:lnTo>
                        <a:pt x="61" y="70"/>
                      </a:lnTo>
                      <a:lnTo>
                        <a:pt x="26" y="87"/>
                      </a:lnTo>
                      <a:lnTo>
                        <a:pt x="18" y="96"/>
                      </a:lnTo>
                      <a:lnTo>
                        <a:pt x="18" y="105"/>
                      </a:lnTo>
                      <a:lnTo>
                        <a:pt x="0" y="105"/>
                      </a:lnTo>
                      <a:lnTo>
                        <a:pt x="9" y="131"/>
                      </a:lnTo>
                      <a:lnTo>
                        <a:pt x="35" y="122"/>
                      </a:lnTo>
                      <a:lnTo>
                        <a:pt x="53" y="113"/>
                      </a:lnTo>
                      <a:lnTo>
                        <a:pt x="70" y="122"/>
                      </a:lnTo>
                      <a:lnTo>
                        <a:pt x="87" y="105"/>
                      </a:lnTo>
                      <a:lnTo>
                        <a:pt x="105" y="79"/>
                      </a:lnTo>
                      <a:lnTo>
                        <a:pt x="122" y="61"/>
                      </a:lnTo>
                      <a:lnTo>
                        <a:pt x="131" y="70"/>
                      </a:lnTo>
                      <a:lnTo>
                        <a:pt x="149" y="44"/>
                      </a:lnTo>
                      <a:lnTo>
                        <a:pt x="12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1" name="Freeform 447"/>
                <p:cNvSpPr>
                  <a:spLocks/>
                </p:cNvSpPr>
                <p:nvPr/>
              </p:nvSpPr>
              <p:spPr bwMode="auto">
                <a:xfrm>
                  <a:off x="6304271" y="2632256"/>
                  <a:ext cx="159622" cy="140284"/>
                </a:xfrm>
                <a:custGeom>
                  <a:avLst/>
                  <a:gdLst>
                    <a:gd name="T0" fmla="*/ 2147483647 w 149"/>
                    <a:gd name="T1" fmla="*/ 0 h 131"/>
                    <a:gd name="T2" fmla="*/ 2147483647 w 149"/>
                    <a:gd name="T3" fmla="*/ 2147483647 h 131"/>
                    <a:gd name="T4" fmla="*/ 2147483647 w 149"/>
                    <a:gd name="T5" fmla="*/ 2147483647 h 131"/>
                    <a:gd name="T6" fmla="*/ 2147483647 w 149"/>
                    <a:gd name="T7" fmla="*/ 2147483647 h 131"/>
                    <a:gd name="T8" fmla="*/ 2147483647 w 149"/>
                    <a:gd name="T9" fmla="*/ 2147483647 h 131"/>
                    <a:gd name="T10" fmla="*/ 2147483647 w 149"/>
                    <a:gd name="T11" fmla="*/ 2147483647 h 131"/>
                    <a:gd name="T12" fmla="*/ 2147483647 w 149"/>
                    <a:gd name="T13" fmla="*/ 2147483647 h 131"/>
                    <a:gd name="T14" fmla="*/ 2147483647 w 149"/>
                    <a:gd name="T15" fmla="*/ 2147483647 h 131"/>
                    <a:gd name="T16" fmla="*/ 2147483647 w 149"/>
                    <a:gd name="T17" fmla="*/ 2147483647 h 131"/>
                    <a:gd name="T18" fmla="*/ 0 w 149"/>
                    <a:gd name="T19" fmla="*/ 2147483647 h 131"/>
                    <a:gd name="T20" fmla="*/ 2147483647 w 149"/>
                    <a:gd name="T21" fmla="*/ 2147483647 h 131"/>
                    <a:gd name="T22" fmla="*/ 2147483647 w 149"/>
                    <a:gd name="T23" fmla="*/ 2147483647 h 131"/>
                    <a:gd name="T24" fmla="*/ 2147483647 w 149"/>
                    <a:gd name="T25" fmla="*/ 2147483647 h 131"/>
                    <a:gd name="T26" fmla="*/ 2147483647 w 149"/>
                    <a:gd name="T27" fmla="*/ 2147483647 h 131"/>
                    <a:gd name="T28" fmla="*/ 2147483647 w 149"/>
                    <a:gd name="T29" fmla="*/ 2147483647 h 131"/>
                    <a:gd name="T30" fmla="*/ 2147483647 w 149"/>
                    <a:gd name="T31" fmla="*/ 2147483647 h 131"/>
                    <a:gd name="T32" fmla="*/ 2147483647 w 149"/>
                    <a:gd name="T33" fmla="*/ 2147483647 h 131"/>
                    <a:gd name="T34" fmla="*/ 2147483647 w 149"/>
                    <a:gd name="T35" fmla="*/ 2147483647 h 131"/>
                    <a:gd name="T36" fmla="*/ 2147483647 w 149"/>
                    <a:gd name="T37" fmla="*/ 2147483647 h 131"/>
                    <a:gd name="T38" fmla="*/ 2147483647 w 149"/>
                    <a:gd name="T39" fmla="*/ 0 h 13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9"/>
                    <a:gd name="T61" fmla="*/ 0 h 131"/>
                    <a:gd name="T62" fmla="*/ 149 w 149"/>
                    <a:gd name="T63" fmla="*/ 131 h 13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9" h="131">
                      <a:moveTo>
                        <a:pt x="122" y="0"/>
                      </a:moveTo>
                      <a:lnTo>
                        <a:pt x="87" y="44"/>
                      </a:lnTo>
                      <a:lnTo>
                        <a:pt x="96" y="61"/>
                      </a:lnTo>
                      <a:lnTo>
                        <a:pt x="79" y="70"/>
                      </a:lnTo>
                      <a:lnTo>
                        <a:pt x="61" y="52"/>
                      </a:lnTo>
                      <a:lnTo>
                        <a:pt x="61" y="70"/>
                      </a:lnTo>
                      <a:lnTo>
                        <a:pt x="26" y="87"/>
                      </a:lnTo>
                      <a:lnTo>
                        <a:pt x="18" y="96"/>
                      </a:lnTo>
                      <a:lnTo>
                        <a:pt x="18" y="105"/>
                      </a:lnTo>
                      <a:lnTo>
                        <a:pt x="0" y="105"/>
                      </a:lnTo>
                      <a:lnTo>
                        <a:pt x="9" y="131"/>
                      </a:lnTo>
                      <a:lnTo>
                        <a:pt x="35" y="122"/>
                      </a:lnTo>
                      <a:lnTo>
                        <a:pt x="53" y="113"/>
                      </a:lnTo>
                      <a:lnTo>
                        <a:pt x="70" y="122"/>
                      </a:lnTo>
                      <a:lnTo>
                        <a:pt x="87" y="105"/>
                      </a:lnTo>
                      <a:lnTo>
                        <a:pt x="105" y="79"/>
                      </a:lnTo>
                      <a:lnTo>
                        <a:pt x="122" y="61"/>
                      </a:lnTo>
                      <a:lnTo>
                        <a:pt x="131" y="70"/>
                      </a:lnTo>
                      <a:lnTo>
                        <a:pt x="149" y="44"/>
                      </a:lnTo>
                      <a:lnTo>
                        <a:pt x="12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2" name="Freeform 448"/>
                <p:cNvSpPr>
                  <a:spLocks/>
                </p:cNvSpPr>
                <p:nvPr/>
              </p:nvSpPr>
              <p:spPr bwMode="auto">
                <a:xfrm>
                  <a:off x="6463893" y="2418083"/>
                  <a:ext cx="83560" cy="121008"/>
                </a:xfrm>
                <a:custGeom>
                  <a:avLst/>
                  <a:gdLst>
                    <a:gd name="T0" fmla="*/ 2147483647 w 78"/>
                    <a:gd name="T1" fmla="*/ 0 h 113"/>
                    <a:gd name="T2" fmla="*/ 0 w 78"/>
                    <a:gd name="T3" fmla="*/ 0 h 113"/>
                    <a:gd name="T4" fmla="*/ 2147483647 w 78"/>
                    <a:gd name="T5" fmla="*/ 2147483647 h 113"/>
                    <a:gd name="T6" fmla="*/ 0 w 78"/>
                    <a:gd name="T7" fmla="*/ 2147483647 h 113"/>
                    <a:gd name="T8" fmla="*/ 0 w 78"/>
                    <a:gd name="T9" fmla="*/ 2147483647 h 113"/>
                    <a:gd name="T10" fmla="*/ 2147483647 w 78"/>
                    <a:gd name="T11" fmla="*/ 2147483647 h 113"/>
                    <a:gd name="T12" fmla="*/ 2147483647 w 78"/>
                    <a:gd name="T13" fmla="*/ 2147483647 h 113"/>
                    <a:gd name="T14" fmla="*/ 2147483647 w 78"/>
                    <a:gd name="T15" fmla="*/ 2147483647 h 113"/>
                    <a:gd name="T16" fmla="*/ 2147483647 w 78"/>
                    <a:gd name="T17" fmla="*/ 2147483647 h 113"/>
                    <a:gd name="T18" fmla="*/ 2147483647 w 78"/>
                    <a:gd name="T19" fmla="*/ 2147483647 h 113"/>
                    <a:gd name="T20" fmla="*/ 2147483647 w 78"/>
                    <a:gd name="T21" fmla="*/ 2147483647 h 113"/>
                    <a:gd name="T22" fmla="*/ 2147483647 w 78"/>
                    <a:gd name="T23" fmla="*/ 2147483647 h 113"/>
                    <a:gd name="T24" fmla="*/ 2147483647 w 78"/>
                    <a:gd name="T25" fmla="*/ 2147483647 h 113"/>
                    <a:gd name="T26" fmla="*/ 2147483647 w 78"/>
                    <a:gd name="T27" fmla="*/ 2147483647 h 113"/>
                    <a:gd name="T28" fmla="*/ 2147483647 w 78"/>
                    <a:gd name="T29" fmla="*/ 2147483647 h 113"/>
                    <a:gd name="T30" fmla="*/ 2147483647 w 78"/>
                    <a:gd name="T31" fmla="*/ 2147483647 h 113"/>
                    <a:gd name="T32" fmla="*/ 2147483647 w 78"/>
                    <a:gd name="T33" fmla="*/ 2147483647 h 113"/>
                    <a:gd name="T34" fmla="*/ 2147483647 w 78"/>
                    <a:gd name="T35" fmla="*/ 2147483647 h 113"/>
                    <a:gd name="T36" fmla="*/ 2147483647 w 78"/>
                    <a:gd name="T37" fmla="*/ 2147483647 h 113"/>
                    <a:gd name="T38" fmla="*/ 2147483647 w 78"/>
                    <a:gd name="T39" fmla="*/ 2147483647 h 113"/>
                    <a:gd name="T40" fmla="*/ 2147483647 w 78"/>
                    <a:gd name="T41" fmla="*/ 2147483647 h 113"/>
                    <a:gd name="T42" fmla="*/ 2147483647 w 78"/>
                    <a:gd name="T43" fmla="*/ 2147483647 h 113"/>
                    <a:gd name="T44" fmla="*/ 2147483647 w 78"/>
                    <a:gd name="T45" fmla="*/ 2147483647 h 113"/>
                    <a:gd name="T46" fmla="*/ 2147483647 w 78"/>
                    <a:gd name="T47" fmla="*/ 2147483647 h 113"/>
                    <a:gd name="T48" fmla="*/ 2147483647 w 78"/>
                    <a:gd name="T49" fmla="*/ 2147483647 h 113"/>
                    <a:gd name="T50" fmla="*/ 2147483647 w 78"/>
                    <a:gd name="T51" fmla="*/ 0 h 113"/>
                    <a:gd name="T52" fmla="*/ 2147483647 w 78"/>
                    <a:gd name="T53" fmla="*/ 2147483647 h 113"/>
                    <a:gd name="T54" fmla="*/ 2147483647 w 78"/>
                    <a:gd name="T55" fmla="*/ 0 h 11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78"/>
                    <a:gd name="T85" fmla="*/ 0 h 113"/>
                    <a:gd name="T86" fmla="*/ 78 w 78"/>
                    <a:gd name="T87" fmla="*/ 113 h 11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78" h="113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8" y="35"/>
                      </a:lnTo>
                      <a:lnTo>
                        <a:pt x="0" y="43"/>
                      </a:lnTo>
                      <a:lnTo>
                        <a:pt x="0" y="61"/>
                      </a:lnTo>
                      <a:lnTo>
                        <a:pt x="17" y="78"/>
                      </a:lnTo>
                      <a:lnTo>
                        <a:pt x="8" y="78"/>
                      </a:lnTo>
                      <a:lnTo>
                        <a:pt x="26" y="87"/>
                      </a:lnTo>
                      <a:lnTo>
                        <a:pt x="34" y="87"/>
                      </a:lnTo>
                      <a:lnTo>
                        <a:pt x="34" y="104"/>
                      </a:lnTo>
                      <a:lnTo>
                        <a:pt x="52" y="104"/>
                      </a:lnTo>
                      <a:lnTo>
                        <a:pt x="61" y="104"/>
                      </a:lnTo>
                      <a:lnTo>
                        <a:pt x="69" y="104"/>
                      </a:lnTo>
                      <a:lnTo>
                        <a:pt x="78" y="113"/>
                      </a:lnTo>
                      <a:lnTo>
                        <a:pt x="78" y="104"/>
                      </a:lnTo>
                      <a:lnTo>
                        <a:pt x="61" y="96"/>
                      </a:lnTo>
                      <a:lnTo>
                        <a:pt x="61" y="87"/>
                      </a:lnTo>
                      <a:lnTo>
                        <a:pt x="52" y="78"/>
                      </a:lnTo>
                      <a:lnTo>
                        <a:pt x="34" y="78"/>
                      </a:lnTo>
                      <a:lnTo>
                        <a:pt x="34" y="69"/>
                      </a:lnTo>
                      <a:lnTo>
                        <a:pt x="26" y="69"/>
                      </a:lnTo>
                      <a:lnTo>
                        <a:pt x="26" y="43"/>
                      </a:lnTo>
                      <a:lnTo>
                        <a:pt x="34" y="35"/>
                      </a:lnTo>
                      <a:lnTo>
                        <a:pt x="26" y="0"/>
                      </a:lnTo>
                      <a:lnTo>
                        <a:pt x="17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3" name="Freeform 449"/>
                <p:cNvSpPr>
                  <a:spLocks/>
                </p:cNvSpPr>
                <p:nvPr/>
              </p:nvSpPr>
              <p:spPr bwMode="auto">
                <a:xfrm>
                  <a:off x="6463893" y="2418083"/>
                  <a:ext cx="83560" cy="121008"/>
                </a:xfrm>
                <a:custGeom>
                  <a:avLst/>
                  <a:gdLst>
                    <a:gd name="T0" fmla="*/ 2147483647 w 78"/>
                    <a:gd name="T1" fmla="*/ 0 h 113"/>
                    <a:gd name="T2" fmla="*/ 0 w 78"/>
                    <a:gd name="T3" fmla="*/ 0 h 113"/>
                    <a:gd name="T4" fmla="*/ 2147483647 w 78"/>
                    <a:gd name="T5" fmla="*/ 2147483647 h 113"/>
                    <a:gd name="T6" fmla="*/ 0 w 78"/>
                    <a:gd name="T7" fmla="*/ 2147483647 h 113"/>
                    <a:gd name="T8" fmla="*/ 0 w 78"/>
                    <a:gd name="T9" fmla="*/ 2147483647 h 113"/>
                    <a:gd name="T10" fmla="*/ 2147483647 w 78"/>
                    <a:gd name="T11" fmla="*/ 2147483647 h 113"/>
                    <a:gd name="T12" fmla="*/ 2147483647 w 78"/>
                    <a:gd name="T13" fmla="*/ 2147483647 h 113"/>
                    <a:gd name="T14" fmla="*/ 2147483647 w 78"/>
                    <a:gd name="T15" fmla="*/ 2147483647 h 113"/>
                    <a:gd name="T16" fmla="*/ 2147483647 w 78"/>
                    <a:gd name="T17" fmla="*/ 2147483647 h 113"/>
                    <a:gd name="T18" fmla="*/ 2147483647 w 78"/>
                    <a:gd name="T19" fmla="*/ 2147483647 h 113"/>
                    <a:gd name="T20" fmla="*/ 2147483647 w 78"/>
                    <a:gd name="T21" fmla="*/ 2147483647 h 113"/>
                    <a:gd name="T22" fmla="*/ 2147483647 w 78"/>
                    <a:gd name="T23" fmla="*/ 2147483647 h 113"/>
                    <a:gd name="T24" fmla="*/ 2147483647 w 78"/>
                    <a:gd name="T25" fmla="*/ 2147483647 h 113"/>
                    <a:gd name="T26" fmla="*/ 2147483647 w 78"/>
                    <a:gd name="T27" fmla="*/ 2147483647 h 113"/>
                    <a:gd name="T28" fmla="*/ 2147483647 w 78"/>
                    <a:gd name="T29" fmla="*/ 2147483647 h 113"/>
                    <a:gd name="T30" fmla="*/ 2147483647 w 78"/>
                    <a:gd name="T31" fmla="*/ 2147483647 h 113"/>
                    <a:gd name="T32" fmla="*/ 2147483647 w 78"/>
                    <a:gd name="T33" fmla="*/ 2147483647 h 113"/>
                    <a:gd name="T34" fmla="*/ 2147483647 w 78"/>
                    <a:gd name="T35" fmla="*/ 2147483647 h 113"/>
                    <a:gd name="T36" fmla="*/ 2147483647 w 78"/>
                    <a:gd name="T37" fmla="*/ 2147483647 h 113"/>
                    <a:gd name="T38" fmla="*/ 2147483647 w 78"/>
                    <a:gd name="T39" fmla="*/ 2147483647 h 113"/>
                    <a:gd name="T40" fmla="*/ 2147483647 w 78"/>
                    <a:gd name="T41" fmla="*/ 2147483647 h 113"/>
                    <a:gd name="T42" fmla="*/ 2147483647 w 78"/>
                    <a:gd name="T43" fmla="*/ 2147483647 h 113"/>
                    <a:gd name="T44" fmla="*/ 2147483647 w 78"/>
                    <a:gd name="T45" fmla="*/ 2147483647 h 113"/>
                    <a:gd name="T46" fmla="*/ 2147483647 w 78"/>
                    <a:gd name="T47" fmla="*/ 2147483647 h 113"/>
                    <a:gd name="T48" fmla="*/ 2147483647 w 78"/>
                    <a:gd name="T49" fmla="*/ 2147483647 h 113"/>
                    <a:gd name="T50" fmla="*/ 2147483647 w 78"/>
                    <a:gd name="T51" fmla="*/ 0 h 113"/>
                    <a:gd name="T52" fmla="*/ 2147483647 w 78"/>
                    <a:gd name="T53" fmla="*/ 2147483647 h 113"/>
                    <a:gd name="T54" fmla="*/ 2147483647 w 78"/>
                    <a:gd name="T55" fmla="*/ 0 h 11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78"/>
                    <a:gd name="T85" fmla="*/ 0 h 113"/>
                    <a:gd name="T86" fmla="*/ 78 w 78"/>
                    <a:gd name="T87" fmla="*/ 113 h 11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78" h="113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8" y="35"/>
                      </a:lnTo>
                      <a:lnTo>
                        <a:pt x="0" y="43"/>
                      </a:lnTo>
                      <a:lnTo>
                        <a:pt x="0" y="61"/>
                      </a:lnTo>
                      <a:lnTo>
                        <a:pt x="17" y="78"/>
                      </a:lnTo>
                      <a:lnTo>
                        <a:pt x="8" y="78"/>
                      </a:lnTo>
                      <a:lnTo>
                        <a:pt x="26" y="87"/>
                      </a:lnTo>
                      <a:lnTo>
                        <a:pt x="34" y="87"/>
                      </a:lnTo>
                      <a:lnTo>
                        <a:pt x="34" y="104"/>
                      </a:lnTo>
                      <a:lnTo>
                        <a:pt x="52" y="104"/>
                      </a:lnTo>
                      <a:lnTo>
                        <a:pt x="61" y="104"/>
                      </a:lnTo>
                      <a:lnTo>
                        <a:pt x="69" y="104"/>
                      </a:lnTo>
                      <a:lnTo>
                        <a:pt x="78" y="113"/>
                      </a:lnTo>
                      <a:lnTo>
                        <a:pt x="78" y="104"/>
                      </a:lnTo>
                      <a:lnTo>
                        <a:pt x="61" y="96"/>
                      </a:lnTo>
                      <a:lnTo>
                        <a:pt x="61" y="87"/>
                      </a:lnTo>
                      <a:lnTo>
                        <a:pt x="52" y="78"/>
                      </a:lnTo>
                      <a:lnTo>
                        <a:pt x="34" y="78"/>
                      </a:lnTo>
                      <a:lnTo>
                        <a:pt x="34" y="69"/>
                      </a:lnTo>
                      <a:lnTo>
                        <a:pt x="26" y="69"/>
                      </a:lnTo>
                      <a:lnTo>
                        <a:pt x="26" y="43"/>
                      </a:lnTo>
                      <a:lnTo>
                        <a:pt x="34" y="35"/>
                      </a:lnTo>
                      <a:lnTo>
                        <a:pt x="26" y="0"/>
                      </a:lnTo>
                      <a:lnTo>
                        <a:pt x="17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4" name="Freeform 450"/>
                <p:cNvSpPr>
                  <a:spLocks/>
                </p:cNvSpPr>
                <p:nvPr/>
              </p:nvSpPr>
              <p:spPr bwMode="auto">
                <a:xfrm>
                  <a:off x="6434968" y="2557296"/>
                  <a:ext cx="37495" cy="65323"/>
                </a:xfrm>
                <a:custGeom>
                  <a:avLst/>
                  <a:gdLst>
                    <a:gd name="T0" fmla="*/ 2147483647 w 35"/>
                    <a:gd name="T1" fmla="*/ 2147483647 h 61"/>
                    <a:gd name="T2" fmla="*/ 2147483647 w 35"/>
                    <a:gd name="T3" fmla="*/ 0 h 61"/>
                    <a:gd name="T4" fmla="*/ 2147483647 w 35"/>
                    <a:gd name="T5" fmla="*/ 2147483647 h 61"/>
                    <a:gd name="T6" fmla="*/ 0 w 35"/>
                    <a:gd name="T7" fmla="*/ 2147483647 h 61"/>
                    <a:gd name="T8" fmla="*/ 0 w 35"/>
                    <a:gd name="T9" fmla="*/ 2147483647 h 61"/>
                    <a:gd name="T10" fmla="*/ 2147483647 w 35"/>
                    <a:gd name="T11" fmla="*/ 2147483647 h 61"/>
                    <a:gd name="T12" fmla="*/ 2147483647 w 35"/>
                    <a:gd name="T13" fmla="*/ 2147483647 h 6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5"/>
                    <a:gd name="T22" fmla="*/ 0 h 61"/>
                    <a:gd name="T23" fmla="*/ 35 w 35"/>
                    <a:gd name="T24" fmla="*/ 61 h 6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5" h="61">
                      <a:moveTo>
                        <a:pt x="35" y="9"/>
                      </a:moveTo>
                      <a:lnTo>
                        <a:pt x="27" y="0"/>
                      </a:lnTo>
                      <a:lnTo>
                        <a:pt x="9" y="35"/>
                      </a:lnTo>
                      <a:lnTo>
                        <a:pt x="0" y="44"/>
                      </a:lnTo>
                      <a:lnTo>
                        <a:pt x="0" y="61"/>
                      </a:lnTo>
                      <a:lnTo>
                        <a:pt x="9" y="53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5" name="Freeform 451"/>
                <p:cNvSpPr>
                  <a:spLocks/>
                </p:cNvSpPr>
                <p:nvPr/>
              </p:nvSpPr>
              <p:spPr bwMode="auto">
                <a:xfrm>
                  <a:off x="6434968" y="2557296"/>
                  <a:ext cx="37495" cy="65323"/>
                </a:xfrm>
                <a:custGeom>
                  <a:avLst/>
                  <a:gdLst>
                    <a:gd name="T0" fmla="*/ 2147483647 w 35"/>
                    <a:gd name="T1" fmla="*/ 2147483647 h 61"/>
                    <a:gd name="T2" fmla="*/ 2147483647 w 35"/>
                    <a:gd name="T3" fmla="*/ 0 h 61"/>
                    <a:gd name="T4" fmla="*/ 2147483647 w 35"/>
                    <a:gd name="T5" fmla="*/ 2147483647 h 61"/>
                    <a:gd name="T6" fmla="*/ 0 w 35"/>
                    <a:gd name="T7" fmla="*/ 2147483647 h 61"/>
                    <a:gd name="T8" fmla="*/ 0 w 35"/>
                    <a:gd name="T9" fmla="*/ 2147483647 h 61"/>
                    <a:gd name="T10" fmla="*/ 2147483647 w 35"/>
                    <a:gd name="T11" fmla="*/ 2147483647 h 61"/>
                    <a:gd name="T12" fmla="*/ 2147483647 w 35"/>
                    <a:gd name="T13" fmla="*/ 2147483647 h 6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5"/>
                    <a:gd name="T22" fmla="*/ 0 h 61"/>
                    <a:gd name="T23" fmla="*/ 35 w 35"/>
                    <a:gd name="T24" fmla="*/ 61 h 6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5" h="61">
                      <a:moveTo>
                        <a:pt x="35" y="9"/>
                      </a:moveTo>
                      <a:lnTo>
                        <a:pt x="27" y="0"/>
                      </a:lnTo>
                      <a:lnTo>
                        <a:pt x="9" y="35"/>
                      </a:lnTo>
                      <a:lnTo>
                        <a:pt x="0" y="44"/>
                      </a:lnTo>
                      <a:lnTo>
                        <a:pt x="0" y="61"/>
                      </a:lnTo>
                      <a:lnTo>
                        <a:pt x="9" y="53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6" name="Freeform 452"/>
                <p:cNvSpPr>
                  <a:spLocks/>
                </p:cNvSpPr>
                <p:nvPr/>
              </p:nvSpPr>
              <p:spPr bwMode="auto">
                <a:xfrm>
                  <a:off x="6472463" y="2520886"/>
                  <a:ext cx="27853" cy="27842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0 w 26"/>
                    <a:gd name="T3" fmla="*/ 0 h 26"/>
                    <a:gd name="T4" fmla="*/ 2147483647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26"/>
                      </a:lnTo>
                      <a:lnTo>
                        <a:pt x="26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7" name="Freeform 453"/>
                <p:cNvSpPr>
                  <a:spLocks/>
                </p:cNvSpPr>
                <p:nvPr/>
              </p:nvSpPr>
              <p:spPr bwMode="auto">
                <a:xfrm>
                  <a:off x="6472463" y="2520886"/>
                  <a:ext cx="27853" cy="27842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0 w 26"/>
                    <a:gd name="T3" fmla="*/ 0 h 26"/>
                    <a:gd name="T4" fmla="*/ 2147483647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26"/>
                      </a:lnTo>
                      <a:lnTo>
                        <a:pt x="26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8" name="Freeform 454"/>
                <p:cNvSpPr>
                  <a:spLocks/>
                </p:cNvSpPr>
                <p:nvPr/>
              </p:nvSpPr>
              <p:spPr bwMode="auto">
                <a:xfrm>
                  <a:off x="6519600" y="2566933"/>
                  <a:ext cx="18212" cy="37481"/>
                </a:xfrm>
                <a:custGeom>
                  <a:avLst/>
                  <a:gdLst>
                    <a:gd name="T0" fmla="*/ 2147483647 w 17"/>
                    <a:gd name="T1" fmla="*/ 2147483647 h 35"/>
                    <a:gd name="T2" fmla="*/ 2147483647 w 17"/>
                    <a:gd name="T3" fmla="*/ 0 h 35"/>
                    <a:gd name="T4" fmla="*/ 0 w 17"/>
                    <a:gd name="T5" fmla="*/ 2147483647 h 35"/>
                    <a:gd name="T6" fmla="*/ 2147483647 w 17"/>
                    <a:gd name="T7" fmla="*/ 2147483647 h 35"/>
                    <a:gd name="T8" fmla="*/ 2147483647 w 17"/>
                    <a:gd name="T9" fmla="*/ 2147483647 h 35"/>
                    <a:gd name="T10" fmla="*/ 2147483647 w 1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35"/>
                    <a:gd name="T20" fmla="*/ 17 w 1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35">
                      <a:moveTo>
                        <a:pt x="17" y="9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9" y="26"/>
                      </a:lnTo>
                      <a:lnTo>
                        <a:pt x="1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9" name="Freeform 455"/>
                <p:cNvSpPr>
                  <a:spLocks/>
                </p:cNvSpPr>
                <p:nvPr/>
              </p:nvSpPr>
              <p:spPr bwMode="auto">
                <a:xfrm>
                  <a:off x="6519600" y="2566933"/>
                  <a:ext cx="18212" cy="37481"/>
                </a:xfrm>
                <a:custGeom>
                  <a:avLst/>
                  <a:gdLst>
                    <a:gd name="T0" fmla="*/ 2147483647 w 17"/>
                    <a:gd name="T1" fmla="*/ 2147483647 h 35"/>
                    <a:gd name="T2" fmla="*/ 2147483647 w 17"/>
                    <a:gd name="T3" fmla="*/ 0 h 35"/>
                    <a:gd name="T4" fmla="*/ 0 w 17"/>
                    <a:gd name="T5" fmla="*/ 2147483647 h 35"/>
                    <a:gd name="T6" fmla="*/ 2147483647 w 17"/>
                    <a:gd name="T7" fmla="*/ 2147483647 h 35"/>
                    <a:gd name="T8" fmla="*/ 2147483647 w 17"/>
                    <a:gd name="T9" fmla="*/ 2147483647 h 35"/>
                    <a:gd name="T10" fmla="*/ 2147483647 w 1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35"/>
                    <a:gd name="T20" fmla="*/ 17 w 1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35">
                      <a:moveTo>
                        <a:pt x="17" y="9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9" y="26"/>
                      </a:lnTo>
                      <a:lnTo>
                        <a:pt x="1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0" name="Freeform 456"/>
                <p:cNvSpPr>
                  <a:spLocks/>
                </p:cNvSpPr>
                <p:nvPr/>
              </p:nvSpPr>
              <p:spPr bwMode="auto">
                <a:xfrm>
                  <a:off x="6500316" y="2557296"/>
                  <a:ext cx="28925" cy="19276"/>
                </a:xfrm>
                <a:custGeom>
                  <a:avLst/>
                  <a:gdLst>
                    <a:gd name="T0" fmla="*/ 2147483647 w 27"/>
                    <a:gd name="T1" fmla="*/ 2147483647 h 18"/>
                    <a:gd name="T2" fmla="*/ 2147483647 w 27"/>
                    <a:gd name="T3" fmla="*/ 2147483647 h 18"/>
                    <a:gd name="T4" fmla="*/ 2147483647 w 27"/>
                    <a:gd name="T5" fmla="*/ 0 h 18"/>
                    <a:gd name="T6" fmla="*/ 2147483647 w 27"/>
                    <a:gd name="T7" fmla="*/ 0 h 18"/>
                    <a:gd name="T8" fmla="*/ 0 w 27"/>
                    <a:gd name="T9" fmla="*/ 0 h 18"/>
                    <a:gd name="T10" fmla="*/ 2147483647 w 27"/>
                    <a:gd name="T11" fmla="*/ 2147483647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18"/>
                    <a:gd name="T20" fmla="*/ 27 w 27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18">
                      <a:moveTo>
                        <a:pt x="9" y="18"/>
                      </a:moveTo>
                      <a:lnTo>
                        <a:pt x="18" y="18"/>
                      </a:lnTo>
                      <a:lnTo>
                        <a:pt x="27" y="0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1" name="Freeform 457"/>
                <p:cNvSpPr>
                  <a:spLocks/>
                </p:cNvSpPr>
                <p:nvPr/>
              </p:nvSpPr>
              <p:spPr bwMode="auto">
                <a:xfrm>
                  <a:off x="6500316" y="2557296"/>
                  <a:ext cx="28925" cy="19276"/>
                </a:xfrm>
                <a:custGeom>
                  <a:avLst/>
                  <a:gdLst>
                    <a:gd name="T0" fmla="*/ 2147483647 w 27"/>
                    <a:gd name="T1" fmla="*/ 2147483647 h 18"/>
                    <a:gd name="T2" fmla="*/ 2147483647 w 27"/>
                    <a:gd name="T3" fmla="*/ 2147483647 h 18"/>
                    <a:gd name="T4" fmla="*/ 2147483647 w 27"/>
                    <a:gd name="T5" fmla="*/ 0 h 18"/>
                    <a:gd name="T6" fmla="*/ 2147483647 w 27"/>
                    <a:gd name="T7" fmla="*/ 0 h 18"/>
                    <a:gd name="T8" fmla="*/ 0 w 27"/>
                    <a:gd name="T9" fmla="*/ 0 h 18"/>
                    <a:gd name="T10" fmla="*/ 2147483647 w 27"/>
                    <a:gd name="T11" fmla="*/ 2147483647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18"/>
                    <a:gd name="T20" fmla="*/ 27 w 27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18">
                      <a:moveTo>
                        <a:pt x="9" y="18"/>
                      </a:moveTo>
                      <a:lnTo>
                        <a:pt x="18" y="18"/>
                      </a:lnTo>
                      <a:lnTo>
                        <a:pt x="27" y="0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2" name="Freeform 458"/>
                <p:cNvSpPr>
                  <a:spLocks/>
                </p:cNvSpPr>
                <p:nvPr/>
              </p:nvSpPr>
              <p:spPr bwMode="auto">
                <a:xfrm>
                  <a:off x="6500316" y="2539091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2147483647 w 18"/>
                    <a:gd name="T3" fmla="*/ 0 h 17"/>
                    <a:gd name="T4" fmla="*/ 0 w 18"/>
                    <a:gd name="T5" fmla="*/ 0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17"/>
                      </a:moveTo>
                      <a:lnTo>
                        <a:pt x="18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3" name="Freeform 459"/>
                <p:cNvSpPr>
                  <a:spLocks/>
                </p:cNvSpPr>
                <p:nvPr/>
              </p:nvSpPr>
              <p:spPr bwMode="auto">
                <a:xfrm>
                  <a:off x="6500316" y="2539091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2147483647 w 18"/>
                    <a:gd name="T3" fmla="*/ 0 h 17"/>
                    <a:gd name="T4" fmla="*/ 0 w 18"/>
                    <a:gd name="T5" fmla="*/ 0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17"/>
                      </a:moveTo>
                      <a:lnTo>
                        <a:pt x="18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4" name="Freeform 460"/>
                <p:cNvSpPr>
                  <a:spLocks/>
                </p:cNvSpPr>
                <p:nvPr/>
              </p:nvSpPr>
              <p:spPr bwMode="auto">
                <a:xfrm>
                  <a:off x="6529241" y="2539091"/>
                  <a:ext cx="18212" cy="18205"/>
                </a:xfrm>
                <a:custGeom>
                  <a:avLst/>
                  <a:gdLst>
                    <a:gd name="T0" fmla="*/ 2147483647 w 17"/>
                    <a:gd name="T1" fmla="*/ 0 h 17"/>
                    <a:gd name="T2" fmla="*/ 0 w 17"/>
                    <a:gd name="T3" fmla="*/ 2147483647 h 17"/>
                    <a:gd name="T4" fmla="*/ 2147483647 w 17"/>
                    <a:gd name="T5" fmla="*/ 2147483647 h 17"/>
                    <a:gd name="T6" fmla="*/ 2147483647 w 1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17" y="17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5" name="Freeform 461"/>
                <p:cNvSpPr>
                  <a:spLocks/>
                </p:cNvSpPr>
                <p:nvPr/>
              </p:nvSpPr>
              <p:spPr bwMode="auto">
                <a:xfrm>
                  <a:off x="6529241" y="2539091"/>
                  <a:ext cx="18212" cy="18205"/>
                </a:xfrm>
                <a:custGeom>
                  <a:avLst/>
                  <a:gdLst>
                    <a:gd name="T0" fmla="*/ 2147483647 w 17"/>
                    <a:gd name="T1" fmla="*/ 0 h 17"/>
                    <a:gd name="T2" fmla="*/ 0 w 17"/>
                    <a:gd name="T3" fmla="*/ 2147483647 h 17"/>
                    <a:gd name="T4" fmla="*/ 2147483647 w 17"/>
                    <a:gd name="T5" fmla="*/ 2147483647 h 17"/>
                    <a:gd name="T6" fmla="*/ 2147483647 w 1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17" y="17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6" name="Freeform 462"/>
                <p:cNvSpPr>
                  <a:spLocks/>
                </p:cNvSpPr>
                <p:nvPr/>
              </p:nvSpPr>
              <p:spPr bwMode="auto">
                <a:xfrm>
                  <a:off x="6547453" y="2557296"/>
                  <a:ext cx="18212" cy="19276"/>
                </a:xfrm>
                <a:custGeom>
                  <a:avLst/>
                  <a:gdLst>
                    <a:gd name="T0" fmla="*/ 2147483647 w 17"/>
                    <a:gd name="T1" fmla="*/ 2147483647 h 18"/>
                    <a:gd name="T2" fmla="*/ 2147483647 w 17"/>
                    <a:gd name="T3" fmla="*/ 0 h 18"/>
                    <a:gd name="T4" fmla="*/ 0 w 17"/>
                    <a:gd name="T5" fmla="*/ 2147483647 h 18"/>
                    <a:gd name="T6" fmla="*/ 2147483647 w 17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7" name="Freeform 463"/>
                <p:cNvSpPr>
                  <a:spLocks/>
                </p:cNvSpPr>
                <p:nvPr/>
              </p:nvSpPr>
              <p:spPr bwMode="auto">
                <a:xfrm>
                  <a:off x="6547453" y="2557296"/>
                  <a:ext cx="18212" cy="19276"/>
                </a:xfrm>
                <a:custGeom>
                  <a:avLst/>
                  <a:gdLst>
                    <a:gd name="T0" fmla="*/ 2147483647 w 17"/>
                    <a:gd name="T1" fmla="*/ 2147483647 h 18"/>
                    <a:gd name="T2" fmla="*/ 2147483647 w 17"/>
                    <a:gd name="T3" fmla="*/ 0 h 18"/>
                    <a:gd name="T4" fmla="*/ 0 w 17"/>
                    <a:gd name="T5" fmla="*/ 2147483647 h 18"/>
                    <a:gd name="T6" fmla="*/ 2147483647 w 17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8" name="Freeform 464"/>
                <p:cNvSpPr>
                  <a:spLocks/>
                </p:cNvSpPr>
                <p:nvPr/>
              </p:nvSpPr>
              <p:spPr bwMode="auto">
                <a:xfrm>
                  <a:off x="6557094" y="2539091"/>
                  <a:ext cx="18212" cy="27842"/>
                </a:xfrm>
                <a:custGeom>
                  <a:avLst/>
                  <a:gdLst>
                    <a:gd name="T0" fmla="*/ 2147483647 w 17"/>
                    <a:gd name="T1" fmla="*/ 2147483647 h 26"/>
                    <a:gd name="T2" fmla="*/ 2147483647 w 17"/>
                    <a:gd name="T3" fmla="*/ 0 h 26"/>
                    <a:gd name="T4" fmla="*/ 0 w 17"/>
                    <a:gd name="T5" fmla="*/ 0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26"/>
                    <a:gd name="T20" fmla="*/ 17 w 1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26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9" name="Freeform 465"/>
                <p:cNvSpPr>
                  <a:spLocks/>
                </p:cNvSpPr>
                <p:nvPr/>
              </p:nvSpPr>
              <p:spPr bwMode="auto">
                <a:xfrm>
                  <a:off x="6557094" y="2539091"/>
                  <a:ext cx="18212" cy="27842"/>
                </a:xfrm>
                <a:custGeom>
                  <a:avLst/>
                  <a:gdLst>
                    <a:gd name="T0" fmla="*/ 2147483647 w 17"/>
                    <a:gd name="T1" fmla="*/ 2147483647 h 26"/>
                    <a:gd name="T2" fmla="*/ 2147483647 w 17"/>
                    <a:gd name="T3" fmla="*/ 0 h 26"/>
                    <a:gd name="T4" fmla="*/ 0 w 17"/>
                    <a:gd name="T5" fmla="*/ 0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26"/>
                    <a:gd name="T20" fmla="*/ 17 w 1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26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0" name="Freeform 466"/>
                <p:cNvSpPr>
                  <a:spLocks/>
                </p:cNvSpPr>
                <p:nvPr/>
              </p:nvSpPr>
              <p:spPr bwMode="auto">
                <a:xfrm>
                  <a:off x="6500316" y="2586209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0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2147483647 h 78"/>
                    <a:gd name="T16" fmla="*/ 2147483647 w 96"/>
                    <a:gd name="T17" fmla="*/ 2147483647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0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96"/>
                    <a:gd name="T67" fmla="*/ 0 h 78"/>
                    <a:gd name="T68" fmla="*/ 96 w 96"/>
                    <a:gd name="T69" fmla="*/ 78 h 7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96" h="78">
                      <a:moveTo>
                        <a:pt x="53" y="26"/>
                      </a:moveTo>
                      <a:lnTo>
                        <a:pt x="44" y="26"/>
                      </a:lnTo>
                      <a:lnTo>
                        <a:pt x="35" y="26"/>
                      </a:lnTo>
                      <a:lnTo>
                        <a:pt x="18" y="34"/>
                      </a:lnTo>
                      <a:lnTo>
                        <a:pt x="18" y="52"/>
                      </a:lnTo>
                      <a:lnTo>
                        <a:pt x="0" y="61"/>
                      </a:lnTo>
                      <a:lnTo>
                        <a:pt x="18" y="69"/>
                      </a:lnTo>
                      <a:lnTo>
                        <a:pt x="27" y="78"/>
                      </a:lnTo>
                      <a:lnTo>
                        <a:pt x="27" y="43"/>
                      </a:lnTo>
                      <a:lnTo>
                        <a:pt x="53" y="43"/>
                      </a:lnTo>
                      <a:lnTo>
                        <a:pt x="44" y="61"/>
                      </a:lnTo>
                      <a:lnTo>
                        <a:pt x="61" y="78"/>
                      </a:lnTo>
                      <a:lnTo>
                        <a:pt x="79" y="78"/>
                      </a:lnTo>
                      <a:lnTo>
                        <a:pt x="70" y="52"/>
                      </a:lnTo>
                      <a:lnTo>
                        <a:pt x="88" y="52"/>
                      </a:lnTo>
                      <a:lnTo>
                        <a:pt x="88" y="69"/>
                      </a:lnTo>
                      <a:lnTo>
                        <a:pt x="96" y="52"/>
                      </a:lnTo>
                      <a:lnTo>
                        <a:pt x="88" y="26"/>
                      </a:lnTo>
                      <a:lnTo>
                        <a:pt x="88" y="17"/>
                      </a:lnTo>
                      <a:lnTo>
                        <a:pt x="79" y="0"/>
                      </a:lnTo>
                      <a:lnTo>
                        <a:pt x="61" y="26"/>
                      </a:lnTo>
                      <a:lnTo>
                        <a:pt x="53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1" name="Freeform 467"/>
                <p:cNvSpPr>
                  <a:spLocks/>
                </p:cNvSpPr>
                <p:nvPr/>
              </p:nvSpPr>
              <p:spPr bwMode="auto">
                <a:xfrm>
                  <a:off x="6500316" y="2586209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0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2147483647 h 78"/>
                    <a:gd name="T16" fmla="*/ 2147483647 w 96"/>
                    <a:gd name="T17" fmla="*/ 2147483647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0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96"/>
                    <a:gd name="T67" fmla="*/ 0 h 78"/>
                    <a:gd name="T68" fmla="*/ 96 w 96"/>
                    <a:gd name="T69" fmla="*/ 78 h 7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96" h="78">
                      <a:moveTo>
                        <a:pt x="53" y="26"/>
                      </a:moveTo>
                      <a:lnTo>
                        <a:pt x="44" y="26"/>
                      </a:lnTo>
                      <a:lnTo>
                        <a:pt x="35" y="26"/>
                      </a:lnTo>
                      <a:lnTo>
                        <a:pt x="18" y="34"/>
                      </a:lnTo>
                      <a:lnTo>
                        <a:pt x="18" y="52"/>
                      </a:lnTo>
                      <a:lnTo>
                        <a:pt x="0" y="61"/>
                      </a:lnTo>
                      <a:lnTo>
                        <a:pt x="18" y="69"/>
                      </a:lnTo>
                      <a:lnTo>
                        <a:pt x="27" y="78"/>
                      </a:lnTo>
                      <a:lnTo>
                        <a:pt x="27" y="43"/>
                      </a:lnTo>
                      <a:lnTo>
                        <a:pt x="53" y="43"/>
                      </a:lnTo>
                      <a:lnTo>
                        <a:pt x="44" y="61"/>
                      </a:lnTo>
                      <a:lnTo>
                        <a:pt x="61" y="78"/>
                      </a:lnTo>
                      <a:lnTo>
                        <a:pt x="79" y="78"/>
                      </a:lnTo>
                      <a:lnTo>
                        <a:pt x="70" y="52"/>
                      </a:lnTo>
                      <a:lnTo>
                        <a:pt x="88" y="52"/>
                      </a:lnTo>
                      <a:lnTo>
                        <a:pt x="88" y="69"/>
                      </a:lnTo>
                      <a:lnTo>
                        <a:pt x="96" y="52"/>
                      </a:lnTo>
                      <a:lnTo>
                        <a:pt x="88" y="26"/>
                      </a:lnTo>
                      <a:lnTo>
                        <a:pt x="88" y="17"/>
                      </a:lnTo>
                      <a:lnTo>
                        <a:pt x="79" y="0"/>
                      </a:lnTo>
                      <a:lnTo>
                        <a:pt x="61" y="26"/>
                      </a:lnTo>
                      <a:lnTo>
                        <a:pt x="53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2" name="Freeform 468"/>
                <p:cNvSpPr>
                  <a:spLocks/>
                </p:cNvSpPr>
                <p:nvPr/>
              </p:nvSpPr>
              <p:spPr bwMode="auto">
                <a:xfrm>
                  <a:off x="6547453" y="2586209"/>
                  <a:ext cx="18212" cy="8567"/>
                </a:xfrm>
                <a:custGeom>
                  <a:avLst/>
                  <a:gdLst>
                    <a:gd name="T0" fmla="*/ 2147483647 w 17"/>
                    <a:gd name="T1" fmla="*/ 2147483647 h 8"/>
                    <a:gd name="T2" fmla="*/ 2147483647 w 17"/>
                    <a:gd name="T3" fmla="*/ 0 h 8"/>
                    <a:gd name="T4" fmla="*/ 0 w 17"/>
                    <a:gd name="T5" fmla="*/ 2147483647 h 8"/>
                    <a:gd name="T6" fmla="*/ 2147483647 w 17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8"/>
                    <a:gd name="T14" fmla="*/ 17 w 17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8">
                      <a:moveTo>
                        <a:pt x="17" y="8"/>
                      </a:move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3" name="Freeform 469"/>
                <p:cNvSpPr>
                  <a:spLocks/>
                </p:cNvSpPr>
                <p:nvPr/>
              </p:nvSpPr>
              <p:spPr bwMode="auto">
                <a:xfrm>
                  <a:off x="6547453" y="2586209"/>
                  <a:ext cx="18212" cy="8567"/>
                </a:xfrm>
                <a:custGeom>
                  <a:avLst/>
                  <a:gdLst>
                    <a:gd name="T0" fmla="*/ 2147483647 w 17"/>
                    <a:gd name="T1" fmla="*/ 2147483647 h 8"/>
                    <a:gd name="T2" fmla="*/ 2147483647 w 17"/>
                    <a:gd name="T3" fmla="*/ 0 h 8"/>
                    <a:gd name="T4" fmla="*/ 0 w 17"/>
                    <a:gd name="T5" fmla="*/ 2147483647 h 8"/>
                    <a:gd name="T6" fmla="*/ 2147483647 w 17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8"/>
                    <a:gd name="T14" fmla="*/ 17 w 17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8">
                      <a:moveTo>
                        <a:pt x="17" y="8"/>
                      </a:move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4" name="Freeform 470"/>
                <p:cNvSpPr>
                  <a:spLocks/>
                </p:cNvSpPr>
                <p:nvPr/>
              </p:nvSpPr>
              <p:spPr bwMode="auto">
                <a:xfrm>
                  <a:off x="6491746" y="2660099"/>
                  <a:ext cx="8570" cy="19276"/>
                </a:xfrm>
                <a:custGeom>
                  <a:avLst/>
                  <a:gdLst>
                    <a:gd name="T0" fmla="*/ 2147483647 w 8"/>
                    <a:gd name="T1" fmla="*/ 2147483647 h 18"/>
                    <a:gd name="T2" fmla="*/ 2147483647 w 8"/>
                    <a:gd name="T3" fmla="*/ 0 h 18"/>
                    <a:gd name="T4" fmla="*/ 0 w 8"/>
                    <a:gd name="T5" fmla="*/ 0 h 18"/>
                    <a:gd name="T6" fmla="*/ 2147483647 w 8"/>
                    <a:gd name="T7" fmla="*/ 2147483647 h 18"/>
                    <a:gd name="T8" fmla="*/ 2147483647 w 8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8"/>
                    <a:gd name="T17" fmla="*/ 8 w 8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8">
                      <a:moveTo>
                        <a:pt x="8" y="18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5" name="Freeform 471"/>
                <p:cNvSpPr>
                  <a:spLocks/>
                </p:cNvSpPr>
                <p:nvPr/>
              </p:nvSpPr>
              <p:spPr bwMode="auto">
                <a:xfrm>
                  <a:off x="6491746" y="2660099"/>
                  <a:ext cx="8570" cy="19276"/>
                </a:xfrm>
                <a:custGeom>
                  <a:avLst/>
                  <a:gdLst>
                    <a:gd name="T0" fmla="*/ 2147483647 w 8"/>
                    <a:gd name="T1" fmla="*/ 2147483647 h 18"/>
                    <a:gd name="T2" fmla="*/ 2147483647 w 8"/>
                    <a:gd name="T3" fmla="*/ 0 h 18"/>
                    <a:gd name="T4" fmla="*/ 0 w 8"/>
                    <a:gd name="T5" fmla="*/ 0 h 18"/>
                    <a:gd name="T6" fmla="*/ 2147483647 w 8"/>
                    <a:gd name="T7" fmla="*/ 2147483647 h 18"/>
                    <a:gd name="T8" fmla="*/ 2147483647 w 8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8"/>
                    <a:gd name="T17" fmla="*/ 8 w 8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8">
                      <a:moveTo>
                        <a:pt x="8" y="18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6" name="Freeform 472"/>
                <p:cNvSpPr>
                  <a:spLocks/>
                </p:cNvSpPr>
                <p:nvPr/>
              </p:nvSpPr>
              <p:spPr bwMode="auto">
                <a:xfrm>
                  <a:off x="6864554" y="2828224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0 w 175"/>
                    <a:gd name="T7" fmla="*/ 0 h 148"/>
                    <a:gd name="T8" fmla="*/ 0 w 175"/>
                    <a:gd name="T9" fmla="*/ 2147483647 h 148"/>
                    <a:gd name="T10" fmla="*/ 0 w 175"/>
                    <a:gd name="T11" fmla="*/ 2147483647 h 148"/>
                    <a:gd name="T12" fmla="*/ 0 w 175"/>
                    <a:gd name="T13" fmla="*/ 2147483647 h 148"/>
                    <a:gd name="T14" fmla="*/ 0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2147483647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75"/>
                    <a:gd name="T76" fmla="*/ 0 h 148"/>
                    <a:gd name="T77" fmla="*/ 175 w 175"/>
                    <a:gd name="T78" fmla="*/ 148 h 14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75" h="148">
                      <a:moveTo>
                        <a:pt x="79" y="52"/>
                      </a:moveTo>
                      <a:lnTo>
                        <a:pt x="79" y="44"/>
                      </a:lnTo>
                      <a:lnTo>
                        <a:pt x="44" y="9"/>
                      </a:lnTo>
                      <a:lnTo>
                        <a:pt x="0" y="0"/>
                      </a:lnTo>
                      <a:lnTo>
                        <a:pt x="0" y="61"/>
                      </a:lnTo>
                      <a:lnTo>
                        <a:pt x="0" y="70"/>
                      </a:lnTo>
                      <a:lnTo>
                        <a:pt x="0" y="87"/>
                      </a:lnTo>
                      <a:lnTo>
                        <a:pt x="0" y="122"/>
                      </a:lnTo>
                      <a:lnTo>
                        <a:pt x="27" y="122"/>
                      </a:lnTo>
                      <a:lnTo>
                        <a:pt x="44" y="113"/>
                      </a:lnTo>
                      <a:lnTo>
                        <a:pt x="27" y="113"/>
                      </a:lnTo>
                      <a:lnTo>
                        <a:pt x="44" y="96"/>
                      </a:lnTo>
                      <a:lnTo>
                        <a:pt x="70" y="96"/>
                      </a:lnTo>
                      <a:lnTo>
                        <a:pt x="105" y="131"/>
                      </a:lnTo>
                      <a:lnTo>
                        <a:pt x="140" y="148"/>
                      </a:lnTo>
                      <a:lnTo>
                        <a:pt x="157" y="148"/>
                      </a:lnTo>
                      <a:lnTo>
                        <a:pt x="175" y="148"/>
                      </a:lnTo>
                      <a:lnTo>
                        <a:pt x="166" y="140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23" y="113"/>
                      </a:lnTo>
                      <a:lnTo>
                        <a:pt x="105" y="96"/>
                      </a:lnTo>
                      <a:lnTo>
                        <a:pt x="105" y="70"/>
                      </a:lnTo>
                      <a:lnTo>
                        <a:pt x="79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7" name="Freeform 473"/>
                <p:cNvSpPr>
                  <a:spLocks/>
                </p:cNvSpPr>
                <p:nvPr/>
              </p:nvSpPr>
              <p:spPr bwMode="auto">
                <a:xfrm>
                  <a:off x="6864554" y="2828224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0 w 175"/>
                    <a:gd name="T7" fmla="*/ 0 h 148"/>
                    <a:gd name="T8" fmla="*/ 0 w 175"/>
                    <a:gd name="T9" fmla="*/ 2147483647 h 148"/>
                    <a:gd name="T10" fmla="*/ 0 w 175"/>
                    <a:gd name="T11" fmla="*/ 2147483647 h 148"/>
                    <a:gd name="T12" fmla="*/ 0 w 175"/>
                    <a:gd name="T13" fmla="*/ 2147483647 h 148"/>
                    <a:gd name="T14" fmla="*/ 0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2147483647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75"/>
                    <a:gd name="T76" fmla="*/ 0 h 148"/>
                    <a:gd name="T77" fmla="*/ 175 w 175"/>
                    <a:gd name="T78" fmla="*/ 148 h 14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75" h="148">
                      <a:moveTo>
                        <a:pt x="79" y="52"/>
                      </a:moveTo>
                      <a:lnTo>
                        <a:pt x="79" y="44"/>
                      </a:lnTo>
                      <a:lnTo>
                        <a:pt x="44" y="9"/>
                      </a:lnTo>
                      <a:lnTo>
                        <a:pt x="0" y="0"/>
                      </a:lnTo>
                      <a:lnTo>
                        <a:pt x="0" y="61"/>
                      </a:lnTo>
                      <a:lnTo>
                        <a:pt x="0" y="70"/>
                      </a:lnTo>
                      <a:lnTo>
                        <a:pt x="0" y="87"/>
                      </a:lnTo>
                      <a:lnTo>
                        <a:pt x="0" y="122"/>
                      </a:lnTo>
                      <a:lnTo>
                        <a:pt x="27" y="122"/>
                      </a:lnTo>
                      <a:lnTo>
                        <a:pt x="44" y="113"/>
                      </a:lnTo>
                      <a:lnTo>
                        <a:pt x="27" y="113"/>
                      </a:lnTo>
                      <a:lnTo>
                        <a:pt x="44" y="96"/>
                      </a:lnTo>
                      <a:lnTo>
                        <a:pt x="70" y="96"/>
                      </a:lnTo>
                      <a:lnTo>
                        <a:pt x="105" y="131"/>
                      </a:lnTo>
                      <a:lnTo>
                        <a:pt x="140" y="148"/>
                      </a:lnTo>
                      <a:lnTo>
                        <a:pt x="157" y="148"/>
                      </a:lnTo>
                      <a:lnTo>
                        <a:pt x="175" y="148"/>
                      </a:lnTo>
                      <a:lnTo>
                        <a:pt x="166" y="140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23" y="113"/>
                      </a:lnTo>
                      <a:lnTo>
                        <a:pt x="105" y="96"/>
                      </a:lnTo>
                      <a:lnTo>
                        <a:pt x="105" y="70"/>
                      </a:lnTo>
                      <a:lnTo>
                        <a:pt x="79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8" name="Freeform 474"/>
                <p:cNvSpPr>
                  <a:spLocks/>
                </p:cNvSpPr>
                <p:nvPr/>
              </p:nvSpPr>
              <p:spPr bwMode="auto">
                <a:xfrm>
                  <a:off x="7220221" y="3453610"/>
                  <a:ext cx="121056" cy="140284"/>
                </a:xfrm>
                <a:custGeom>
                  <a:avLst/>
                  <a:gdLst>
                    <a:gd name="T0" fmla="*/ 2147483647 w 113"/>
                    <a:gd name="T1" fmla="*/ 2147483647 h 131"/>
                    <a:gd name="T2" fmla="*/ 2147483647 w 113"/>
                    <a:gd name="T3" fmla="*/ 2147483647 h 131"/>
                    <a:gd name="T4" fmla="*/ 2147483647 w 113"/>
                    <a:gd name="T5" fmla="*/ 2147483647 h 131"/>
                    <a:gd name="T6" fmla="*/ 2147483647 w 113"/>
                    <a:gd name="T7" fmla="*/ 0 h 131"/>
                    <a:gd name="T8" fmla="*/ 2147483647 w 113"/>
                    <a:gd name="T9" fmla="*/ 2147483647 h 131"/>
                    <a:gd name="T10" fmla="*/ 2147483647 w 113"/>
                    <a:gd name="T11" fmla="*/ 2147483647 h 131"/>
                    <a:gd name="T12" fmla="*/ 2147483647 w 113"/>
                    <a:gd name="T13" fmla="*/ 2147483647 h 131"/>
                    <a:gd name="T14" fmla="*/ 2147483647 w 113"/>
                    <a:gd name="T15" fmla="*/ 2147483647 h 131"/>
                    <a:gd name="T16" fmla="*/ 2147483647 w 113"/>
                    <a:gd name="T17" fmla="*/ 2147483647 h 131"/>
                    <a:gd name="T18" fmla="*/ 2147483647 w 113"/>
                    <a:gd name="T19" fmla="*/ 2147483647 h 131"/>
                    <a:gd name="T20" fmla="*/ 2147483647 w 113"/>
                    <a:gd name="T21" fmla="*/ 2147483647 h 131"/>
                    <a:gd name="T22" fmla="*/ 2147483647 w 113"/>
                    <a:gd name="T23" fmla="*/ 2147483647 h 131"/>
                    <a:gd name="T24" fmla="*/ 2147483647 w 113"/>
                    <a:gd name="T25" fmla="*/ 2147483647 h 131"/>
                    <a:gd name="T26" fmla="*/ 0 w 113"/>
                    <a:gd name="T27" fmla="*/ 2147483647 h 131"/>
                    <a:gd name="T28" fmla="*/ 0 w 113"/>
                    <a:gd name="T29" fmla="*/ 2147483647 h 131"/>
                    <a:gd name="T30" fmla="*/ 2147483647 w 113"/>
                    <a:gd name="T31" fmla="*/ 2147483647 h 131"/>
                    <a:gd name="T32" fmla="*/ 2147483647 w 113"/>
                    <a:gd name="T33" fmla="*/ 2147483647 h 131"/>
                    <a:gd name="T34" fmla="*/ 2147483647 w 113"/>
                    <a:gd name="T35" fmla="*/ 2147483647 h 131"/>
                    <a:gd name="T36" fmla="*/ 2147483647 w 113"/>
                    <a:gd name="T37" fmla="*/ 2147483647 h 131"/>
                    <a:gd name="T38" fmla="*/ 2147483647 w 113"/>
                    <a:gd name="T39" fmla="*/ 2147483647 h 131"/>
                    <a:gd name="T40" fmla="*/ 2147483647 w 113"/>
                    <a:gd name="T41" fmla="*/ 2147483647 h 13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13"/>
                    <a:gd name="T64" fmla="*/ 0 h 131"/>
                    <a:gd name="T65" fmla="*/ 113 w 113"/>
                    <a:gd name="T66" fmla="*/ 131 h 13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13" h="131">
                      <a:moveTo>
                        <a:pt x="70" y="44"/>
                      </a:moveTo>
                      <a:lnTo>
                        <a:pt x="61" y="35"/>
                      </a:lnTo>
                      <a:lnTo>
                        <a:pt x="70" y="26"/>
                      </a:lnTo>
                      <a:lnTo>
                        <a:pt x="43" y="0"/>
                      </a:lnTo>
                      <a:lnTo>
                        <a:pt x="43" y="9"/>
                      </a:lnTo>
                      <a:lnTo>
                        <a:pt x="52" y="18"/>
                      </a:lnTo>
                      <a:lnTo>
                        <a:pt x="43" y="44"/>
                      </a:lnTo>
                      <a:lnTo>
                        <a:pt x="43" y="61"/>
                      </a:lnTo>
                      <a:lnTo>
                        <a:pt x="26" y="87"/>
                      </a:lnTo>
                      <a:lnTo>
                        <a:pt x="8" y="87"/>
                      </a:lnTo>
                      <a:lnTo>
                        <a:pt x="8" y="96"/>
                      </a:lnTo>
                      <a:lnTo>
                        <a:pt x="17" y="96"/>
                      </a:lnTo>
                      <a:lnTo>
                        <a:pt x="17" y="113"/>
                      </a:lnTo>
                      <a:lnTo>
                        <a:pt x="0" y="113"/>
                      </a:lnTo>
                      <a:lnTo>
                        <a:pt x="0" y="131"/>
                      </a:lnTo>
                      <a:lnTo>
                        <a:pt x="35" y="122"/>
                      </a:lnTo>
                      <a:lnTo>
                        <a:pt x="52" y="96"/>
                      </a:lnTo>
                      <a:lnTo>
                        <a:pt x="96" y="87"/>
                      </a:lnTo>
                      <a:lnTo>
                        <a:pt x="113" y="61"/>
                      </a:lnTo>
                      <a:lnTo>
                        <a:pt x="87" y="61"/>
                      </a:lnTo>
                      <a:lnTo>
                        <a:pt x="7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9" name="Freeform 475"/>
                <p:cNvSpPr>
                  <a:spLocks/>
                </p:cNvSpPr>
                <p:nvPr/>
              </p:nvSpPr>
              <p:spPr bwMode="auto">
                <a:xfrm>
                  <a:off x="7220222" y="3453610"/>
                  <a:ext cx="121056" cy="140284"/>
                </a:xfrm>
                <a:custGeom>
                  <a:avLst/>
                  <a:gdLst>
                    <a:gd name="T0" fmla="*/ 2147483647 w 113"/>
                    <a:gd name="T1" fmla="*/ 2147483647 h 131"/>
                    <a:gd name="T2" fmla="*/ 2147483647 w 113"/>
                    <a:gd name="T3" fmla="*/ 2147483647 h 131"/>
                    <a:gd name="T4" fmla="*/ 2147483647 w 113"/>
                    <a:gd name="T5" fmla="*/ 2147483647 h 131"/>
                    <a:gd name="T6" fmla="*/ 2147483647 w 113"/>
                    <a:gd name="T7" fmla="*/ 0 h 131"/>
                    <a:gd name="T8" fmla="*/ 2147483647 w 113"/>
                    <a:gd name="T9" fmla="*/ 2147483647 h 131"/>
                    <a:gd name="T10" fmla="*/ 2147483647 w 113"/>
                    <a:gd name="T11" fmla="*/ 2147483647 h 131"/>
                    <a:gd name="T12" fmla="*/ 2147483647 w 113"/>
                    <a:gd name="T13" fmla="*/ 2147483647 h 131"/>
                    <a:gd name="T14" fmla="*/ 2147483647 w 113"/>
                    <a:gd name="T15" fmla="*/ 2147483647 h 131"/>
                    <a:gd name="T16" fmla="*/ 2147483647 w 113"/>
                    <a:gd name="T17" fmla="*/ 2147483647 h 131"/>
                    <a:gd name="T18" fmla="*/ 2147483647 w 113"/>
                    <a:gd name="T19" fmla="*/ 2147483647 h 131"/>
                    <a:gd name="T20" fmla="*/ 2147483647 w 113"/>
                    <a:gd name="T21" fmla="*/ 2147483647 h 131"/>
                    <a:gd name="T22" fmla="*/ 2147483647 w 113"/>
                    <a:gd name="T23" fmla="*/ 2147483647 h 131"/>
                    <a:gd name="T24" fmla="*/ 2147483647 w 113"/>
                    <a:gd name="T25" fmla="*/ 2147483647 h 131"/>
                    <a:gd name="T26" fmla="*/ 0 w 113"/>
                    <a:gd name="T27" fmla="*/ 2147483647 h 131"/>
                    <a:gd name="T28" fmla="*/ 0 w 113"/>
                    <a:gd name="T29" fmla="*/ 2147483647 h 131"/>
                    <a:gd name="T30" fmla="*/ 2147483647 w 113"/>
                    <a:gd name="T31" fmla="*/ 2147483647 h 131"/>
                    <a:gd name="T32" fmla="*/ 2147483647 w 113"/>
                    <a:gd name="T33" fmla="*/ 2147483647 h 131"/>
                    <a:gd name="T34" fmla="*/ 2147483647 w 113"/>
                    <a:gd name="T35" fmla="*/ 2147483647 h 131"/>
                    <a:gd name="T36" fmla="*/ 2147483647 w 113"/>
                    <a:gd name="T37" fmla="*/ 2147483647 h 131"/>
                    <a:gd name="T38" fmla="*/ 2147483647 w 113"/>
                    <a:gd name="T39" fmla="*/ 2147483647 h 131"/>
                    <a:gd name="T40" fmla="*/ 2147483647 w 113"/>
                    <a:gd name="T41" fmla="*/ 2147483647 h 13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13"/>
                    <a:gd name="T64" fmla="*/ 0 h 131"/>
                    <a:gd name="T65" fmla="*/ 113 w 113"/>
                    <a:gd name="T66" fmla="*/ 131 h 13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13" h="131">
                      <a:moveTo>
                        <a:pt x="70" y="44"/>
                      </a:moveTo>
                      <a:lnTo>
                        <a:pt x="61" y="35"/>
                      </a:lnTo>
                      <a:lnTo>
                        <a:pt x="70" y="26"/>
                      </a:lnTo>
                      <a:lnTo>
                        <a:pt x="43" y="0"/>
                      </a:lnTo>
                      <a:lnTo>
                        <a:pt x="43" y="9"/>
                      </a:lnTo>
                      <a:lnTo>
                        <a:pt x="52" y="18"/>
                      </a:lnTo>
                      <a:lnTo>
                        <a:pt x="43" y="44"/>
                      </a:lnTo>
                      <a:lnTo>
                        <a:pt x="43" y="61"/>
                      </a:lnTo>
                      <a:lnTo>
                        <a:pt x="26" y="87"/>
                      </a:lnTo>
                      <a:lnTo>
                        <a:pt x="8" y="87"/>
                      </a:lnTo>
                      <a:lnTo>
                        <a:pt x="8" y="96"/>
                      </a:lnTo>
                      <a:lnTo>
                        <a:pt x="17" y="96"/>
                      </a:lnTo>
                      <a:lnTo>
                        <a:pt x="17" y="113"/>
                      </a:lnTo>
                      <a:lnTo>
                        <a:pt x="0" y="113"/>
                      </a:lnTo>
                      <a:lnTo>
                        <a:pt x="0" y="131"/>
                      </a:lnTo>
                      <a:lnTo>
                        <a:pt x="35" y="122"/>
                      </a:lnTo>
                      <a:lnTo>
                        <a:pt x="52" y="96"/>
                      </a:lnTo>
                      <a:lnTo>
                        <a:pt x="96" y="87"/>
                      </a:lnTo>
                      <a:lnTo>
                        <a:pt x="113" y="61"/>
                      </a:lnTo>
                      <a:lnTo>
                        <a:pt x="87" y="61"/>
                      </a:lnTo>
                      <a:lnTo>
                        <a:pt x="7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0" name="Freeform 476"/>
                <p:cNvSpPr>
                  <a:spLocks/>
                </p:cNvSpPr>
                <p:nvPr/>
              </p:nvSpPr>
              <p:spPr bwMode="auto">
                <a:xfrm>
                  <a:off x="7004893" y="3574618"/>
                  <a:ext cx="196046" cy="112441"/>
                </a:xfrm>
                <a:custGeom>
                  <a:avLst/>
                  <a:gdLst>
                    <a:gd name="T0" fmla="*/ 2147483647 w 183"/>
                    <a:gd name="T1" fmla="*/ 2147483647 h 105"/>
                    <a:gd name="T2" fmla="*/ 2147483647 w 183"/>
                    <a:gd name="T3" fmla="*/ 0 h 105"/>
                    <a:gd name="T4" fmla="*/ 2147483647 w 183"/>
                    <a:gd name="T5" fmla="*/ 0 h 105"/>
                    <a:gd name="T6" fmla="*/ 2147483647 w 183"/>
                    <a:gd name="T7" fmla="*/ 2147483647 h 105"/>
                    <a:gd name="T8" fmla="*/ 2147483647 w 183"/>
                    <a:gd name="T9" fmla="*/ 2147483647 h 105"/>
                    <a:gd name="T10" fmla="*/ 2147483647 w 183"/>
                    <a:gd name="T11" fmla="*/ 2147483647 h 105"/>
                    <a:gd name="T12" fmla="*/ 2147483647 w 183"/>
                    <a:gd name="T13" fmla="*/ 2147483647 h 105"/>
                    <a:gd name="T14" fmla="*/ 2147483647 w 183"/>
                    <a:gd name="T15" fmla="*/ 2147483647 h 105"/>
                    <a:gd name="T16" fmla="*/ 0 w 183"/>
                    <a:gd name="T17" fmla="*/ 2147483647 h 105"/>
                    <a:gd name="T18" fmla="*/ 0 w 183"/>
                    <a:gd name="T19" fmla="*/ 2147483647 h 105"/>
                    <a:gd name="T20" fmla="*/ 2147483647 w 183"/>
                    <a:gd name="T21" fmla="*/ 2147483647 h 105"/>
                    <a:gd name="T22" fmla="*/ 2147483647 w 183"/>
                    <a:gd name="T23" fmla="*/ 2147483647 h 105"/>
                    <a:gd name="T24" fmla="*/ 2147483647 w 183"/>
                    <a:gd name="T25" fmla="*/ 2147483647 h 105"/>
                    <a:gd name="T26" fmla="*/ 2147483647 w 183"/>
                    <a:gd name="T27" fmla="*/ 2147483647 h 105"/>
                    <a:gd name="T28" fmla="*/ 2147483647 w 183"/>
                    <a:gd name="T29" fmla="*/ 2147483647 h 105"/>
                    <a:gd name="T30" fmla="*/ 2147483647 w 183"/>
                    <a:gd name="T31" fmla="*/ 2147483647 h 105"/>
                    <a:gd name="T32" fmla="*/ 2147483647 w 183"/>
                    <a:gd name="T33" fmla="*/ 2147483647 h 10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83"/>
                    <a:gd name="T52" fmla="*/ 0 h 105"/>
                    <a:gd name="T53" fmla="*/ 183 w 183"/>
                    <a:gd name="T54" fmla="*/ 105 h 10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83" h="105">
                      <a:moveTo>
                        <a:pt x="183" y="9"/>
                      </a:moveTo>
                      <a:lnTo>
                        <a:pt x="175" y="0"/>
                      </a:lnTo>
                      <a:lnTo>
                        <a:pt x="166" y="0"/>
                      </a:lnTo>
                      <a:lnTo>
                        <a:pt x="148" y="18"/>
                      </a:lnTo>
                      <a:lnTo>
                        <a:pt x="114" y="35"/>
                      </a:lnTo>
                      <a:lnTo>
                        <a:pt x="70" y="53"/>
                      </a:lnTo>
                      <a:lnTo>
                        <a:pt x="44" y="70"/>
                      </a:lnTo>
                      <a:lnTo>
                        <a:pt x="26" y="79"/>
                      </a:lnTo>
                      <a:lnTo>
                        <a:pt x="0" y="88"/>
                      </a:lnTo>
                      <a:lnTo>
                        <a:pt x="0" y="96"/>
                      </a:lnTo>
                      <a:lnTo>
                        <a:pt x="26" y="105"/>
                      </a:lnTo>
                      <a:lnTo>
                        <a:pt x="61" y="96"/>
                      </a:lnTo>
                      <a:lnTo>
                        <a:pt x="96" y="61"/>
                      </a:lnTo>
                      <a:lnTo>
                        <a:pt x="122" y="61"/>
                      </a:lnTo>
                      <a:lnTo>
                        <a:pt x="131" y="53"/>
                      </a:lnTo>
                      <a:lnTo>
                        <a:pt x="148" y="44"/>
                      </a:lnTo>
                      <a:lnTo>
                        <a:pt x="183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1" name="Freeform 477"/>
                <p:cNvSpPr>
                  <a:spLocks/>
                </p:cNvSpPr>
                <p:nvPr/>
              </p:nvSpPr>
              <p:spPr bwMode="auto">
                <a:xfrm>
                  <a:off x="7004893" y="3574618"/>
                  <a:ext cx="196046" cy="112441"/>
                </a:xfrm>
                <a:custGeom>
                  <a:avLst/>
                  <a:gdLst>
                    <a:gd name="T0" fmla="*/ 2147483647 w 183"/>
                    <a:gd name="T1" fmla="*/ 2147483647 h 105"/>
                    <a:gd name="T2" fmla="*/ 2147483647 w 183"/>
                    <a:gd name="T3" fmla="*/ 0 h 105"/>
                    <a:gd name="T4" fmla="*/ 2147483647 w 183"/>
                    <a:gd name="T5" fmla="*/ 0 h 105"/>
                    <a:gd name="T6" fmla="*/ 2147483647 w 183"/>
                    <a:gd name="T7" fmla="*/ 2147483647 h 105"/>
                    <a:gd name="T8" fmla="*/ 2147483647 w 183"/>
                    <a:gd name="T9" fmla="*/ 2147483647 h 105"/>
                    <a:gd name="T10" fmla="*/ 2147483647 w 183"/>
                    <a:gd name="T11" fmla="*/ 2147483647 h 105"/>
                    <a:gd name="T12" fmla="*/ 2147483647 w 183"/>
                    <a:gd name="T13" fmla="*/ 2147483647 h 105"/>
                    <a:gd name="T14" fmla="*/ 2147483647 w 183"/>
                    <a:gd name="T15" fmla="*/ 2147483647 h 105"/>
                    <a:gd name="T16" fmla="*/ 0 w 183"/>
                    <a:gd name="T17" fmla="*/ 2147483647 h 105"/>
                    <a:gd name="T18" fmla="*/ 0 w 183"/>
                    <a:gd name="T19" fmla="*/ 2147483647 h 105"/>
                    <a:gd name="T20" fmla="*/ 2147483647 w 183"/>
                    <a:gd name="T21" fmla="*/ 2147483647 h 105"/>
                    <a:gd name="T22" fmla="*/ 2147483647 w 183"/>
                    <a:gd name="T23" fmla="*/ 2147483647 h 105"/>
                    <a:gd name="T24" fmla="*/ 2147483647 w 183"/>
                    <a:gd name="T25" fmla="*/ 2147483647 h 105"/>
                    <a:gd name="T26" fmla="*/ 2147483647 w 183"/>
                    <a:gd name="T27" fmla="*/ 2147483647 h 105"/>
                    <a:gd name="T28" fmla="*/ 2147483647 w 183"/>
                    <a:gd name="T29" fmla="*/ 2147483647 h 105"/>
                    <a:gd name="T30" fmla="*/ 2147483647 w 183"/>
                    <a:gd name="T31" fmla="*/ 2147483647 h 105"/>
                    <a:gd name="T32" fmla="*/ 2147483647 w 183"/>
                    <a:gd name="T33" fmla="*/ 2147483647 h 10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83"/>
                    <a:gd name="T52" fmla="*/ 0 h 105"/>
                    <a:gd name="T53" fmla="*/ 183 w 183"/>
                    <a:gd name="T54" fmla="*/ 105 h 10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83" h="105">
                      <a:moveTo>
                        <a:pt x="183" y="9"/>
                      </a:moveTo>
                      <a:lnTo>
                        <a:pt x="175" y="0"/>
                      </a:lnTo>
                      <a:lnTo>
                        <a:pt x="166" y="0"/>
                      </a:lnTo>
                      <a:lnTo>
                        <a:pt x="148" y="18"/>
                      </a:lnTo>
                      <a:lnTo>
                        <a:pt x="114" y="35"/>
                      </a:lnTo>
                      <a:lnTo>
                        <a:pt x="70" y="53"/>
                      </a:lnTo>
                      <a:lnTo>
                        <a:pt x="44" y="70"/>
                      </a:lnTo>
                      <a:lnTo>
                        <a:pt x="26" y="79"/>
                      </a:lnTo>
                      <a:lnTo>
                        <a:pt x="0" y="88"/>
                      </a:lnTo>
                      <a:lnTo>
                        <a:pt x="0" y="96"/>
                      </a:lnTo>
                      <a:lnTo>
                        <a:pt x="26" y="105"/>
                      </a:lnTo>
                      <a:lnTo>
                        <a:pt x="61" y="96"/>
                      </a:lnTo>
                      <a:lnTo>
                        <a:pt x="96" y="61"/>
                      </a:lnTo>
                      <a:lnTo>
                        <a:pt x="122" y="61"/>
                      </a:lnTo>
                      <a:lnTo>
                        <a:pt x="131" y="53"/>
                      </a:lnTo>
                      <a:lnTo>
                        <a:pt x="148" y="44"/>
                      </a:lnTo>
                      <a:lnTo>
                        <a:pt x="183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2" name="Freeform 478"/>
                <p:cNvSpPr>
                  <a:spLocks/>
                </p:cNvSpPr>
                <p:nvPr/>
              </p:nvSpPr>
              <p:spPr bwMode="auto">
                <a:xfrm>
                  <a:off x="7220221" y="3145200"/>
                  <a:ext cx="65349" cy="84599"/>
                </a:xfrm>
                <a:custGeom>
                  <a:avLst/>
                  <a:gdLst>
                    <a:gd name="T0" fmla="*/ 2147483647 w 61"/>
                    <a:gd name="T1" fmla="*/ 0 h 79"/>
                    <a:gd name="T2" fmla="*/ 0 w 61"/>
                    <a:gd name="T3" fmla="*/ 2147483647 h 79"/>
                    <a:gd name="T4" fmla="*/ 2147483647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0 h 7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79"/>
                    <a:gd name="T29" fmla="*/ 61 w 61"/>
                    <a:gd name="T30" fmla="*/ 79 h 7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79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8" y="27"/>
                      </a:lnTo>
                      <a:lnTo>
                        <a:pt x="43" y="79"/>
                      </a:lnTo>
                      <a:lnTo>
                        <a:pt x="61" y="70"/>
                      </a:lnTo>
                      <a:lnTo>
                        <a:pt x="43" y="44"/>
                      </a:lnTo>
                      <a:lnTo>
                        <a:pt x="17" y="27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3" name="Freeform 479"/>
                <p:cNvSpPr>
                  <a:spLocks/>
                </p:cNvSpPr>
                <p:nvPr/>
              </p:nvSpPr>
              <p:spPr bwMode="auto">
                <a:xfrm>
                  <a:off x="7220219" y="3145200"/>
                  <a:ext cx="65349" cy="84599"/>
                </a:xfrm>
                <a:custGeom>
                  <a:avLst/>
                  <a:gdLst>
                    <a:gd name="T0" fmla="*/ 2147483647 w 61"/>
                    <a:gd name="T1" fmla="*/ 0 h 79"/>
                    <a:gd name="T2" fmla="*/ 0 w 61"/>
                    <a:gd name="T3" fmla="*/ 2147483647 h 79"/>
                    <a:gd name="T4" fmla="*/ 2147483647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0 h 7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79"/>
                    <a:gd name="T29" fmla="*/ 61 w 61"/>
                    <a:gd name="T30" fmla="*/ 79 h 7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79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8" y="27"/>
                      </a:lnTo>
                      <a:lnTo>
                        <a:pt x="43" y="79"/>
                      </a:lnTo>
                      <a:lnTo>
                        <a:pt x="61" y="70"/>
                      </a:lnTo>
                      <a:lnTo>
                        <a:pt x="43" y="44"/>
                      </a:lnTo>
                      <a:lnTo>
                        <a:pt x="17" y="27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4" name="Freeform 480"/>
                <p:cNvSpPr>
                  <a:spLocks/>
                </p:cNvSpPr>
                <p:nvPr/>
              </p:nvSpPr>
              <p:spPr bwMode="auto">
                <a:xfrm>
                  <a:off x="6397472" y="1941549"/>
                  <a:ext cx="74990" cy="112441"/>
                </a:xfrm>
                <a:custGeom>
                  <a:avLst/>
                  <a:gdLst>
                    <a:gd name="T0" fmla="*/ 2147483647 w 70"/>
                    <a:gd name="T1" fmla="*/ 2147483647 h 105"/>
                    <a:gd name="T2" fmla="*/ 2147483647 w 70"/>
                    <a:gd name="T3" fmla="*/ 2147483647 h 105"/>
                    <a:gd name="T4" fmla="*/ 2147483647 w 70"/>
                    <a:gd name="T5" fmla="*/ 2147483647 h 105"/>
                    <a:gd name="T6" fmla="*/ 2147483647 w 70"/>
                    <a:gd name="T7" fmla="*/ 0 h 105"/>
                    <a:gd name="T8" fmla="*/ 2147483647 w 70"/>
                    <a:gd name="T9" fmla="*/ 2147483647 h 105"/>
                    <a:gd name="T10" fmla="*/ 2147483647 w 70"/>
                    <a:gd name="T11" fmla="*/ 2147483647 h 105"/>
                    <a:gd name="T12" fmla="*/ 2147483647 w 70"/>
                    <a:gd name="T13" fmla="*/ 2147483647 h 105"/>
                    <a:gd name="T14" fmla="*/ 0 w 70"/>
                    <a:gd name="T15" fmla="*/ 2147483647 h 105"/>
                    <a:gd name="T16" fmla="*/ 2147483647 w 70"/>
                    <a:gd name="T17" fmla="*/ 2147483647 h 105"/>
                    <a:gd name="T18" fmla="*/ 2147483647 w 70"/>
                    <a:gd name="T19" fmla="*/ 2147483647 h 105"/>
                    <a:gd name="T20" fmla="*/ 2147483647 w 70"/>
                    <a:gd name="T21" fmla="*/ 2147483647 h 105"/>
                    <a:gd name="T22" fmla="*/ 2147483647 w 70"/>
                    <a:gd name="T23" fmla="*/ 2147483647 h 105"/>
                    <a:gd name="T24" fmla="*/ 2147483647 w 70"/>
                    <a:gd name="T25" fmla="*/ 2147483647 h 105"/>
                    <a:gd name="T26" fmla="*/ 2147483647 w 70"/>
                    <a:gd name="T27" fmla="*/ 2147483647 h 105"/>
                    <a:gd name="T28" fmla="*/ 2147483647 w 70"/>
                    <a:gd name="T29" fmla="*/ 2147483647 h 105"/>
                    <a:gd name="T30" fmla="*/ 2147483647 w 70"/>
                    <a:gd name="T31" fmla="*/ 2147483647 h 105"/>
                    <a:gd name="T32" fmla="*/ 2147483647 w 70"/>
                    <a:gd name="T33" fmla="*/ 2147483647 h 105"/>
                    <a:gd name="T34" fmla="*/ 2147483647 w 70"/>
                    <a:gd name="T35" fmla="*/ 2147483647 h 105"/>
                    <a:gd name="T36" fmla="*/ 2147483647 w 70"/>
                    <a:gd name="T37" fmla="*/ 2147483647 h 105"/>
                    <a:gd name="T38" fmla="*/ 2147483647 w 70"/>
                    <a:gd name="T39" fmla="*/ 2147483647 h 105"/>
                    <a:gd name="T40" fmla="*/ 2147483647 w 70"/>
                    <a:gd name="T41" fmla="*/ 2147483647 h 10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70"/>
                    <a:gd name="T64" fmla="*/ 0 h 105"/>
                    <a:gd name="T65" fmla="*/ 70 w 70"/>
                    <a:gd name="T66" fmla="*/ 105 h 10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70" h="105">
                      <a:moveTo>
                        <a:pt x="70" y="18"/>
                      </a:moveTo>
                      <a:lnTo>
                        <a:pt x="62" y="18"/>
                      </a:lnTo>
                      <a:lnTo>
                        <a:pt x="70" y="9"/>
                      </a:lnTo>
                      <a:lnTo>
                        <a:pt x="70" y="0"/>
                      </a:lnTo>
                      <a:lnTo>
                        <a:pt x="53" y="9"/>
                      </a:lnTo>
                      <a:lnTo>
                        <a:pt x="44" y="26"/>
                      </a:lnTo>
                      <a:lnTo>
                        <a:pt x="18" y="35"/>
                      </a:lnTo>
                      <a:lnTo>
                        <a:pt x="0" y="52"/>
                      </a:lnTo>
                      <a:lnTo>
                        <a:pt x="18" y="79"/>
                      </a:lnTo>
                      <a:lnTo>
                        <a:pt x="9" y="87"/>
                      </a:lnTo>
                      <a:lnTo>
                        <a:pt x="44" y="105"/>
                      </a:lnTo>
                      <a:lnTo>
                        <a:pt x="62" y="96"/>
                      </a:lnTo>
                      <a:lnTo>
                        <a:pt x="70" y="87"/>
                      </a:lnTo>
                      <a:lnTo>
                        <a:pt x="62" y="70"/>
                      </a:lnTo>
                      <a:lnTo>
                        <a:pt x="44" y="70"/>
                      </a:lnTo>
                      <a:lnTo>
                        <a:pt x="44" y="52"/>
                      </a:lnTo>
                      <a:lnTo>
                        <a:pt x="62" y="52"/>
                      </a:lnTo>
                      <a:lnTo>
                        <a:pt x="62" y="35"/>
                      </a:lnTo>
                      <a:lnTo>
                        <a:pt x="62" y="26"/>
                      </a:lnTo>
                      <a:lnTo>
                        <a:pt x="7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5" name="Freeform 481"/>
                <p:cNvSpPr>
                  <a:spLocks/>
                </p:cNvSpPr>
                <p:nvPr/>
              </p:nvSpPr>
              <p:spPr bwMode="auto">
                <a:xfrm>
                  <a:off x="6397472" y="1941549"/>
                  <a:ext cx="74990" cy="112441"/>
                </a:xfrm>
                <a:custGeom>
                  <a:avLst/>
                  <a:gdLst>
                    <a:gd name="T0" fmla="*/ 2147483647 w 70"/>
                    <a:gd name="T1" fmla="*/ 2147483647 h 105"/>
                    <a:gd name="T2" fmla="*/ 2147483647 w 70"/>
                    <a:gd name="T3" fmla="*/ 2147483647 h 105"/>
                    <a:gd name="T4" fmla="*/ 2147483647 w 70"/>
                    <a:gd name="T5" fmla="*/ 2147483647 h 105"/>
                    <a:gd name="T6" fmla="*/ 2147483647 w 70"/>
                    <a:gd name="T7" fmla="*/ 0 h 105"/>
                    <a:gd name="T8" fmla="*/ 2147483647 w 70"/>
                    <a:gd name="T9" fmla="*/ 2147483647 h 105"/>
                    <a:gd name="T10" fmla="*/ 2147483647 w 70"/>
                    <a:gd name="T11" fmla="*/ 2147483647 h 105"/>
                    <a:gd name="T12" fmla="*/ 2147483647 w 70"/>
                    <a:gd name="T13" fmla="*/ 2147483647 h 105"/>
                    <a:gd name="T14" fmla="*/ 0 w 70"/>
                    <a:gd name="T15" fmla="*/ 2147483647 h 105"/>
                    <a:gd name="T16" fmla="*/ 2147483647 w 70"/>
                    <a:gd name="T17" fmla="*/ 2147483647 h 105"/>
                    <a:gd name="T18" fmla="*/ 2147483647 w 70"/>
                    <a:gd name="T19" fmla="*/ 2147483647 h 105"/>
                    <a:gd name="T20" fmla="*/ 2147483647 w 70"/>
                    <a:gd name="T21" fmla="*/ 2147483647 h 105"/>
                    <a:gd name="T22" fmla="*/ 2147483647 w 70"/>
                    <a:gd name="T23" fmla="*/ 2147483647 h 105"/>
                    <a:gd name="T24" fmla="*/ 2147483647 w 70"/>
                    <a:gd name="T25" fmla="*/ 2147483647 h 105"/>
                    <a:gd name="T26" fmla="*/ 2147483647 w 70"/>
                    <a:gd name="T27" fmla="*/ 2147483647 h 105"/>
                    <a:gd name="T28" fmla="*/ 2147483647 w 70"/>
                    <a:gd name="T29" fmla="*/ 2147483647 h 105"/>
                    <a:gd name="T30" fmla="*/ 2147483647 w 70"/>
                    <a:gd name="T31" fmla="*/ 2147483647 h 105"/>
                    <a:gd name="T32" fmla="*/ 2147483647 w 70"/>
                    <a:gd name="T33" fmla="*/ 2147483647 h 105"/>
                    <a:gd name="T34" fmla="*/ 2147483647 w 70"/>
                    <a:gd name="T35" fmla="*/ 2147483647 h 105"/>
                    <a:gd name="T36" fmla="*/ 2147483647 w 70"/>
                    <a:gd name="T37" fmla="*/ 2147483647 h 105"/>
                    <a:gd name="T38" fmla="*/ 2147483647 w 70"/>
                    <a:gd name="T39" fmla="*/ 2147483647 h 105"/>
                    <a:gd name="T40" fmla="*/ 2147483647 w 70"/>
                    <a:gd name="T41" fmla="*/ 2147483647 h 10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70"/>
                    <a:gd name="T64" fmla="*/ 0 h 105"/>
                    <a:gd name="T65" fmla="*/ 70 w 70"/>
                    <a:gd name="T66" fmla="*/ 105 h 10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70" h="105">
                      <a:moveTo>
                        <a:pt x="70" y="18"/>
                      </a:moveTo>
                      <a:lnTo>
                        <a:pt x="62" y="18"/>
                      </a:lnTo>
                      <a:lnTo>
                        <a:pt x="70" y="9"/>
                      </a:lnTo>
                      <a:lnTo>
                        <a:pt x="70" y="0"/>
                      </a:lnTo>
                      <a:lnTo>
                        <a:pt x="53" y="9"/>
                      </a:lnTo>
                      <a:lnTo>
                        <a:pt x="44" y="26"/>
                      </a:lnTo>
                      <a:lnTo>
                        <a:pt x="18" y="35"/>
                      </a:lnTo>
                      <a:lnTo>
                        <a:pt x="0" y="52"/>
                      </a:lnTo>
                      <a:lnTo>
                        <a:pt x="18" y="79"/>
                      </a:lnTo>
                      <a:lnTo>
                        <a:pt x="9" y="87"/>
                      </a:lnTo>
                      <a:lnTo>
                        <a:pt x="44" y="105"/>
                      </a:lnTo>
                      <a:lnTo>
                        <a:pt x="62" y="96"/>
                      </a:lnTo>
                      <a:lnTo>
                        <a:pt x="70" y="87"/>
                      </a:lnTo>
                      <a:lnTo>
                        <a:pt x="62" y="70"/>
                      </a:lnTo>
                      <a:lnTo>
                        <a:pt x="44" y="70"/>
                      </a:lnTo>
                      <a:lnTo>
                        <a:pt x="44" y="52"/>
                      </a:lnTo>
                      <a:lnTo>
                        <a:pt x="62" y="52"/>
                      </a:lnTo>
                      <a:lnTo>
                        <a:pt x="62" y="35"/>
                      </a:lnTo>
                      <a:lnTo>
                        <a:pt x="62" y="26"/>
                      </a:lnTo>
                      <a:lnTo>
                        <a:pt x="7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6" name="Freeform 482"/>
                <p:cNvSpPr>
                  <a:spLocks/>
                </p:cNvSpPr>
                <p:nvPr/>
              </p:nvSpPr>
              <p:spPr bwMode="auto">
                <a:xfrm>
                  <a:off x="6444609" y="2034715"/>
                  <a:ext cx="65349" cy="84599"/>
                </a:xfrm>
                <a:custGeom>
                  <a:avLst/>
                  <a:gdLst>
                    <a:gd name="T0" fmla="*/ 2147483647 w 61"/>
                    <a:gd name="T1" fmla="*/ 2147483647 h 79"/>
                    <a:gd name="T2" fmla="*/ 0 w 61"/>
                    <a:gd name="T3" fmla="*/ 2147483647 h 79"/>
                    <a:gd name="T4" fmla="*/ 0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2147483647 h 79"/>
                    <a:gd name="T18" fmla="*/ 2147483647 w 61"/>
                    <a:gd name="T19" fmla="*/ 2147483647 h 79"/>
                    <a:gd name="T20" fmla="*/ 2147483647 w 61"/>
                    <a:gd name="T21" fmla="*/ 2147483647 h 79"/>
                    <a:gd name="T22" fmla="*/ 2147483647 w 61"/>
                    <a:gd name="T23" fmla="*/ 0 h 79"/>
                    <a:gd name="T24" fmla="*/ 2147483647 w 61"/>
                    <a:gd name="T25" fmla="*/ 2147483647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1"/>
                    <a:gd name="T40" fmla="*/ 0 h 79"/>
                    <a:gd name="T41" fmla="*/ 61 w 61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1" h="79">
                      <a:moveTo>
                        <a:pt x="18" y="9"/>
                      </a:moveTo>
                      <a:lnTo>
                        <a:pt x="0" y="18"/>
                      </a:lnTo>
                      <a:lnTo>
                        <a:pt x="0" y="26"/>
                      </a:lnTo>
                      <a:lnTo>
                        <a:pt x="26" y="44"/>
                      </a:lnTo>
                      <a:lnTo>
                        <a:pt x="26" y="70"/>
                      </a:lnTo>
                      <a:lnTo>
                        <a:pt x="35" y="79"/>
                      </a:lnTo>
                      <a:lnTo>
                        <a:pt x="44" y="70"/>
                      </a:lnTo>
                      <a:lnTo>
                        <a:pt x="52" y="70"/>
                      </a:lnTo>
                      <a:lnTo>
                        <a:pt x="61" y="61"/>
                      </a:lnTo>
                      <a:lnTo>
                        <a:pt x="52" y="18"/>
                      </a:lnTo>
                      <a:lnTo>
                        <a:pt x="44" y="18"/>
                      </a:lnTo>
                      <a:lnTo>
                        <a:pt x="26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7" name="Freeform 483"/>
                <p:cNvSpPr>
                  <a:spLocks/>
                </p:cNvSpPr>
                <p:nvPr/>
              </p:nvSpPr>
              <p:spPr bwMode="auto">
                <a:xfrm>
                  <a:off x="6444607" y="2034716"/>
                  <a:ext cx="65349" cy="84599"/>
                </a:xfrm>
                <a:custGeom>
                  <a:avLst/>
                  <a:gdLst>
                    <a:gd name="T0" fmla="*/ 2147483647 w 61"/>
                    <a:gd name="T1" fmla="*/ 2147483647 h 79"/>
                    <a:gd name="T2" fmla="*/ 0 w 61"/>
                    <a:gd name="T3" fmla="*/ 2147483647 h 79"/>
                    <a:gd name="T4" fmla="*/ 0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2147483647 h 79"/>
                    <a:gd name="T18" fmla="*/ 2147483647 w 61"/>
                    <a:gd name="T19" fmla="*/ 2147483647 h 79"/>
                    <a:gd name="T20" fmla="*/ 2147483647 w 61"/>
                    <a:gd name="T21" fmla="*/ 2147483647 h 79"/>
                    <a:gd name="T22" fmla="*/ 2147483647 w 61"/>
                    <a:gd name="T23" fmla="*/ 0 h 79"/>
                    <a:gd name="T24" fmla="*/ 2147483647 w 61"/>
                    <a:gd name="T25" fmla="*/ 2147483647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1"/>
                    <a:gd name="T40" fmla="*/ 0 h 79"/>
                    <a:gd name="T41" fmla="*/ 61 w 61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1" h="79">
                      <a:moveTo>
                        <a:pt x="18" y="9"/>
                      </a:moveTo>
                      <a:lnTo>
                        <a:pt x="0" y="18"/>
                      </a:lnTo>
                      <a:lnTo>
                        <a:pt x="0" y="26"/>
                      </a:lnTo>
                      <a:lnTo>
                        <a:pt x="26" y="44"/>
                      </a:lnTo>
                      <a:lnTo>
                        <a:pt x="26" y="70"/>
                      </a:lnTo>
                      <a:lnTo>
                        <a:pt x="35" y="79"/>
                      </a:lnTo>
                      <a:lnTo>
                        <a:pt x="44" y="70"/>
                      </a:lnTo>
                      <a:lnTo>
                        <a:pt x="52" y="70"/>
                      </a:lnTo>
                      <a:lnTo>
                        <a:pt x="61" y="61"/>
                      </a:lnTo>
                      <a:lnTo>
                        <a:pt x="52" y="18"/>
                      </a:lnTo>
                      <a:lnTo>
                        <a:pt x="44" y="18"/>
                      </a:lnTo>
                      <a:lnTo>
                        <a:pt x="26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8" name="Freeform 484"/>
                <p:cNvSpPr>
                  <a:spLocks/>
                </p:cNvSpPr>
                <p:nvPr/>
              </p:nvSpPr>
              <p:spPr bwMode="auto">
                <a:xfrm>
                  <a:off x="6491743" y="2127881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0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9" name="Freeform 485"/>
                <p:cNvSpPr>
                  <a:spLocks/>
                </p:cNvSpPr>
                <p:nvPr/>
              </p:nvSpPr>
              <p:spPr bwMode="auto">
                <a:xfrm>
                  <a:off x="6491744" y="2127881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0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0" name="Freeform 486"/>
                <p:cNvSpPr>
                  <a:spLocks/>
                </p:cNvSpPr>
                <p:nvPr/>
              </p:nvSpPr>
              <p:spPr bwMode="auto">
                <a:xfrm>
                  <a:off x="6388900" y="2361330"/>
                  <a:ext cx="55707" cy="74961"/>
                </a:xfrm>
                <a:custGeom>
                  <a:avLst/>
                  <a:gdLst>
                    <a:gd name="T0" fmla="*/ 2147483647 w 52"/>
                    <a:gd name="T1" fmla="*/ 0 h 70"/>
                    <a:gd name="T2" fmla="*/ 0 w 52"/>
                    <a:gd name="T3" fmla="*/ 2147483647 h 70"/>
                    <a:gd name="T4" fmla="*/ 2147483647 w 52"/>
                    <a:gd name="T5" fmla="*/ 2147483647 h 70"/>
                    <a:gd name="T6" fmla="*/ 2147483647 w 52"/>
                    <a:gd name="T7" fmla="*/ 2147483647 h 70"/>
                    <a:gd name="T8" fmla="*/ 2147483647 w 52"/>
                    <a:gd name="T9" fmla="*/ 2147483647 h 70"/>
                    <a:gd name="T10" fmla="*/ 2147483647 w 52"/>
                    <a:gd name="T11" fmla="*/ 2147483647 h 70"/>
                    <a:gd name="T12" fmla="*/ 2147483647 w 52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70"/>
                    <a:gd name="T23" fmla="*/ 52 w 52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70">
                      <a:moveTo>
                        <a:pt x="8" y="0"/>
                      </a:moveTo>
                      <a:lnTo>
                        <a:pt x="0" y="27"/>
                      </a:lnTo>
                      <a:lnTo>
                        <a:pt x="8" y="61"/>
                      </a:lnTo>
                      <a:lnTo>
                        <a:pt x="26" y="70"/>
                      </a:lnTo>
                      <a:lnTo>
                        <a:pt x="52" y="53"/>
                      </a:lnTo>
                      <a:lnTo>
                        <a:pt x="35" y="1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1" name="Freeform 487"/>
                <p:cNvSpPr>
                  <a:spLocks/>
                </p:cNvSpPr>
                <p:nvPr/>
              </p:nvSpPr>
              <p:spPr bwMode="auto">
                <a:xfrm>
                  <a:off x="6388899" y="2361330"/>
                  <a:ext cx="55707" cy="74961"/>
                </a:xfrm>
                <a:custGeom>
                  <a:avLst/>
                  <a:gdLst>
                    <a:gd name="T0" fmla="*/ 2147483647 w 52"/>
                    <a:gd name="T1" fmla="*/ 0 h 70"/>
                    <a:gd name="T2" fmla="*/ 0 w 52"/>
                    <a:gd name="T3" fmla="*/ 2147483647 h 70"/>
                    <a:gd name="T4" fmla="*/ 2147483647 w 52"/>
                    <a:gd name="T5" fmla="*/ 2147483647 h 70"/>
                    <a:gd name="T6" fmla="*/ 2147483647 w 52"/>
                    <a:gd name="T7" fmla="*/ 2147483647 h 70"/>
                    <a:gd name="T8" fmla="*/ 2147483647 w 52"/>
                    <a:gd name="T9" fmla="*/ 2147483647 h 70"/>
                    <a:gd name="T10" fmla="*/ 2147483647 w 52"/>
                    <a:gd name="T11" fmla="*/ 2147483647 h 70"/>
                    <a:gd name="T12" fmla="*/ 2147483647 w 52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70"/>
                    <a:gd name="T23" fmla="*/ 52 w 52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70">
                      <a:moveTo>
                        <a:pt x="8" y="0"/>
                      </a:moveTo>
                      <a:lnTo>
                        <a:pt x="0" y="27"/>
                      </a:lnTo>
                      <a:lnTo>
                        <a:pt x="8" y="61"/>
                      </a:lnTo>
                      <a:lnTo>
                        <a:pt x="26" y="70"/>
                      </a:lnTo>
                      <a:lnTo>
                        <a:pt x="52" y="53"/>
                      </a:lnTo>
                      <a:lnTo>
                        <a:pt x="35" y="1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2" name="Freeform 492"/>
                <p:cNvSpPr>
                  <a:spLocks/>
                </p:cNvSpPr>
                <p:nvPr/>
              </p:nvSpPr>
              <p:spPr bwMode="auto">
                <a:xfrm>
                  <a:off x="5080858" y="2426654"/>
                  <a:ext cx="177834" cy="130646"/>
                </a:xfrm>
                <a:custGeom>
                  <a:avLst/>
                  <a:gdLst>
                    <a:gd name="T0" fmla="*/ 2147483647 w 166"/>
                    <a:gd name="T1" fmla="*/ 2147483647 h 122"/>
                    <a:gd name="T2" fmla="*/ 2147483647 w 166"/>
                    <a:gd name="T3" fmla="*/ 2147483647 h 122"/>
                    <a:gd name="T4" fmla="*/ 2147483647 w 166"/>
                    <a:gd name="T5" fmla="*/ 2147483647 h 122"/>
                    <a:gd name="T6" fmla="*/ 2147483647 w 166"/>
                    <a:gd name="T7" fmla="*/ 2147483647 h 122"/>
                    <a:gd name="T8" fmla="*/ 0 w 166"/>
                    <a:gd name="T9" fmla="*/ 2147483647 h 122"/>
                    <a:gd name="T10" fmla="*/ 2147483647 w 166"/>
                    <a:gd name="T11" fmla="*/ 2147483647 h 122"/>
                    <a:gd name="T12" fmla="*/ 2147483647 w 166"/>
                    <a:gd name="T13" fmla="*/ 2147483647 h 122"/>
                    <a:gd name="T14" fmla="*/ 2147483647 w 166"/>
                    <a:gd name="T15" fmla="*/ 2147483647 h 122"/>
                    <a:gd name="T16" fmla="*/ 2147483647 w 166"/>
                    <a:gd name="T17" fmla="*/ 2147483647 h 122"/>
                    <a:gd name="T18" fmla="*/ 2147483647 w 166"/>
                    <a:gd name="T19" fmla="*/ 2147483647 h 122"/>
                    <a:gd name="T20" fmla="*/ 2147483647 w 166"/>
                    <a:gd name="T21" fmla="*/ 0 h 122"/>
                    <a:gd name="T22" fmla="*/ 2147483647 w 166"/>
                    <a:gd name="T23" fmla="*/ 2147483647 h 122"/>
                    <a:gd name="T24" fmla="*/ 2147483647 w 166"/>
                    <a:gd name="T25" fmla="*/ 2147483647 h 12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66"/>
                    <a:gd name="T40" fmla="*/ 0 h 122"/>
                    <a:gd name="T41" fmla="*/ 166 w 166"/>
                    <a:gd name="T42" fmla="*/ 122 h 12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66" h="122">
                      <a:moveTo>
                        <a:pt x="61" y="44"/>
                      </a:moveTo>
                      <a:lnTo>
                        <a:pt x="26" y="18"/>
                      </a:lnTo>
                      <a:lnTo>
                        <a:pt x="9" y="27"/>
                      </a:lnTo>
                      <a:lnTo>
                        <a:pt x="9" y="44"/>
                      </a:lnTo>
                      <a:lnTo>
                        <a:pt x="0" y="53"/>
                      </a:lnTo>
                      <a:lnTo>
                        <a:pt x="18" y="114"/>
                      </a:lnTo>
                      <a:lnTo>
                        <a:pt x="18" y="122"/>
                      </a:lnTo>
                      <a:lnTo>
                        <a:pt x="113" y="79"/>
                      </a:lnTo>
                      <a:lnTo>
                        <a:pt x="157" y="61"/>
                      </a:lnTo>
                      <a:lnTo>
                        <a:pt x="166" y="44"/>
                      </a:lnTo>
                      <a:lnTo>
                        <a:pt x="157" y="0"/>
                      </a:lnTo>
                      <a:lnTo>
                        <a:pt x="87" y="9"/>
                      </a:lnTo>
                      <a:lnTo>
                        <a:pt x="61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3" name="Freeform 493"/>
                <p:cNvSpPr>
                  <a:spLocks/>
                </p:cNvSpPr>
                <p:nvPr/>
              </p:nvSpPr>
              <p:spPr bwMode="auto">
                <a:xfrm>
                  <a:off x="5080858" y="2426654"/>
                  <a:ext cx="177834" cy="130646"/>
                </a:xfrm>
                <a:custGeom>
                  <a:avLst/>
                  <a:gdLst>
                    <a:gd name="T0" fmla="*/ 2147483647 w 166"/>
                    <a:gd name="T1" fmla="*/ 2147483647 h 122"/>
                    <a:gd name="T2" fmla="*/ 2147483647 w 166"/>
                    <a:gd name="T3" fmla="*/ 2147483647 h 122"/>
                    <a:gd name="T4" fmla="*/ 2147483647 w 166"/>
                    <a:gd name="T5" fmla="*/ 2147483647 h 122"/>
                    <a:gd name="T6" fmla="*/ 2147483647 w 166"/>
                    <a:gd name="T7" fmla="*/ 2147483647 h 122"/>
                    <a:gd name="T8" fmla="*/ 0 w 166"/>
                    <a:gd name="T9" fmla="*/ 2147483647 h 122"/>
                    <a:gd name="T10" fmla="*/ 2147483647 w 166"/>
                    <a:gd name="T11" fmla="*/ 2147483647 h 122"/>
                    <a:gd name="T12" fmla="*/ 2147483647 w 166"/>
                    <a:gd name="T13" fmla="*/ 2147483647 h 122"/>
                    <a:gd name="T14" fmla="*/ 2147483647 w 166"/>
                    <a:gd name="T15" fmla="*/ 2147483647 h 122"/>
                    <a:gd name="T16" fmla="*/ 2147483647 w 166"/>
                    <a:gd name="T17" fmla="*/ 2147483647 h 122"/>
                    <a:gd name="T18" fmla="*/ 2147483647 w 166"/>
                    <a:gd name="T19" fmla="*/ 2147483647 h 122"/>
                    <a:gd name="T20" fmla="*/ 2147483647 w 166"/>
                    <a:gd name="T21" fmla="*/ 0 h 122"/>
                    <a:gd name="T22" fmla="*/ 2147483647 w 166"/>
                    <a:gd name="T23" fmla="*/ 2147483647 h 122"/>
                    <a:gd name="T24" fmla="*/ 2147483647 w 166"/>
                    <a:gd name="T25" fmla="*/ 2147483647 h 12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66"/>
                    <a:gd name="T40" fmla="*/ 0 h 122"/>
                    <a:gd name="T41" fmla="*/ 166 w 166"/>
                    <a:gd name="T42" fmla="*/ 122 h 12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66" h="122">
                      <a:moveTo>
                        <a:pt x="61" y="44"/>
                      </a:moveTo>
                      <a:lnTo>
                        <a:pt x="26" y="18"/>
                      </a:lnTo>
                      <a:lnTo>
                        <a:pt x="9" y="27"/>
                      </a:lnTo>
                      <a:lnTo>
                        <a:pt x="9" y="44"/>
                      </a:lnTo>
                      <a:lnTo>
                        <a:pt x="0" y="53"/>
                      </a:lnTo>
                      <a:lnTo>
                        <a:pt x="18" y="114"/>
                      </a:lnTo>
                      <a:lnTo>
                        <a:pt x="18" y="122"/>
                      </a:lnTo>
                      <a:lnTo>
                        <a:pt x="113" y="79"/>
                      </a:lnTo>
                      <a:lnTo>
                        <a:pt x="157" y="61"/>
                      </a:lnTo>
                      <a:lnTo>
                        <a:pt x="166" y="44"/>
                      </a:lnTo>
                      <a:lnTo>
                        <a:pt x="157" y="0"/>
                      </a:lnTo>
                      <a:lnTo>
                        <a:pt x="87" y="9"/>
                      </a:lnTo>
                      <a:lnTo>
                        <a:pt x="61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4" name="Freeform 494"/>
                <p:cNvSpPr>
                  <a:spLocks/>
                </p:cNvSpPr>
                <p:nvPr/>
              </p:nvSpPr>
              <p:spPr bwMode="auto">
                <a:xfrm>
                  <a:off x="5249050" y="2305646"/>
                  <a:ext cx="130697" cy="168127"/>
                </a:xfrm>
                <a:custGeom>
                  <a:avLst/>
                  <a:gdLst>
                    <a:gd name="T0" fmla="*/ 2147483647 w 122"/>
                    <a:gd name="T1" fmla="*/ 2147483647 h 157"/>
                    <a:gd name="T2" fmla="*/ 2147483647 w 122"/>
                    <a:gd name="T3" fmla="*/ 2147483647 h 157"/>
                    <a:gd name="T4" fmla="*/ 2147483647 w 122"/>
                    <a:gd name="T5" fmla="*/ 0 h 157"/>
                    <a:gd name="T6" fmla="*/ 2147483647 w 122"/>
                    <a:gd name="T7" fmla="*/ 2147483647 h 157"/>
                    <a:gd name="T8" fmla="*/ 2147483647 w 122"/>
                    <a:gd name="T9" fmla="*/ 2147483647 h 157"/>
                    <a:gd name="T10" fmla="*/ 2147483647 w 122"/>
                    <a:gd name="T11" fmla="*/ 2147483647 h 157"/>
                    <a:gd name="T12" fmla="*/ 0 w 122"/>
                    <a:gd name="T13" fmla="*/ 2147483647 h 157"/>
                    <a:gd name="T14" fmla="*/ 2147483647 w 122"/>
                    <a:gd name="T15" fmla="*/ 2147483647 h 157"/>
                    <a:gd name="T16" fmla="*/ 2147483647 w 122"/>
                    <a:gd name="T17" fmla="*/ 2147483647 h 157"/>
                    <a:gd name="T18" fmla="*/ 2147483647 w 122"/>
                    <a:gd name="T19" fmla="*/ 2147483647 h 157"/>
                    <a:gd name="T20" fmla="*/ 2147483647 w 122"/>
                    <a:gd name="T21" fmla="*/ 2147483647 h 157"/>
                    <a:gd name="T22" fmla="*/ 2147483647 w 122"/>
                    <a:gd name="T23" fmla="*/ 2147483647 h 157"/>
                    <a:gd name="T24" fmla="*/ 2147483647 w 122"/>
                    <a:gd name="T25" fmla="*/ 2147483647 h 157"/>
                    <a:gd name="T26" fmla="*/ 2147483647 w 122"/>
                    <a:gd name="T27" fmla="*/ 2147483647 h 15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22"/>
                    <a:gd name="T43" fmla="*/ 0 h 157"/>
                    <a:gd name="T44" fmla="*/ 122 w 122"/>
                    <a:gd name="T45" fmla="*/ 157 h 15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22" h="157">
                      <a:moveTo>
                        <a:pt x="122" y="44"/>
                      </a:moveTo>
                      <a:lnTo>
                        <a:pt x="78" y="26"/>
                      </a:lnTo>
                      <a:lnTo>
                        <a:pt x="61" y="0"/>
                      </a:lnTo>
                      <a:lnTo>
                        <a:pt x="44" y="44"/>
                      </a:lnTo>
                      <a:lnTo>
                        <a:pt x="52" y="52"/>
                      </a:lnTo>
                      <a:lnTo>
                        <a:pt x="26" y="96"/>
                      </a:lnTo>
                      <a:lnTo>
                        <a:pt x="0" y="113"/>
                      </a:lnTo>
                      <a:lnTo>
                        <a:pt x="9" y="157"/>
                      </a:lnTo>
                      <a:lnTo>
                        <a:pt x="44" y="148"/>
                      </a:lnTo>
                      <a:lnTo>
                        <a:pt x="44" y="131"/>
                      </a:lnTo>
                      <a:lnTo>
                        <a:pt x="61" y="131"/>
                      </a:lnTo>
                      <a:lnTo>
                        <a:pt x="70" y="122"/>
                      </a:lnTo>
                      <a:lnTo>
                        <a:pt x="87" y="113"/>
                      </a:lnTo>
                      <a:lnTo>
                        <a:pt x="122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5" name="Freeform 495"/>
                <p:cNvSpPr>
                  <a:spLocks/>
                </p:cNvSpPr>
                <p:nvPr/>
              </p:nvSpPr>
              <p:spPr bwMode="auto">
                <a:xfrm>
                  <a:off x="5249050" y="2305646"/>
                  <a:ext cx="130697" cy="168127"/>
                </a:xfrm>
                <a:custGeom>
                  <a:avLst/>
                  <a:gdLst>
                    <a:gd name="T0" fmla="*/ 2147483647 w 122"/>
                    <a:gd name="T1" fmla="*/ 2147483647 h 157"/>
                    <a:gd name="T2" fmla="*/ 2147483647 w 122"/>
                    <a:gd name="T3" fmla="*/ 2147483647 h 157"/>
                    <a:gd name="T4" fmla="*/ 2147483647 w 122"/>
                    <a:gd name="T5" fmla="*/ 0 h 157"/>
                    <a:gd name="T6" fmla="*/ 2147483647 w 122"/>
                    <a:gd name="T7" fmla="*/ 2147483647 h 157"/>
                    <a:gd name="T8" fmla="*/ 2147483647 w 122"/>
                    <a:gd name="T9" fmla="*/ 2147483647 h 157"/>
                    <a:gd name="T10" fmla="*/ 2147483647 w 122"/>
                    <a:gd name="T11" fmla="*/ 2147483647 h 157"/>
                    <a:gd name="T12" fmla="*/ 0 w 122"/>
                    <a:gd name="T13" fmla="*/ 2147483647 h 157"/>
                    <a:gd name="T14" fmla="*/ 2147483647 w 122"/>
                    <a:gd name="T15" fmla="*/ 2147483647 h 157"/>
                    <a:gd name="T16" fmla="*/ 2147483647 w 122"/>
                    <a:gd name="T17" fmla="*/ 2147483647 h 157"/>
                    <a:gd name="T18" fmla="*/ 2147483647 w 122"/>
                    <a:gd name="T19" fmla="*/ 2147483647 h 157"/>
                    <a:gd name="T20" fmla="*/ 2147483647 w 122"/>
                    <a:gd name="T21" fmla="*/ 2147483647 h 157"/>
                    <a:gd name="T22" fmla="*/ 2147483647 w 122"/>
                    <a:gd name="T23" fmla="*/ 2147483647 h 157"/>
                    <a:gd name="T24" fmla="*/ 2147483647 w 122"/>
                    <a:gd name="T25" fmla="*/ 2147483647 h 157"/>
                    <a:gd name="T26" fmla="*/ 2147483647 w 122"/>
                    <a:gd name="T27" fmla="*/ 2147483647 h 15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22"/>
                    <a:gd name="T43" fmla="*/ 0 h 157"/>
                    <a:gd name="T44" fmla="*/ 122 w 122"/>
                    <a:gd name="T45" fmla="*/ 157 h 15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22" h="157">
                      <a:moveTo>
                        <a:pt x="122" y="44"/>
                      </a:moveTo>
                      <a:lnTo>
                        <a:pt x="78" y="26"/>
                      </a:lnTo>
                      <a:lnTo>
                        <a:pt x="61" y="0"/>
                      </a:lnTo>
                      <a:lnTo>
                        <a:pt x="44" y="44"/>
                      </a:lnTo>
                      <a:lnTo>
                        <a:pt x="52" y="52"/>
                      </a:lnTo>
                      <a:lnTo>
                        <a:pt x="26" y="96"/>
                      </a:lnTo>
                      <a:lnTo>
                        <a:pt x="0" y="113"/>
                      </a:lnTo>
                      <a:lnTo>
                        <a:pt x="9" y="157"/>
                      </a:lnTo>
                      <a:lnTo>
                        <a:pt x="44" y="148"/>
                      </a:lnTo>
                      <a:lnTo>
                        <a:pt x="44" y="131"/>
                      </a:lnTo>
                      <a:lnTo>
                        <a:pt x="61" y="131"/>
                      </a:lnTo>
                      <a:lnTo>
                        <a:pt x="70" y="122"/>
                      </a:lnTo>
                      <a:lnTo>
                        <a:pt x="87" y="113"/>
                      </a:lnTo>
                      <a:lnTo>
                        <a:pt x="122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6" name="Freeform 496"/>
                <p:cNvSpPr>
                  <a:spLocks/>
                </p:cNvSpPr>
                <p:nvPr/>
              </p:nvSpPr>
              <p:spPr bwMode="auto">
                <a:xfrm>
                  <a:off x="4931949" y="2165362"/>
                  <a:ext cx="372808" cy="318047"/>
                </a:xfrm>
                <a:custGeom>
                  <a:avLst/>
                  <a:gdLst>
                    <a:gd name="T0" fmla="*/ 2147483647 w 348"/>
                    <a:gd name="T1" fmla="*/ 2147483647 h 297"/>
                    <a:gd name="T2" fmla="*/ 2147483647 w 348"/>
                    <a:gd name="T3" fmla="*/ 2147483647 h 297"/>
                    <a:gd name="T4" fmla="*/ 0 w 348"/>
                    <a:gd name="T5" fmla="*/ 2147483647 h 297"/>
                    <a:gd name="T6" fmla="*/ 0 w 348"/>
                    <a:gd name="T7" fmla="*/ 2147483647 h 297"/>
                    <a:gd name="T8" fmla="*/ 2147483647 w 348"/>
                    <a:gd name="T9" fmla="*/ 2147483647 h 297"/>
                    <a:gd name="T10" fmla="*/ 2147483647 w 348"/>
                    <a:gd name="T11" fmla="*/ 2147483647 h 297"/>
                    <a:gd name="T12" fmla="*/ 2147483647 w 348"/>
                    <a:gd name="T13" fmla="*/ 2147483647 h 297"/>
                    <a:gd name="T14" fmla="*/ 2147483647 w 348"/>
                    <a:gd name="T15" fmla="*/ 2147483647 h 297"/>
                    <a:gd name="T16" fmla="*/ 2147483647 w 348"/>
                    <a:gd name="T17" fmla="*/ 2147483647 h 297"/>
                    <a:gd name="T18" fmla="*/ 2147483647 w 348"/>
                    <a:gd name="T19" fmla="*/ 2147483647 h 297"/>
                    <a:gd name="T20" fmla="*/ 2147483647 w 348"/>
                    <a:gd name="T21" fmla="*/ 2147483647 h 297"/>
                    <a:gd name="T22" fmla="*/ 2147483647 w 348"/>
                    <a:gd name="T23" fmla="*/ 2147483647 h 297"/>
                    <a:gd name="T24" fmla="*/ 2147483647 w 348"/>
                    <a:gd name="T25" fmla="*/ 2147483647 h 297"/>
                    <a:gd name="T26" fmla="*/ 2147483647 w 348"/>
                    <a:gd name="T27" fmla="*/ 2147483647 h 297"/>
                    <a:gd name="T28" fmla="*/ 2147483647 w 348"/>
                    <a:gd name="T29" fmla="*/ 2147483647 h 297"/>
                    <a:gd name="T30" fmla="*/ 2147483647 w 348"/>
                    <a:gd name="T31" fmla="*/ 2147483647 h 297"/>
                    <a:gd name="T32" fmla="*/ 2147483647 w 348"/>
                    <a:gd name="T33" fmla="*/ 2147483647 h 297"/>
                    <a:gd name="T34" fmla="*/ 2147483647 w 348"/>
                    <a:gd name="T35" fmla="*/ 2147483647 h 297"/>
                    <a:gd name="T36" fmla="*/ 2147483647 w 348"/>
                    <a:gd name="T37" fmla="*/ 2147483647 h 297"/>
                    <a:gd name="T38" fmla="*/ 2147483647 w 348"/>
                    <a:gd name="T39" fmla="*/ 2147483647 h 297"/>
                    <a:gd name="T40" fmla="*/ 2147483647 w 348"/>
                    <a:gd name="T41" fmla="*/ 2147483647 h 297"/>
                    <a:gd name="T42" fmla="*/ 2147483647 w 348"/>
                    <a:gd name="T43" fmla="*/ 2147483647 h 297"/>
                    <a:gd name="T44" fmla="*/ 2147483647 w 348"/>
                    <a:gd name="T45" fmla="*/ 2147483647 h 297"/>
                    <a:gd name="T46" fmla="*/ 2147483647 w 348"/>
                    <a:gd name="T47" fmla="*/ 2147483647 h 297"/>
                    <a:gd name="T48" fmla="*/ 2147483647 w 348"/>
                    <a:gd name="T49" fmla="*/ 2147483647 h 297"/>
                    <a:gd name="T50" fmla="*/ 2147483647 w 348"/>
                    <a:gd name="T51" fmla="*/ 2147483647 h 297"/>
                    <a:gd name="T52" fmla="*/ 2147483647 w 348"/>
                    <a:gd name="T53" fmla="*/ 2147483647 h 297"/>
                    <a:gd name="T54" fmla="*/ 2147483647 w 348"/>
                    <a:gd name="T55" fmla="*/ 2147483647 h 297"/>
                    <a:gd name="T56" fmla="*/ 2147483647 w 348"/>
                    <a:gd name="T57" fmla="*/ 2147483647 h 297"/>
                    <a:gd name="T58" fmla="*/ 2147483647 w 348"/>
                    <a:gd name="T59" fmla="*/ 2147483647 h 297"/>
                    <a:gd name="T60" fmla="*/ 2147483647 w 348"/>
                    <a:gd name="T61" fmla="*/ 0 h 297"/>
                    <a:gd name="T62" fmla="*/ 2147483647 w 348"/>
                    <a:gd name="T63" fmla="*/ 2147483647 h 297"/>
                    <a:gd name="T64" fmla="*/ 2147483647 w 348"/>
                    <a:gd name="T65" fmla="*/ 2147483647 h 297"/>
                    <a:gd name="T66" fmla="*/ 2147483647 w 348"/>
                    <a:gd name="T67" fmla="*/ 2147483647 h 297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48"/>
                    <a:gd name="T103" fmla="*/ 0 h 297"/>
                    <a:gd name="T104" fmla="*/ 348 w 348"/>
                    <a:gd name="T105" fmla="*/ 297 h 297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48" h="297">
                      <a:moveTo>
                        <a:pt x="34" y="35"/>
                      </a:moveTo>
                      <a:lnTo>
                        <a:pt x="17" y="61"/>
                      </a:lnTo>
                      <a:lnTo>
                        <a:pt x="0" y="53"/>
                      </a:lnTo>
                      <a:lnTo>
                        <a:pt x="0" y="79"/>
                      </a:lnTo>
                      <a:lnTo>
                        <a:pt x="26" y="131"/>
                      </a:lnTo>
                      <a:lnTo>
                        <a:pt x="69" y="175"/>
                      </a:lnTo>
                      <a:lnTo>
                        <a:pt x="69" y="192"/>
                      </a:lnTo>
                      <a:lnTo>
                        <a:pt x="95" y="236"/>
                      </a:lnTo>
                      <a:lnTo>
                        <a:pt x="139" y="297"/>
                      </a:lnTo>
                      <a:lnTo>
                        <a:pt x="148" y="288"/>
                      </a:lnTo>
                      <a:lnTo>
                        <a:pt x="148" y="271"/>
                      </a:lnTo>
                      <a:lnTo>
                        <a:pt x="165" y="262"/>
                      </a:lnTo>
                      <a:lnTo>
                        <a:pt x="200" y="288"/>
                      </a:lnTo>
                      <a:lnTo>
                        <a:pt x="226" y="253"/>
                      </a:lnTo>
                      <a:lnTo>
                        <a:pt x="296" y="244"/>
                      </a:lnTo>
                      <a:lnTo>
                        <a:pt x="322" y="227"/>
                      </a:lnTo>
                      <a:lnTo>
                        <a:pt x="348" y="183"/>
                      </a:lnTo>
                      <a:lnTo>
                        <a:pt x="340" y="175"/>
                      </a:lnTo>
                      <a:lnTo>
                        <a:pt x="331" y="175"/>
                      </a:lnTo>
                      <a:lnTo>
                        <a:pt x="279" y="175"/>
                      </a:lnTo>
                      <a:lnTo>
                        <a:pt x="270" y="149"/>
                      </a:lnTo>
                      <a:lnTo>
                        <a:pt x="261" y="140"/>
                      </a:lnTo>
                      <a:lnTo>
                        <a:pt x="252" y="131"/>
                      </a:lnTo>
                      <a:lnTo>
                        <a:pt x="252" y="105"/>
                      </a:lnTo>
                      <a:lnTo>
                        <a:pt x="209" y="79"/>
                      </a:lnTo>
                      <a:lnTo>
                        <a:pt x="209" y="70"/>
                      </a:lnTo>
                      <a:lnTo>
                        <a:pt x="191" y="61"/>
                      </a:lnTo>
                      <a:lnTo>
                        <a:pt x="157" y="61"/>
                      </a:lnTo>
                      <a:lnTo>
                        <a:pt x="139" y="53"/>
                      </a:lnTo>
                      <a:lnTo>
                        <a:pt x="130" y="35"/>
                      </a:lnTo>
                      <a:lnTo>
                        <a:pt x="61" y="0"/>
                      </a:lnTo>
                      <a:lnTo>
                        <a:pt x="34" y="9"/>
                      </a:lnTo>
                      <a:lnTo>
                        <a:pt x="34" y="27"/>
                      </a:lnTo>
                      <a:lnTo>
                        <a:pt x="34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7" name="Freeform 497"/>
                <p:cNvSpPr>
                  <a:spLocks/>
                </p:cNvSpPr>
                <p:nvPr/>
              </p:nvSpPr>
              <p:spPr bwMode="auto">
                <a:xfrm>
                  <a:off x="4931949" y="2165362"/>
                  <a:ext cx="372808" cy="318047"/>
                </a:xfrm>
                <a:custGeom>
                  <a:avLst/>
                  <a:gdLst>
                    <a:gd name="T0" fmla="*/ 2147483647 w 348"/>
                    <a:gd name="T1" fmla="*/ 2147483647 h 297"/>
                    <a:gd name="T2" fmla="*/ 2147483647 w 348"/>
                    <a:gd name="T3" fmla="*/ 2147483647 h 297"/>
                    <a:gd name="T4" fmla="*/ 0 w 348"/>
                    <a:gd name="T5" fmla="*/ 2147483647 h 297"/>
                    <a:gd name="T6" fmla="*/ 0 w 348"/>
                    <a:gd name="T7" fmla="*/ 2147483647 h 297"/>
                    <a:gd name="T8" fmla="*/ 2147483647 w 348"/>
                    <a:gd name="T9" fmla="*/ 2147483647 h 297"/>
                    <a:gd name="T10" fmla="*/ 2147483647 w 348"/>
                    <a:gd name="T11" fmla="*/ 2147483647 h 297"/>
                    <a:gd name="T12" fmla="*/ 2147483647 w 348"/>
                    <a:gd name="T13" fmla="*/ 2147483647 h 297"/>
                    <a:gd name="T14" fmla="*/ 2147483647 w 348"/>
                    <a:gd name="T15" fmla="*/ 2147483647 h 297"/>
                    <a:gd name="T16" fmla="*/ 2147483647 w 348"/>
                    <a:gd name="T17" fmla="*/ 2147483647 h 297"/>
                    <a:gd name="T18" fmla="*/ 2147483647 w 348"/>
                    <a:gd name="T19" fmla="*/ 2147483647 h 297"/>
                    <a:gd name="T20" fmla="*/ 2147483647 w 348"/>
                    <a:gd name="T21" fmla="*/ 2147483647 h 297"/>
                    <a:gd name="T22" fmla="*/ 2147483647 w 348"/>
                    <a:gd name="T23" fmla="*/ 2147483647 h 297"/>
                    <a:gd name="T24" fmla="*/ 2147483647 w 348"/>
                    <a:gd name="T25" fmla="*/ 2147483647 h 297"/>
                    <a:gd name="T26" fmla="*/ 2147483647 w 348"/>
                    <a:gd name="T27" fmla="*/ 2147483647 h 297"/>
                    <a:gd name="T28" fmla="*/ 2147483647 w 348"/>
                    <a:gd name="T29" fmla="*/ 2147483647 h 297"/>
                    <a:gd name="T30" fmla="*/ 2147483647 w 348"/>
                    <a:gd name="T31" fmla="*/ 2147483647 h 297"/>
                    <a:gd name="T32" fmla="*/ 2147483647 w 348"/>
                    <a:gd name="T33" fmla="*/ 2147483647 h 297"/>
                    <a:gd name="T34" fmla="*/ 2147483647 w 348"/>
                    <a:gd name="T35" fmla="*/ 2147483647 h 297"/>
                    <a:gd name="T36" fmla="*/ 2147483647 w 348"/>
                    <a:gd name="T37" fmla="*/ 2147483647 h 297"/>
                    <a:gd name="T38" fmla="*/ 2147483647 w 348"/>
                    <a:gd name="T39" fmla="*/ 2147483647 h 297"/>
                    <a:gd name="T40" fmla="*/ 2147483647 w 348"/>
                    <a:gd name="T41" fmla="*/ 2147483647 h 297"/>
                    <a:gd name="T42" fmla="*/ 2147483647 w 348"/>
                    <a:gd name="T43" fmla="*/ 2147483647 h 297"/>
                    <a:gd name="T44" fmla="*/ 2147483647 w 348"/>
                    <a:gd name="T45" fmla="*/ 2147483647 h 297"/>
                    <a:gd name="T46" fmla="*/ 2147483647 w 348"/>
                    <a:gd name="T47" fmla="*/ 2147483647 h 297"/>
                    <a:gd name="T48" fmla="*/ 2147483647 w 348"/>
                    <a:gd name="T49" fmla="*/ 2147483647 h 297"/>
                    <a:gd name="T50" fmla="*/ 2147483647 w 348"/>
                    <a:gd name="T51" fmla="*/ 2147483647 h 297"/>
                    <a:gd name="T52" fmla="*/ 2147483647 w 348"/>
                    <a:gd name="T53" fmla="*/ 2147483647 h 297"/>
                    <a:gd name="T54" fmla="*/ 2147483647 w 348"/>
                    <a:gd name="T55" fmla="*/ 2147483647 h 297"/>
                    <a:gd name="T56" fmla="*/ 2147483647 w 348"/>
                    <a:gd name="T57" fmla="*/ 2147483647 h 297"/>
                    <a:gd name="T58" fmla="*/ 2147483647 w 348"/>
                    <a:gd name="T59" fmla="*/ 2147483647 h 297"/>
                    <a:gd name="T60" fmla="*/ 2147483647 w 348"/>
                    <a:gd name="T61" fmla="*/ 0 h 297"/>
                    <a:gd name="T62" fmla="*/ 2147483647 w 348"/>
                    <a:gd name="T63" fmla="*/ 2147483647 h 297"/>
                    <a:gd name="T64" fmla="*/ 2147483647 w 348"/>
                    <a:gd name="T65" fmla="*/ 2147483647 h 297"/>
                    <a:gd name="T66" fmla="*/ 2147483647 w 348"/>
                    <a:gd name="T67" fmla="*/ 2147483647 h 297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48"/>
                    <a:gd name="T103" fmla="*/ 0 h 297"/>
                    <a:gd name="T104" fmla="*/ 348 w 348"/>
                    <a:gd name="T105" fmla="*/ 297 h 297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48" h="297">
                      <a:moveTo>
                        <a:pt x="34" y="35"/>
                      </a:moveTo>
                      <a:lnTo>
                        <a:pt x="17" y="61"/>
                      </a:lnTo>
                      <a:lnTo>
                        <a:pt x="0" y="53"/>
                      </a:lnTo>
                      <a:lnTo>
                        <a:pt x="0" y="79"/>
                      </a:lnTo>
                      <a:lnTo>
                        <a:pt x="26" y="131"/>
                      </a:lnTo>
                      <a:lnTo>
                        <a:pt x="69" y="175"/>
                      </a:lnTo>
                      <a:lnTo>
                        <a:pt x="69" y="192"/>
                      </a:lnTo>
                      <a:lnTo>
                        <a:pt x="95" y="236"/>
                      </a:lnTo>
                      <a:lnTo>
                        <a:pt x="139" y="297"/>
                      </a:lnTo>
                      <a:lnTo>
                        <a:pt x="148" y="288"/>
                      </a:lnTo>
                      <a:lnTo>
                        <a:pt x="148" y="271"/>
                      </a:lnTo>
                      <a:lnTo>
                        <a:pt x="165" y="262"/>
                      </a:lnTo>
                      <a:lnTo>
                        <a:pt x="200" y="288"/>
                      </a:lnTo>
                      <a:lnTo>
                        <a:pt x="226" y="253"/>
                      </a:lnTo>
                      <a:lnTo>
                        <a:pt x="296" y="244"/>
                      </a:lnTo>
                      <a:lnTo>
                        <a:pt x="322" y="227"/>
                      </a:lnTo>
                      <a:lnTo>
                        <a:pt x="348" y="183"/>
                      </a:lnTo>
                      <a:lnTo>
                        <a:pt x="340" y="175"/>
                      </a:lnTo>
                      <a:lnTo>
                        <a:pt x="331" y="175"/>
                      </a:lnTo>
                      <a:lnTo>
                        <a:pt x="279" y="175"/>
                      </a:lnTo>
                      <a:lnTo>
                        <a:pt x="270" y="149"/>
                      </a:lnTo>
                      <a:lnTo>
                        <a:pt x="261" y="140"/>
                      </a:lnTo>
                      <a:lnTo>
                        <a:pt x="252" y="131"/>
                      </a:lnTo>
                      <a:lnTo>
                        <a:pt x="252" y="105"/>
                      </a:lnTo>
                      <a:lnTo>
                        <a:pt x="209" y="79"/>
                      </a:lnTo>
                      <a:lnTo>
                        <a:pt x="209" y="70"/>
                      </a:lnTo>
                      <a:lnTo>
                        <a:pt x="191" y="61"/>
                      </a:lnTo>
                      <a:lnTo>
                        <a:pt x="157" y="61"/>
                      </a:lnTo>
                      <a:lnTo>
                        <a:pt x="139" y="53"/>
                      </a:lnTo>
                      <a:lnTo>
                        <a:pt x="130" y="35"/>
                      </a:lnTo>
                      <a:lnTo>
                        <a:pt x="61" y="0"/>
                      </a:lnTo>
                      <a:lnTo>
                        <a:pt x="34" y="9"/>
                      </a:lnTo>
                      <a:lnTo>
                        <a:pt x="34" y="27"/>
                      </a:lnTo>
                      <a:lnTo>
                        <a:pt x="34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8" name="Freeform 498"/>
                <p:cNvSpPr>
                  <a:spLocks/>
                </p:cNvSpPr>
                <p:nvPr/>
              </p:nvSpPr>
              <p:spPr bwMode="auto">
                <a:xfrm>
                  <a:off x="5221197" y="2287444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0 h 61"/>
                    <a:gd name="T4" fmla="*/ 2147483647 w 87"/>
                    <a:gd name="T5" fmla="*/ 2147483647 h 61"/>
                    <a:gd name="T6" fmla="*/ 2147483647 w 87"/>
                    <a:gd name="T7" fmla="*/ 2147483647 h 61"/>
                    <a:gd name="T8" fmla="*/ 0 w 87"/>
                    <a:gd name="T9" fmla="*/ 2147483647 h 61"/>
                    <a:gd name="T10" fmla="*/ 2147483647 w 87"/>
                    <a:gd name="T11" fmla="*/ 2147483647 h 61"/>
                    <a:gd name="T12" fmla="*/ 2147483647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61"/>
                    <a:gd name="T29" fmla="*/ 87 w 87"/>
                    <a:gd name="T30" fmla="*/ 61 h 6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61">
                      <a:moveTo>
                        <a:pt x="87" y="17"/>
                      </a:moveTo>
                      <a:lnTo>
                        <a:pt x="78" y="0"/>
                      </a:lnTo>
                      <a:lnTo>
                        <a:pt x="52" y="17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9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8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9" name="Freeform 499"/>
                <p:cNvSpPr>
                  <a:spLocks/>
                </p:cNvSpPr>
                <p:nvPr/>
              </p:nvSpPr>
              <p:spPr bwMode="auto">
                <a:xfrm>
                  <a:off x="5221197" y="2287442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0 h 61"/>
                    <a:gd name="T4" fmla="*/ 2147483647 w 87"/>
                    <a:gd name="T5" fmla="*/ 2147483647 h 61"/>
                    <a:gd name="T6" fmla="*/ 2147483647 w 87"/>
                    <a:gd name="T7" fmla="*/ 2147483647 h 61"/>
                    <a:gd name="T8" fmla="*/ 0 w 87"/>
                    <a:gd name="T9" fmla="*/ 2147483647 h 61"/>
                    <a:gd name="T10" fmla="*/ 2147483647 w 87"/>
                    <a:gd name="T11" fmla="*/ 2147483647 h 61"/>
                    <a:gd name="T12" fmla="*/ 2147483647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61"/>
                    <a:gd name="T29" fmla="*/ 87 w 87"/>
                    <a:gd name="T30" fmla="*/ 61 h 6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61">
                      <a:moveTo>
                        <a:pt x="87" y="17"/>
                      </a:moveTo>
                      <a:lnTo>
                        <a:pt x="78" y="0"/>
                      </a:lnTo>
                      <a:lnTo>
                        <a:pt x="52" y="17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9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8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0" name="Freeform 500"/>
                <p:cNvSpPr>
                  <a:spLocks/>
                </p:cNvSpPr>
                <p:nvPr/>
              </p:nvSpPr>
              <p:spPr bwMode="auto">
                <a:xfrm>
                  <a:off x="5221193" y="2277803"/>
                  <a:ext cx="9642" cy="47118"/>
                </a:xfrm>
                <a:custGeom>
                  <a:avLst/>
                  <a:gdLst>
                    <a:gd name="T0" fmla="*/ 0 w 9"/>
                    <a:gd name="T1" fmla="*/ 2147483647 h 44"/>
                    <a:gd name="T2" fmla="*/ 2147483647 w 9"/>
                    <a:gd name="T3" fmla="*/ 2147483647 h 44"/>
                    <a:gd name="T4" fmla="*/ 2147483647 w 9"/>
                    <a:gd name="T5" fmla="*/ 2147483647 h 44"/>
                    <a:gd name="T6" fmla="*/ 2147483647 w 9"/>
                    <a:gd name="T7" fmla="*/ 0 h 44"/>
                    <a:gd name="T8" fmla="*/ 0 w 9"/>
                    <a:gd name="T9" fmla="*/ 0 h 44"/>
                    <a:gd name="T10" fmla="*/ 0 w 9"/>
                    <a:gd name="T11" fmla="*/ 2147483647 h 44"/>
                    <a:gd name="T12" fmla="*/ 0 w 9"/>
                    <a:gd name="T13" fmla="*/ 2147483647 h 4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"/>
                    <a:gd name="T22" fmla="*/ 0 h 44"/>
                    <a:gd name="T23" fmla="*/ 9 w 9"/>
                    <a:gd name="T24" fmla="*/ 44 h 4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" h="44">
                      <a:moveTo>
                        <a:pt x="0" y="44"/>
                      </a:moveTo>
                      <a:lnTo>
                        <a:pt x="9" y="35"/>
                      </a:lnTo>
                      <a:lnTo>
                        <a:pt x="9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26"/>
                      </a:lnTo>
                      <a:lnTo>
                        <a:pt x="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1" name="Freeform 501"/>
                <p:cNvSpPr>
                  <a:spLocks/>
                </p:cNvSpPr>
                <p:nvPr/>
              </p:nvSpPr>
              <p:spPr bwMode="auto">
                <a:xfrm>
                  <a:off x="5221189" y="2277807"/>
                  <a:ext cx="9642" cy="47118"/>
                </a:xfrm>
                <a:custGeom>
                  <a:avLst/>
                  <a:gdLst>
                    <a:gd name="T0" fmla="*/ 0 w 9"/>
                    <a:gd name="T1" fmla="*/ 2147483647 h 44"/>
                    <a:gd name="T2" fmla="*/ 2147483647 w 9"/>
                    <a:gd name="T3" fmla="*/ 2147483647 h 44"/>
                    <a:gd name="T4" fmla="*/ 2147483647 w 9"/>
                    <a:gd name="T5" fmla="*/ 2147483647 h 44"/>
                    <a:gd name="T6" fmla="*/ 2147483647 w 9"/>
                    <a:gd name="T7" fmla="*/ 0 h 44"/>
                    <a:gd name="T8" fmla="*/ 0 w 9"/>
                    <a:gd name="T9" fmla="*/ 0 h 44"/>
                    <a:gd name="T10" fmla="*/ 0 w 9"/>
                    <a:gd name="T11" fmla="*/ 2147483647 h 44"/>
                    <a:gd name="T12" fmla="*/ 0 w 9"/>
                    <a:gd name="T13" fmla="*/ 2147483647 h 4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"/>
                    <a:gd name="T22" fmla="*/ 0 h 44"/>
                    <a:gd name="T23" fmla="*/ 9 w 9"/>
                    <a:gd name="T24" fmla="*/ 44 h 4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" h="44">
                      <a:moveTo>
                        <a:pt x="0" y="44"/>
                      </a:moveTo>
                      <a:lnTo>
                        <a:pt x="9" y="35"/>
                      </a:lnTo>
                      <a:lnTo>
                        <a:pt x="9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26"/>
                      </a:lnTo>
                      <a:lnTo>
                        <a:pt x="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2" name="Freeform 502"/>
                <p:cNvSpPr>
                  <a:spLocks/>
                </p:cNvSpPr>
                <p:nvPr/>
              </p:nvSpPr>
              <p:spPr bwMode="auto">
                <a:xfrm>
                  <a:off x="5136562" y="2202846"/>
                  <a:ext cx="19283" cy="37481"/>
                </a:xfrm>
                <a:custGeom>
                  <a:avLst/>
                  <a:gdLst>
                    <a:gd name="T0" fmla="*/ 0 w 18"/>
                    <a:gd name="T1" fmla="*/ 2147483647 h 35"/>
                    <a:gd name="T2" fmla="*/ 0 w 18"/>
                    <a:gd name="T3" fmla="*/ 2147483647 h 35"/>
                    <a:gd name="T4" fmla="*/ 2147483647 w 18"/>
                    <a:gd name="T5" fmla="*/ 2147483647 h 35"/>
                    <a:gd name="T6" fmla="*/ 2147483647 w 18"/>
                    <a:gd name="T7" fmla="*/ 0 h 35"/>
                    <a:gd name="T8" fmla="*/ 0 w 18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35"/>
                    <a:gd name="T17" fmla="*/ 18 w 18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35">
                      <a:moveTo>
                        <a:pt x="0" y="9"/>
                      </a:moveTo>
                      <a:lnTo>
                        <a:pt x="0" y="26"/>
                      </a:lnTo>
                      <a:lnTo>
                        <a:pt x="18" y="35"/>
                      </a:lnTo>
                      <a:lnTo>
                        <a:pt x="1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3" name="Freeform 503"/>
                <p:cNvSpPr>
                  <a:spLocks/>
                </p:cNvSpPr>
                <p:nvPr/>
              </p:nvSpPr>
              <p:spPr bwMode="auto">
                <a:xfrm>
                  <a:off x="5136562" y="2202849"/>
                  <a:ext cx="19283" cy="37481"/>
                </a:xfrm>
                <a:custGeom>
                  <a:avLst/>
                  <a:gdLst>
                    <a:gd name="T0" fmla="*/ 0 w 18"/>
                    <a:gd name="T1" fmla="*/ 2147483647 h 35"/>
                    <a:gd name="T2" fmla="*/ 0 w 18"/>
                    <a:gd name="T3" fmla="*/ 2147483647 h 35"/>
                    <a:gd name="T4" fmla="*/ 2147483647 w 18"/>
                    <a:gd name="T5" fmla="*/ 2147483647 h 35"/>
                    <a:gd name="T6" fmla="*/ 2147483647 w 18"/>
                    <a:gd name="T7" fmla="*/ 0 h 35"/>
                    <a:gd name="T8" fmla="*/ 0 w 18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35"/>
                    <a:gd name="T17" fmla="*/ 18 w 18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35">
                      <a:moveTo>
                        <a:pt x="0" y="9"/>
                      </a:moveTo>
                      <a:lnTo>
                        <a:pt x="0" y="26"/>
                      </a:lnTo>
                      <a:lnTo>
                        <a:pt x="18" y="35"/>
                      </a:lnTo>
                      <a:lnTo>
                        <a:pt x="1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4" name="Freeform 504"/>
                <p:cNvSpPr>
                  <a:spLocks/>
                </p:cNvSpPr>
                <p:nvPr/>
              </p:nvSpPr>
              <p:spPr bwMode="auto">
                <a:xfrm>
                  <a:off x="4931933" y="2147164"/>
                  <a:ext cx="65349" cy="83528"/>
                </a:xfrm>
                <a:custGeom>
                  <a:avLst/>
                  <a:gdLst>
                    <a:gd name="T0" fmla="*/ 0 w 61"/>
                    <a:gd name="T1" fmla="*/ 2147483647 h 78"/>
                    <a:gd name="T2" fmla="*/ 0 w 61"/>
                    <a:gd name="T3" fmla="*/ 2147483647 h 78"/>
                    <a:gd name="T4" fmla="*/ 2147483647 w 61"/>
                    <a:gd name="T5" fmla="*/ 2147483647 h 78"/>
                    <a:gd name="T6" fmla="*/ 2147483647 w 61"/>
                    <a:gd name="T7" fmla="*/ 2147483647 h 78"/>
                    <a:gd name="T8" fmla="*/ 2147483647 w 61"/>
                    <a:gd name="T9" fmla="*/ 2147483647 h 78"/>
                    <a:gd name="T10" fmla="*/ 2147483647 w 61"/>
                    <a:gd name="T11" fmla="*/ 2147483647 h 78"/>
                    <a:gd name="T12" fmla="*/ 2147483647 w 61"/>
                    <a:gd name="T13" fmla="*/ 2147483647 h 78"/>
                    <a:gd name="T14" fmla="*/ 2147483647 w 61"/>
                    <a:gd name="T15" fmla="*/ 0 h 78"/>
                    <a:gd name="T16" fmla="*/ 2147483647 w 61"/>
                    <a:gd name="T17" fmla="*/ 2147483647 h 78"/>
                    <a:gd name="T18" fmla="*/ 0 w 61"/>
                    <a:gd name="T19" fmla="*/ 2147483647 h 7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78"/>
                    <a:gd name="T32" fmla="*/ 61 w 61"/>
                    <a:gd name="T33" fmla="*/ 78 h 7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78">
                      <a:moveTo>
                        <a:pt x="0" y="9"/>
                      </a:moveTo>
                      <a:lnTo>
                        <a:pt x="0" y="70"/>
                      </a:lnTo>
                      <a:lnTo>
                        <a:pt x="17" y="78"/>
                      </a:lnTo>
                      <a:lnTo>
                        <a:pt x="34" y="52"/>
                      </a:lnTo>
                      <a:lnTo>
                        <a:pt x="34" y="44"/>
                      </a:lnTo>
                      <a:lnTo>
                        <a:pt x="34" y="26"/>
                      </a:ln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5" name="Freeform 505"/>
                <p:cNvSpPr>
                  <a:spLocks/>
                </p:cNvSpPr>
                <p:nvPr/>
              </p:nvSpPr>
              <p:spPr bwMode="auto">
                <a:xfrm>
                  <a:off x="4931932" y="2147166"/>
                  <a:ext cx="65349" cy="83528"/>
                </a:xfrm>
                <a:custGeom>
                  <a:avLst/>
                  <a:gdLst>
                    <a:gd name="T0" fmla="*/ 0 w 61"/>
                    <a:gd name="T1" fmla="*/ 2147483647 h 78"/>
                    <a:gd name="T2" fmla="*/ 0 w 61"/>
                    <a:gd name="T3" fmla="*/ 2147483647 h 78"/>
                    <a:gd name="T4" fmla="*/ 2147483647 w 61"/>
                    <a:gd name="T5" fmla="*/ 2147483647 h 78"/>
                    <a:gd name="T6" fmla="*/ 2147483647 w 61"/>
                    <a:gd name="T7" fmla="*/ 2147483647 h 78"/>
                    <a:gd name="T8" fmla="*/ 2147483647 w 61"/>
                    <a:gd name="T9" fmla="*/ 2147483647 h 78"/>
                    <a:gd name="T10" fmla="*/ 2147483647 w 61"/>
                    <a:gd name="T11" fmla="*/ 2147483647 h 78"/>
                    <a:gd name="T12" fmla="*/ 2147483647 w 61"/>
                    <a:gd name="T13" fmla="*/ 2147483647 h 78"/>
                    <a:gd name="T14" fmla="*/ 2147483647 w 61"/>
                    <a:gd name="T15" fmla="*/ 0 h 78"/>
                    <a:gd name="T16" fmla="*/ 2147483647 w 61"/>
                    <a:gd name="T17" fmla="*/ 2147483647 h 78"/>
                    <a:gd name="T18" fmla="*/ 0 w 61"/>
                    <a:gd name="T19" fmla="*/ 2147483647 h 7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78"/>
                    <a:gd name="T32" fmla="*/ 61 w 61"/>
                    <a:gd name="T33" fmla="*/ 78 h 7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78">
                      <a:moveTo>
                        <a:pt x="0" y="9"/>
                      </a:moveTo>
                      <a:lnTo>
                        <a:pt x="0" y="70"/>
                      </a:lnTo>
                      <a:lnTo>
                        <a:pt x="17" y="78"/>
                      </a:lnTo>
                      <a:lnTo>
                        <a:pt x="34" y="52"/>
                      </a:lnTo>
                      <a:lnTo>
                        <a:pt x="34" y="44"/>
                      </a:lnTo>
                      <a:lnTo>
                        <a:pt x="34" y="26"/>
                      </a:ln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6" name="Freeform 506"/>
                <p:cNvSpPr>
                  <a:spLocks/>
                </p:cNvSpPr>
                <p:nvPr/>
              </p:nvSpPr>
              <p:spPr bwMode="auto">
                <a:xfrm>
                  <a:off x="4903019" y="2137529"/>
                  <a:ext cx="28925" cy="84600"/>
                </a:xfrm>
                <a:custGeom>
                  <a:avLst/>
                  <a:gdLst>
                    <a:gd name="T0" fmla="*/ 2147483647 w 27"/>
                    <a:gd name="T1" fmla="*/ 0 h 79"/>
                    <a:gd name="T2" fmla="*/ 0 w 27"/>
                    <a:gd name="T3" fmla="*/ 2147483647 h 79"/>
                    <a:gd name="T4" fmla="*/ 2147483647 w 27"/>
                    <a:gd name="T5" fmla="*/ 2147483647 h 79"/>
                    <a:gd name="T6" fmla="*/ 2147483647 w 27"/>
                    <a:gd name="T7" fmla="*/ 2147483647 h 79"/>
                    <a:gd name="T8" fmla="*/ 2147483647 w 27"/>
                    <a:gd name="T9" fmla="*/ 2147483647 h 79"/>
                    <a:gd name="T10" fmla="*/ 2147483647 w 27"/>
                    <a:gd name="T11" fmla="*/ 0 h 7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79"/>
                    <a:gd name="T20" fmla="*/ 27 w 27"/>
                    <a:gd name="T21" fmla="*/ 79 h 7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79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27" y="79"/>
                      </a:lnTo>
                      <a:lnTo>
                        <a:pt x="27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7" name="Freeform 507"/>
                <p:cNvSpPr>
                  <a:spLocks/>
                </p:cNvSpPr>
                <p:nvPr/>
              </p:nvSpPr>
              <p:spPr bwMode="auto">
                <a:xfrm>
                  <a:off x="4903034" y="2137535"/>
                  <a:ext cx="28925" cy="84600"/>
                </a:xfrm>
                <a:custGeom>
                  <a:avLst/>
                  <a:gdLst>
                    <a:gd name="T0" fmla="*/ 2147483647 w 27"/>
                    <a:gd name="T1" fmla="*/ 0 h 79"/>
                    <a:gd name="T2" fmla="*/ 0 w 27"/>
                    <a:gd name="T3" fmla="*/ 2147483647 h 79"/>
                    <a:gd name="T4" fmla="*/ 2147483647 w 27"/>
                    <a:gd name="T5" fmla="*/ 2147483647 h 79"/>
                    <a:gd name="T6" fmla="*/ 2147483647 w 27"/>
                    <a:gd name="T7" fmla="*/ 2147483647 h 79"/>
                    <a:gd name="T8" fmla="*/ 2147483647 w 27"/>
                    <a:gd name="T9" fmla="*/ 2147483647 h 79"/>
                    <a:gd name="T10" fmla="*/ 2147483647 w 27"/>
                    <a:gd name="T11" fmla="*/ 0 h 7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79"/>
                    <a:gd name="T20" fmla="*/ 27 w 27"/>
                    <a:gd name="T21" fmla="*/ 79 h 7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79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27" y="79"/>
                      </a:lnTo>
                      <a:lnTo>
                        <a:pt x="27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8" name="Freeform 508"/>
                <p:cNvSpPr>
                  <a:spLocks/>
                </p:cNvSpPr>
                <p:nvPr/>
              </p:nvSpPr>
              <p:spPr bwMode="auto">
                <a:xfrm>
                  <a:off x="4912708" y="2119319"/>
                  <a:ext cx="37495" cy="27842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2147483647 w 35"/>
                    <a:gd name="T9" fmla="*/ 0 h 26"/>
                    <a:gd name="T10" fmla="*/ 0 w 35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26"/>
                    <a:gd name="T20" fmla="*/ 35 w 35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26">
                      <a:moveTo>
                        <a:pt x="0" y="17"/>
                      </a:moveTo>
                      <a:lnTo>
                        <a:pt x="18" y="26"/>
                      </a:lnTo>
                      <a:lnTo>
                        <a:pt x="35" y="8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9" name="Freeform 509"/>
                <p:cNvSpPr>
                  <a:spLocks/>
                </p:cNvSpPr>
                <p:nvPr/>
              </p:nvSpPr>
              <p:spPr bwMode="auto">
                <a:xfrm>
                  <a:off x="4912735" y="2119331"/>
                  <a:ext cx="37495" cy="27842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2147483647 w 35"/>
                    <a:gd name="T9" fmla="*/ 0 h 26"/>
                    <a:gd name="T10" fmla="*/ 0 w 35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26"/>
                    <a:gd name="T20" fmla="*/ 35 w 35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26">
                      <a:moveTo>
                        <a:pt x="0" y="17"/>
                      </a:moveTo>
                      <a:lnTo>
                        <a:pt x="18" y="26"/>
                      </a:lnTo>
                      <a:lnTo>
                        <a:pt x="35" y="8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</p:grpSp>
          <p:sp>
            <p:nvSpPr>
              <p:cNvPr id="29" name="Freeform 510"/>
              <p:cNvSpPr>
                <a:spLocks/>
              </p:cNvSpPr>
              <p:nvPr/>
            </p:nvSpPr>
            <p:spPr bwMode="auto">
              <a:xfrm>
                <a:off x="3829600" y="2473765"/>
                <a:ext cx="18212" cy="9638"/>
              </a:xfrm>
              <a:custGeom>
                <a:avLst/>
                <a:gdLst>
                  <a:gd name="T0" fmla="*/ 2147483647 w 17"/>
                  <a:gd name="T1" fmla="*/ 0 h 9"/>
                  <a:gd name="T2" fmla="*/ 2147483647 w 17"/>
                  <a:gd name="T3" fmla="*/ 0 h 9"/>
                  <a:gd name="T4" fmla="*/ 0 w 17"/>
                  <a:gd name="T5" fmla="*/ 0 h 9"/>
                  <a:gd name="T6" fmla="*/ 2147483647 w 17"/>
                  <a:gd name="T7" fmla="*/ 2147483647 h 9"/>
                  <a:gd name="T8" fmla="*/ 2147483647 w 1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9"/>
                  <a:gd name="T17" fmla="*/ 17 w 17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9">
                    <a:moveTo>
                      <a:pt x="17" y="0"/>
                    </a:moveTo>
                    <a:lnTo>
                      <a:pt x="17" y="0"/>
                    </a:lnTo>
                    <a:lnTo>
                      <a:pt x="0" y="0"/>
                    </a:lnTo>
                    <a:lnTo>
                      <a:pt x="8" y="9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0" name="Freeform 511"/>
              <p:cNvSpPr>
                <a:spLocks/>
              </p:cNvSpPr>
              <p:nvPr/>
            </p:nvSpPr>
            <p:spPr bwMode="auto">
              <a:xfrm>
                <a:off x="3829601" y="2473765"/>
                <a:ext cx="18212" cy="9638"/>
              </a:xfrm>
              <a:custGeom>
                <a:avLst/>
                <a:gdLst>
                  <a:gd name="T0" fmla="*/ 2147483647 w 17"/>
                  <a:gd name="T1" fmla="*/ 0 h 9"/>
                  <a:gd name="T2" fmla="*/ 2147483647 w 17"/>
                  <a:gd name="T3" fmla="*/ 0 h 9"/>
                  <a:gd name="T4" fmla="*/ 0 w 17"/>
                  <a:gd name="T5" fmla="*/ 0 h 9"/>
                  <a:gd name="T6" fmla="*/ 2147483647 w 17"/>
                  <a:gd name="T7" fmla="*/ 2147483647 h 9"/>
                  <a:gd name="T8" fmla="*/ 2147483647 w 1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9"/>
                  <a:gd name="T17" fmla="*/ 17 w 17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9">
                    <a:moveTo>
                      <a:pt x="17" y="0"/>
                    </a:moveTo>
                    <a:lnTo>
                      <a:pt x="17" y="0"/>
                    </a:lnTo>
                    <a:lnTo>
                      <a:pt x="0" y="0"/>
                    </a:lnTo>
                    <a:lnTo>
                      <a:pt x="8" y="9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1" name="Freeform 512"/>
              <p:cNvSpPr>
                <a:spLocks/>
              </p:cNvSpPr>
              <p:nvPr/>
            </p:nvSpPr>
            <p:spPr bwMode="auto">
              <a:xfrm>
                <a:off x="3847814" y="2483403"/>
                <a:ext cx="19283" cy="0"/>
              </a:xfrm>
              <a:custGeom>
                <a:avLst/>
                <a:gdLst>
                  <a:gd name="T0" fmla="*/ 2147483647 w 18"/>
                  <a:gd name="T1" fmla="*/ 2147483647 w 18"/>
                  <a:gd name="T2" fmla="*/ 0 w 18"/>
                  <a:gd name="T3" fmla="*/ 2147483647 w 18"/>
                  <a:gd name="T4" fmla="*/ 0 60000 65536"/>
                  <a:gd name="T5" fmla="*/ 0 60000 65536"/>
                  <a:gd name="T6" fmla="*/ 0 60000 65536"/>
                  <a:gd name="T7" fmla="*/ 0 60000 65536"/>
                  <a:gd name="T8" fmla="*/ 0 w 18"/>
                  <a:gd name="T9" fmla="*/ 18 w 18"/>
                </a:gdLst>
                <a:ahLst/>
                <a:cxnLst>
                  <a:cxn ang="T4">
                    <a:pos x="T0" y="0"/>
                  </a:cxn>
                  <a:cxn ang="T5">
                    <a:pos x="T1" y="0"/>
                  </a:cxn>
                  <a:cxn ang="T6">
                    <a:pos x="T2" y="0"/>
                  </a:cxn>
                  <a:cxn ang="T7">
                    <a:pos x="T3" y="0"/>
                  </a:cxn>
                </a:cxnLst>
                <a:rect l="T8" t="0" r="T9" b="0"/>
                <a:pathLst>
                  <a:path w="18">
                    <a:moveTo>
                      <a:pt x="9" y="0"/>
                    </a:moveTo>
                    <a:lnTo>
                      <a:pt x="18" y="0"/>
                    </a:lnTo>
                    <a:lnTo>
                      <a:pt x="0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2" name="Freeform 513"/>
              <p:cNvSpPr>
                <a:spLocks/>
              </p:cNvSpPr>
              <p:nvPr/>
            </p:nvSpPr>
            <p:spPr bwMode="auto">
              <a:xfrm>
                <a:off x="3847815" y="2483403"/>
                <a:ext cx="19283" cy="0"/>
              </a:xfrm>
              <a:custGeom>
                <a:avLst/>
                <a:gdLst>
                  <a:gd name="T0" fmla="*/ 2147483647 w 18"/>
                  <a:gd name="T1" fmla="*/ 2147483647 w 18"/>
                  <a:gd name="T2" fmla="*/ 0 w 18"/>
                  <a:gd name="T3" fmla="*/ 2147483647 w 18"/>
                  <a:gd name="T4" fmla="*/ 0 60000 65536"/>
                  <a:gd name="T5" fmla="*/ 0 60000 65536"/>
                  <a:gd name="T6" fmla="*/ 0 60000 65536"/>
                  <a:gd name="T7" fmla="*/ 0 60000 65536"/>
                  <a:gd name="T8" fmla="*/ 0 w 18"/>
                  <a:gd name="T9" fmla="*/ 18 w 18"/>
                </a:gdLst>
                <a:ahLst/>
                <a:cxnLst>
                  <a:cxn ang="T4">
                    <a:pos x="T0" y="0"/>
                  </a:cxn>
                  <a:cxn ang="T5">
                    <a:pos x="T1" y="0"/>
                  </a:cxn>
                  <a:cxn ang="T6">
                    <a:pos x="T2" y="0"/>
                  </a:cxn>
                  <a:cxn ang="T7">
                    <a:pos x="T3" y="0"/>
                  </a:cxn>
                </a:cxnLst>
                <a:rect l="T8" t="0" r="T9" b="0"/>
                <a:pathLst>
                  <a:path w="18">
                    <a:moveTo>
                      <a:pt x="9" y="0"/>
                    </a:moveTo>
                    <a:lnTo>
                      <a:pt x="18" y="0"/>
                    </a:lnTo>
                    <a:lnTo>
                      <a:pt x="0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3" name="Freeform 514"/>
              <p:cNvSpPr>
                <a:spLocks/>
              </p:cNvSpPr>
              <p:nvPr/>
            </p:nvSpPr>
            <p:spPr bwMode="auto">
              <a:xfrm>
                <a:off x="3847816" y="2511244"/>
                <a:ext cx="9642" cy="9638"/>
              </a:xfrm>
              <a:custGeom>
                <a:avLst/>
                <a:gdLst>
                  <a:gd name="T0" fmla="*/ 2147483647 w 9"/>
                  <a:gd name="T1" fmla="*/ 2147483647 h 9"/>
                  <a:gd name="T2" fmla="*/ 2147483647 w 9"/>
                  <a:gd name="T3" fmla="*/ 0 h 9"/>
                  <a:gd name="T4" fmla="*/ 2147483647 w 9"/>
                  <a:gd name="T5" fmla="*/ 0 h 9"/>
                  <a:gd name="T6" fmla="*/ 0 w 9"/>
                  <a:gd name="T7" fmla="*/ 2147483647 h 9"/>
                  <a:gd name="T8" fmla="*/ 2147483647 w 9"/>
                  <a:gd name="T9" fmla="*/ 214748364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9"/>
                  <a:gd name="T17" fmla="*/ 9 w 9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9">
                    <a:moveTo>
                      <a:pt x="9" y="9"/>
                    </a:moveTo>
                    <a:lnTo>
                      <a:pt x="9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4" name="Freeform 515"/>
              <p:cNvSpPr>
                <a:spLocks/>
              </p:cNvSpPr>
              <p:nvPr/>
            </p:nvSpPr>
            <p:spPr bwMode="auto">
              <a:xfrm>
                <a:off x="3847816" y="2511244"/>
                <a:ext cx="9642" cy="9638"/>
              </a:xfrm>
              <a:custGeom>
                <a:avLst/>
                <a:gdLst>
                  <a:gd name="T0" fmla="*/ 2147483647 w 9"/>
                  <a:gd name="T1" fmla="*/ 2147483647 h 9"/>
                  <a:gd name="T2" fmla="*/ 2147483647 w 9"/>
                  <a:gd name="T3" fmla="*/ 0 h 9"/>
                  <a:gd name="T4" fmla="*/ 2147483647 w 9"/>
                  <a:gd name="T5" fmla="*/ 0 h 9"/>
                  <a:gd name="T6" fmla="*/ 0 w 9"/>
                  <a:gd name="T7" fmla="*/ 2147483647 h 9"/>
                  <a:gd name="T8" fmla="*/ 2147483647 w 9"/>
                  <a:gd name="T9" fmla="*/ 214748364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9"/>
                  <a:gd name="T17" fmla="*/ 9 w 9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9">
                    <a:moveTo>
                      <a:pt x="9" y="9"/>
                    </a:moveTo>
                    <a:lnTo>
                      <a:pt x="9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5" name="Freeform 519"/>
              <p:cNvSpPr>
                <a:spLocks/>
              </p:cNvSpPr>
              <p:nvPr/>
            </p:nvSpPr>
            <p:spPr bwMode="auto">
              <a:xfrm>
                <a:off x="4950170" y="2436284"/>
                <a:ext cx="149980" cy="158488"/>
              </a:xfrm>
              <a:custGeom>
                <a:avLst/>
                <a:gdLst>
                  <a:gd name="T0" fmla="*/ 2147483647 w 140"/>
                  <a:gd name="T1" fmla="*/ 0 h 148"/>
                  <a:gd name="T2" fmla="*/ 2147483647 w 140"/>
                  <a:gd name="T3" fmla="*/ 2147483647 h 148"/>
                  <a:gd name="T4" fmla="*/ 0 w 140"/>
                  <a:gd name="T5" fmla="*/ 2147483647 h 148"/>
                  <a:gd name="T6" fmla="*/ 2147483647 w 140"/>
                  <a:gd name="T7" fmla="*/ 2147483647 h 148"/>
                  <a:gd name="T8" fmla="*/ 2147483647 w 140"/>
                  <a:gd name="T9" fmla="*/ 2147483647 h 148"/>
                  <a:gd name="T10" fmla="*/ 2147483647 w 140"/>
                  <a:gd name="T11" fmla="*/ 2147483647 h 148"/>
                  <a:gd name="T12" fmla="*/ 2147483647 w 140"/>
                  <a:gd name="T13" fmla="*/ 2147483647 h 148"/>
                  <a:gd name="T14" fmla="*/ 2147483647 w 140"/>
                  <a:gd name="T15" fmla="*/ 2147483647 h 148"/>
                  <a:gd name="T16" fmla="*/ 2147483647 w 140"/>
                  <a:gd name="T17" fmla="*/ 0 h 1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0"/>
                  <a:gd name="T28" fmla="*/ 0 h 148"/>
                  <a:gd name="T29" fmla="*/ 140 w 140"/>
                  <a:gd name="T30" fmla="*/ 148 h 14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0" h="148">
                    <a:moveTo>
                      <a:pt x="70" y="0"/>
                    </a:moveTo>
                    <a:lnTo>
                      <a:pt x="9" y="26"/>
                    </a:lnTo>
                    <a:lnTo>
                      <a:pt x="0" y="87"/>
                    </a:lnTo>
                    <a:lnTo>
                      <a:pt x="61" y="87"/>
                    </a:lnTo>
                    <a:lnTo>
                      <a:pt x="105" y="113"/>
                    </a:lnTo>
                    <a:lnTo>
                      <a:pt x="96" y="140"/>
                    </a:lnTo>
                    <a:lnTo>
                      <a:pt x="140" y="148"/>
                    </a:lnTo>
                    <a:lnTo>
                      <a:pt x="78" y="61"/>
                    </a:lnTo>
                    <a:lnTo>
                      <a:pt x="70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6" name="Freeform 530"/>
              <p:cNvSpPr>
                <a:spLocks/>
              </p:cNvSpPr>
              <p:nvPr/>
            </p:nvSpPr>
            <p:spPr bwMode="auto">
              <a:xfrm>
                <a:off x="4706988" y="2352757"/>
                <a:ext cx="298890" cy="372662"/>
              </a:xfrm>
              <a:custGeom>
                <a:avLst/>
                <a:gdLst>
                  <a:gd name="T0" fmla="*/ 2147483647 w 279"/>
                  <a:gd name="T1" fmla="*/ 2147483647 h 348"/>
                  <a:gd name="T2" fmla="*/ 2147483647 w 279"/>
                  <a:gd name="T3" fmla="*/ 2147483647 h 348"/>
                  <a:gd name="T4" fmla="*/ 2147483647 w 279"/>
                  <a:gd name="T5" fmla="*/ 2147483647 h 348"/>
                  <a:gd name="T6" fmla="*/ 2147483647 w 279"/>
                  <a:gd name="T7" fmla="*/ 2147483647 h 348"/>
                  <a:gd name="T8" fmla="*/ 0 w 279"/>
                  <a:gd name="T9" fmla="*/ 2147483647 h 348"/>
                  <a:gd name="T10" fmla="*/ 2147483647 w 279"/>
                  <a:gd name="T11" fmla="*/ 2147483647 h 348"/>
                  <a:gd name="T12" fmla="*/ 2147483647 w 279"/>
                  <a:gd name="T13" fmla="*/ 2147483647 h 348"/>
                  <a:gd name="T14" fmla="*/ 2147483647 w 279"/>
                  <a:gd name="T15" fmla="*/ 2147483647 h 348"/>
                  <a:gd name="T16" fmla="*/ 2147483647 w 279"/>
                  <a:gd name="T17" fmla="*/ 2147483647 h 348"/>
                  <a:gd name="T18" fmla="*/ 2147483647 w 279"/>
                  <a:gd name="T19" fmla="*/ 2147483647 h 348"/>
                  <a:gd name="T20" fmla="*/ 2147483647 w 279"/>
                  <a:gd name="T21" fmla="*/ 2147483647 h 348"/>
                  <a:gd name="T22" fmla="*/ 2147483647 w 279"/>
                  <a:gd name="T23" fmla="*/ 2147483647 h 348"/>
                  <a:gd name="T24" fmla="*/ 2147483647 w 279"/>
                  <a:gd name="T25" fmla="*/ 2147483647 h 348"/>
                  <a:gd name="T26" fmla="*/ 2147483647 w 279"/>
                  <a:gd name="T27" fmla="*/ 2147483647 h 348"/>
                  <a:gd name="T28" fmla="*/ 2147483647 w 279"/>
                  <a:gd name="T29" fmla="*/ 2147483647 h 348"/>
                  <a:gd name="T30" fmla="*/ 2147483647 w 279"/>
                  <a:gd name="T31" fmla="*/ 2147483647 h 348"/>
                  <a:gd name="T32" fmla="*/ 2147483647 w 279"/>
                  <a:gd name="T33" fmla="*/ 2147483647 h 348"/>
                  <a:gd name="T34" fmla="*/ 2147483647 w 279"/>
                  <a:gd name="T35" fmla="*/ 2147483647 h 348"/>
                  <a:gd name="T36" fmla="*/ 2147483647 w 279"/>
                  <a:gd name="T37" fmla="*/ 2147483647 h 348"/>
                  <a:gd name="T38" fmla="*/ 2147483647 w 279"/>
                  <a:gd name="T39" fmla="*/ 2147483647 h 348"/>
                  <a:gd name="T40" fmla="*/ 2147483647 w 279"/>
                  <a:gd name="T41" fmla="*/ 2147483647 h 348"/>
                  <a:gd name="T42" fmla="*/ 2147483647 w 279"/>
                  <a:gd name="T43" fmla="*/ 2147483647 h 348"/>
                  <a:gd name="T44" fmla="*/ 2147483647 w 279"/>
                  <a:gd name="T45" fmla="*/ 2147483647 h 348"/>
                  <a:gd name="T46" fmla="*/ 2147483647 w 279"/>
                  <a:gd name="T47" fmla="*/ 2147483647 h 348"/>
                  <a:gd name="T48" fmla="*/ 2147483647 w 279"/>
                  <a:gd name="T49" fmla="*/ 2147483647 h 348"/>
                  <a:gd name="T50" fmla="*/ 2147483647 w 279"/>
                  <a:gd name="T51" fmla="*/ 2147483647 h 348"/>
                  <a:gd name="T52" fmla="*/ 2147483647 w 279"/>
                  <a:gd name="T53" fmla="*/ 2147483647 h 348"/>
                  <a:gd name="T54" fmla="*/ 2147483647 w 279"/>
                  <a:gd name="T55" fmla="*/ 0 h 348"/>
                  <a:gd name="T56" fmla="*/ 2147483647 w 279"/>
                  <a:gd name="T57" fmla="*/ 2147483647 h 348"/>
                  <a:gd name="T58" fmla="*/ 2147483647 w 279"/>
                  <a:gd name="T59" fmla="*/ 2147483647 h 348"/>
                  <a:gd name="T60" fmla="*/ 2147483647 w 279"/>
                  <a:gd name="T61" fmla="*/ 2147483647 h 348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79"/>
                  <a:gd name="T94" fmla="*/ 0 h 348"/>
                  <a:gd name="T95" fmla="*/ 279 w 279"/>
                  <a:gd name="T96" fmla="*/ 348 h 348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79" h="348">
                    <a:moveTo>
                      <a:pt x="53" y="43"/>
                    </a:moveTo>
                    <a:lnTo>
                      <a:pt x="35" y="52"/>
                    </a:lnTo>
                    <a:lnTo>
                      <a:pt x="35" y="130"/>
                    </a:lnTo>
                    <a:lnTo>
                      <a:pt x="9" y="157"/>
                    </a:lnTo>
                    <a:lnTo>
                      <a:pt x="0" y="183"/>
                    </a:lnTo>
                    <a:lnTo>
                      <a:pt x="44" y="270"/>
                    </a:lnTo>
                    <a:lnTo>
                      <a:pt x="61" y="270"/>
                    </a:lnTo>
                    <a:lnTo>
                      <a:pt x="96" y="313"/>
                    </a:lnTo>
                    <a:lnTo>
                      <a:pt x="96" y="331"/>
                    </a:lnTo>
                    <a:lnTo>
                      <a:pt x="140" y="331"/>
                    </a:lnTo>
                    <a:lnTo>
                      <a:pt x="166" y="348"/>
                    </a:lnTo>
                    <a:lnTo>
                      <a:pt x="218" y="340"/>
                    </a:lnTo>
                    <a:lnTo>
                      <a:pt x="218" y="331"/>
                    </a:lnTo>
                    <a:lnTo>
                      <a:pt x="244" y="331"/>
                    </a:lnTo>
                    <a:lnTo>
                      <a:pt x="236" y="313"/>
                    </a:lnTo>
                    <a:lnTo>
                      <a:pt x="227" y="305"/>
                    </a:lnTo>
                    <a:lnTo>
                      <a:pt x="192" y="279"/>
                    </a:lnTo>
                    <a:lnTo>
                      <a:pt x="183" y="279"/>
                    </a:lnTo>
                    <a:lnTo>
                      <a:pt x="183" y="261"/>
                    </a:lnTo>
                    <a:lnTo>
                      <a:pt x="192" y="261"/>
                    </a:lnTo>
                    <a:lnTo>
                      <a:pt x="201" y="218"/>
                    </a:lnTo>
                    <a:lnTo>
                      <a:pt x="210" y="218"/>
                    </a:lnTo>
                    <a:lnTo>
                      <a:pt x="236" y="165"/>
                    </a:lnTo>
                    <a:lnTo>
                      <a:pt x="244" y="104"/>
                    </a:lnTo>
                    <a:lnTo>
                      <a:pt x="279" y="87"/>
                    </a:lnTo>
                    <a:lnTo>
                      <a:pt x="253" y="61"/>
                    </a:lnTo>
                    <a:lnTo>
                      <a:pt x="244" y="8"/>
                    </a:lnTo>
                    <a:lnTo>
                      <a:pt x="218" y="0"/>
                    </a:lnTo>
                    <a:lnTo>
                      <a:pt x="201" y="17"/>
                    </a:lnTo>
                    <a:lnTo>
                      <a:pt x="53" y="17"/>
                    </a:lnTo>
                    <a:lnTo>
                      <a:pt x="53" y="43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7" name="Freeform 532"/>
              <p:cNvSpPr>
                <a:spLocks/>
              </p:cNvSpPr>
              <p:nvPr/>
            </p:nvSpPr>
            <p:spPr bwMode="auto">
              <a:xfrm>
                <a:off x="4744483" y="2174994"/>
                <a:ext cx="196046" cy="195969"/>
              </a:xfrm>
              <a:custGeom>
                <a:avLst/>
                <a:gdLst>
                  <a:gd name="T0" fmla="*/ 2147483647 w 183"/>
                  <a:gd name="T1" fmla="*/ 2147483647 h 183"/>
                  <a:gd name="T2" fmla="*/ 2147483647 w 183"/>
                  <a:gd name="T3" fmla="*/ 2147483647 h 183"/>
                  <a:gd name="T4" fmla="*/ 2147483647 w 183"/>
                  <a:gd name="T5" fmla="*/ 2147483647 h 183"/>
                  <a:gd name="T6" fmla="*/ 2147483647 w 183"/>
                  <a:gd name="T7" fmla="*/ 2147483647 h 183"/>
                  <a:gd name="T8" fmla="*/ 2147483647 w 183"/>
                  <a:gd name="T9" fmla="*/ 2147483647 h 183"/>
                  <a:gd name="T10" fmla="*/ 2147483647 w 183"/>
                  <a:gd name="T11" fmla="*/ 2147483647 h 183"/>
                  <a:gd name="T12" fmla="*/ 2147483647 w 183"/>
                  <a:gd name="T13" fmla="*/ 0 h 183"/>
                  <a:gd name="T14" fmla="*/ 2147483647 w 183"/>
                  <a:gd name="T15" fmla="*/ 2147483647 h 183"/>
                  <a:gd name="T16" fmla="*/ 2147483647 w 183"/>
                  <a:gd name="T17" fmla="*/ 2147483647 h 183"/>
                  <a:gd name="T18" fmla="*/ 2147483647 w 183"/>
                  <a:gd name="T19" fmla="*/ 2147483647 h 183"/>
                  <a:gd name="T20" fmla="*/ 2147483647 w 183"/>
                  <a:gd name="T21" fmla="*/ 0 h 183"/>
                  <a:gd name="T22" fmla="*/ 0 w 183"/>
                  <a:gd name="T23" fmla="*/ 0 h 183"/>
                  <a:gd name="T24" fmla="*/ 2147483647 w 183"/>
                  <a:gd name="T25" fmla="*/ 2147483647 h 183"/>
                  <a:gd name="T26" fmla="*/ 0 w 183"/>
                  <a:gd name="T27" fmla="*/ 2147483647 h 183"/>
                  <a:gd name="T28" fmla="*/ 2147483647 w 183"/>
                  <a:gd name="T29" fmla="*/ 2147483647 h 183"/>
                  <a:gd name="T30" fmla="*/ 2147483647 w 183"/>
                  <a:gd name="T31" fmla="*/ 2147483647 h 183"/>
                  <a:gd name="T32" fmla="*/ 2147483647 w 183"/>
                  <a:gd name="T33" fmla="*/ 2147483647 h 183"/>
                  <a:gd name="T34" fmla="*/ 2147483647 w 183"/>
                  <a:gd name="T35" fmla="*/ 2147483647 h 183"/>
                  <a:gd name="T36" fmla="*/ 2147483647 w 183"/>
                  <a:gd name="T37" fmla="*/ 2147483647 h 183"/>
                  <a:gd name="T38" fmla="*/ 2147483647 w 183"/>
                  <a:gd name="T39" fmla="*/ 2147483647 h 183"/>
                  <a:gd name="T40" fmla="*/ 2147483647 w 183"/>
                  <a:gd name="T41" fmla="*/ 2147483647 h 183"/>
                  <a:gd name="T42" fmla="*/ 2147483647 w 183"/>
                  <a:gd name="T43" fmla="*/ 2147483647 h 183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83"/>
                  <a:gd name="T67" fmla="*/ 0 h 183"/>
                  <a:gd name="T68" fmla="*/ 183 w 183"/>
                  <a:gd name="T69" fmla="*/ 183 h 183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83" h="183">
                    <a:moveTo>
                      <a:pt x="131" y="52"/>
                    </a:moveTo>
                    <a:lnTo>
                      <a:pt x="122" y="26"/>
                    </a:lnTo>
                    <a:lnTo>
                      <a:pt x="131" y="52"/>
                    </a:lnTo>
                    <a:lnTo>
                      <a:pt x="140" y="52"/>
                    </a:lnTo>
                    <a:lnTo>
                      <a:pt x="157" y="70"/>
                    </a:lnTo>
                    <a:lnTo>
                      <a:pt x="175" y="44"/>
                    </a:lnTo>
                    <a:lnTo>
                      <a:pt x="148" y="0"/>
                    </a:lnTo>
                    <a:lnTo>
                      <a:pt x="122" y="9"/>
                    </a:lnTo>
                    <a:lnTo>
                      <a:pt x="96" y="9"/>
                    </a:lnTo>
                    <a:lnTo>
                      <a:pt x="52" y="18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9" y="26"/>
                    </a:lnTo>
                    <a:lnTo>
                      <a:pt x="0" y="26"/>
                    </a:lnTo>
                    <a:lnTo>
                      <a:pt x="18" y="52"/>
                    </a:lnTo>
                    <a:lnTo>
                      <a:pt x="18" y="183"/>
                    </a:lnTo>
                    <a:lnTo>
                      <a:pt x="166" y="183"/>
                    </a:lnTo>
                    <a:lnTo>
                      <a:pt x="183" y="166"/>
                    </a:lnTo>
                    <a:lnTo>
                      <a:pt x="183" y="140"/>
                    </a:lnTo>
                    <a:lnTo>
                      <a:pt x="157" y="113"/>
                    </a:lnTo>
                    <a:lnTo>
                      <a:pt x="148" y="79"/>
                    </a:lnTo>
                    <a:lnTo>
                      <a:pt x="131" y="52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8" name="Freeform 586"/>
              <p:cNvSpPr>
                <a:spLocks/>
              </p:cNvSpPr>
              <p:nvPr/>
            </p:nvSpPr>
            <p:spPr bwMode="auto">
              <a:xfrm>
                <a:off x="4081355" y="2100033"/>
                <a:ext cx="223900" cy="159559"/>
              </a:xfrm>
              <a:custGeom>
                <a:avLst/>
                <a:gdLst>
                  <a:gd name="T0" fmla="*/ 2147483647 w 209"/>
                  <a:gd name="T1" fmla="*/ 2147483647 h 149"/>
                  <a:gd name="T2" fmla="*/ 2147483647 w 209"/>
                  <a:gd name="T3" fmla="*/ 0 h 149"/>
                  <a:gd name="T4" fmla="*/ 2147483647 w 209"/>
                  <a:gd name="T5" fmla="*/ 0 h 149"/>
                  <a:gd name="T6" fmla="*/ 2147483647 w 209"/>
                  <a:gd name="T7" fmla="*/ 0 h 149"/>
                  <a:gd name="T8" fmla="*/ 2147483647 w 209"/>
                  <a:gd name="T9" fmla="*/ 2147483647 h 149"/>
                  <a:gd name="T10" fmla="*/ 2147483647 w 209"/>
                  <a:gd name="T11" fmla="*/ 2147483647 h 149"/>
                  <a:gd name="T12" fmla="*/ 2147483647 w 209"/>
                  <a:gd name="T13" fmla="*/ 2147483647 h 149"/>
                  <a:gd name="T14" fmla="*/ 2147483647 w 209"/>
                  <a:gd name="T15" fmla="*/ 2147483647 h 149"/>
                  <a:gd name="T16" fmla="*/ 2147483647 w 209"/>
                  <a:gd name="T17" fmla="*/ 2147483647 h 149"/>
                  <a:gd name="T18" fmla="*/ 2147483647 w 209"/>
                  <a:gd name="T19" fmla="*/ 2147483647 h 149"/>
                  <a:gd name="T20" fmla="*/ 2147483647 w 209"/>
                  <a:gd name="T21" fmla="*/ 2147483647 h 149"/>
                  <a:gd name="T22" fmla="*/ 0 w 209"/>
                  <a:gd name="T23" fmla="*/ 2147483647 h 149"/>
                  <a:gd name="T24" fmla="*/ 2147483647 w 209"/>
                  <a:gd name="T25" fmla="*/ 2147483647 h 149"/>
                  <a:gd name="T26" fmla="*/ 2147483647 w 209"/>
                  <a:gd name="T27" fmla="*/ 2147483647 h 149"/>
                  <a:gd name="T28" fmla="*/ 2147483647 w 209"/>
                  <a:gd name="T29" fmla="*/ 2147483647 h 149"/>
                  <a:gd name="T30" fmla="*/ 2147483647 w 209"/>
                  <a:gd name="T31" fmla="*/ 2147483647 h 149"/>
                  <a:gd name="T32" fmla="*/ 2147483647 w 209"/>
                  <a:gd name="T33" fmla="*/ 2147483647 h 149"/>
                  <a:gd name="T34" fmla="*/ 2147483647 w 209"/>
                  <a:gd name="T35" fmla="*/ 2147483647 h 149"/>
                  <a:gd name="T36" fmla="*/ 2147483647 w 209"/>
                  <a:gd name="T37" fmla="*/ 2147483647 h 149"/>
                  <a:gd name="T38" fmla="*/ 2147483647 w 209"/>
                  <a:gd name="T39" fmla="*/ 2147483647 h 149"/>
                  <a:gd name="T40" fmla="*/ 2147483647 w 209"/>
                  <a:gd name="T41" fmla="*/ 2147483647 h 149"/>
                  <a:gd name="T42" fmla="*/ 2147483647 w 209"/>
                  <a:gd name="T43" fmla="*/ 2147483647 h 149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209"/>
                  <a:gd name="T67" fmla="*/ 0 h 149"/>
                  <a:gd name="T68" fmla="*/ 209 w 209"/>
                  <a:gd name="T69" fmla="*/ 149 h 149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209" h="149">
                    <a:moveTo>
                      <a:pt x="183" y="18"/>
                    </a:moveTo>
                    <a:lnTo>
                      <a:pt x="183" y="0"/>
                    </a:lnTo>
                    <a:lnTo>
                      <a:pt x="131" y="0"/>
                    </a:lnTo>
                    <a:lnTo>
                      <a:pt x="105" y="44"/>
                    </a:lnTo>
                    <a:lnTo>
                      <a:pt x="79" y="44"/>
                    </a:lnTo>
                    <a:lnTo>
                      <a:pt x="61" y="53"/>
                    </a:lnTo>
                    <a:lnTo>
                      <a:pt x="61" y="114"/>
                    </a:lnTo>
                    <a:lnTo>
                      <a:pt x="35" y="131"/>
                    </a:lnTo>
                    <a:lnTo>
                      <a:pt x="35" y="140"/>
                    </a:lnTo>
                    <a:lnTo>
                      <a:pt x="0" y="149"/>
                    </a:lnTo>
                    <a:lnTo>
                      <a:pt x="79" y="149"/>
                    </a:lnTo>
                    <a:lnTo>
                      <a:pt x="79" y="131"/>
                    </a:lnTo>
                    <a:lnTo>
                      <a:pt x="105" y="114"/>
                    </a:lnTo>
                    <a:lnTo>
                      <a:pt x="131" y="114"/>
                    </a:lnTo>
                    <a:lnTo>
                      <a:pt x="183" y="61"/>
                    </a:lnTo>
                    <a:lnTo>
                      <a:pt x="209" y="70"/>
                    </a:lnTo>
                    <a:lnTo>
                      <a:pt x="209" y="53"/>
                    </a:lnTo>
                    <a:lnTo>
                      <a:pt x="201" y="53"/>
                    </a:lnTo>
                    <a:lnTo>
                      <a:pt x="201" y="18"/>
                    </a:lnTo>
                    <a:lnTo>
                      <a:pt x="183" y="18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grpSp>
            <p:nvGrpSpPr>
              <p:cNvPr id="39" name="Group 355"/>
              <p:cNvGrpSpPr>
                <a:grpSpLocks/>
              </p:cNvGrpSpPr>
              <p:nvPr/>
            </p:nvGrpSpPr>
            <p:grpSpPr bwMode="auto">
              <a:xfrm>
                <a:off x="3867100" y="2062554"/>
                <a:ext cx="1447311" cy="1410330"/>
                <a:chOff x="3684589" y="2817813"/>
                <a:chExt cx="2144713" cy="2090738"/>
              </a:xfrm>
              <a:grpFill/>
            </p:grpSpPr>
            <p:sp>
              <p:nvSpPr>
                <p:cNvPr id="40" name="Freeform 528"/>
                <p:cNvSpPr>
                  <a:spLocks/>
                </p:cNvSpPr>
                <p:nvPr/>
              </p:nvSpPr>
              <p:spPr bwMode="auto">
                <a:xfrm>
                  <a:off x="5219701" y="3497263"/>
                  <a:ext cx="415925" cy="303213"/>
                </a:xfrm>
                <a:custGeom>
                  <a:avLst/>
                  <a:gdLst>
                    <a:gd name="T0" fmla="*/ 0 w 262"/>
                    <a:gd name="T1" fmla="*/ 2147483647 h 191"/>
                    <a:gd name="T2" fmla="*/ 0 w 262"/>
                    <a:gd name="T3" fmla="*/ 2147483647 h 191"/>
                    <a:gd name="T4" fmla="*/ 2147483647 w 262"/>
                    <a:gd name="T5" fmla="*/ 2147483647 h 191"/>
                    <a:gd name="T6" fmla="*/ 2147483647 w 262"/>
                    <a:gd name="T7" fmla="*/ 2147483647 h 191"/>
                    <a:gd name="T8" fmla="*/ 2147483647 w 262"/>
                    <a:gd name="T9" fmla="*/ 2147483647 h 191"/>
                    <a:gd name="T10" fmla="*/ 2147483647 w 262"/>
                    <a:gd name="T11" fmla="*/ 2147483647 h 191"/>
                    <a:gd name="T12" fmla="*/ 2147483647 w 262"/>
                    <a:gd name="T13" fmla="*/ 2147483647 h 191"/>
                    <a:gd name="T14" fmla="*/ 2147483647 w 262"/>
                    <a:gd name="T15" fmla="*/ 2147483647 h 191"/>
                    <a:gd name="T16" fmla="*/ 2147483647 w 262"/>
                    <a:gd name="T17" fmla="*/ 2147483647 h 191"/>
                    <a:gd name="T18" fmla="*/ 2147483647 w 262"/>
                    <a:gd name="T19" fmla="*/ 2147483647 h 191"/>
                    <a:gd name="T20" fmla="*/ 2147483647 w 262"/>
                    <a:gd name="T21" fmla="*/ 2147483647 h 191"/>
                    <a:gd name="T22" fmla="*/ 2147483647 w 262"/>
                    <a:gd name="T23" fmla="*/ 2147483647 h 191"/>
                    <a:gd name="T24" fmla="*/ 2147483647 w 262"/>
                    <a:gd name="T25" fmla="*/ 2147483647 h 191"/>
                    <a:gd name="T26" fmla="*/ 2147483647 w 262"/>
                    <a:gd name="T27" fmla="*/ 2147483647 h 191"/>
                    <a:gd name="T28" fmla="*/ 2147483647 w 262"/>
                    <a:gd name="T29" fmla="*/ 2147483647 h 191"/>
                    <a:gd name="T30" fmla="*/ 2147483647 w 262"/>
                    <a:gd name="T31" fmla="*/ 2147483647 h 191"/>
                    <a:gd name="T32" fmla="*/ 2147483647 w 262"/>
                    <a:gd name="T33" fmla="*/ 2147483647 h 191"/>
                    <a:gd name="T34" fmla="*/ 2147483647 w 262"/>
                    <a:gd name="T35" fmla="*/ 0 h 191"/>
                    <a:gd name="T36" fmla="*/ 2147483647 w 262"/>
                    <a:gd name="T37" fmla="*/ 2147483647 h 191"/>
                    <a:gd name="T38" fmla="*/ 2147483647 w 262"/>
                    <a:gd name="T39" fmla="*/ 2147483647 h 191"/>
                    <a:gd name="T40" fmla="*/ 2147483647 w 262"/>
                    <a:gd name="T41" fmla="*/ 2147483647 h 191"/>
                    <a:gd name="T42" fmla="*/ 2147483647 w 262"/>
                    <a:gd name="T43" fmla="*/ 2147483647 h 191"/>
                    <a:gd name="T44" fmla="*/ 0 w 262"/>
                    <a:gd name="T45" fmla="*/ 2147483647 h 191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62"/>
                    <a:gd name="T70" fmla="*/ 0 h 191"/>
                    <a:gd name="T71" fmla="*/ 262 w 262"/>
                    <a:gd name="T72" fmla="*/ 191 h 191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62" h="191">
                      <a:moveTo>
                        <a:pt x="0" y="104"/>
                      </a:moveTo>
                      <a:lnTo>
                        <a:pt x="0" y="122"/>
                      </a:lnTo>
                      <a:lnTo>
                        <a:pt x="9" y="122"/>
                      </a:lnTo>
                      <a:lnTo>
                        <a:pt x="44" y="148"/>
                      </a:lnTo>
                      <a:lnTo>
                        <a:pt x="53" y="156"/>
                      </a:lnTo>
                      <a:lnTo>
                        <a:pt x="61" y="174"/>
                      </a:lnTo>
                      <a:lnTo>
                        <a:pt x="122" y="191"/>
                      </a:lnTo>
                      <a:lnTo>
                        <a:pt x="149" y="183"/>
                      </a:lnTo>
                      <a:lnTo>
                        <a:pt x="166" y="183"/>
                      </a:lnTo>
                      <a:lnTo>
                        <a:pt x="192" y="165"/>
                      </a:lnTo>
                      <a:lnTo>
                        <a:pt x="210" y="165"/>
                      </a:lnTo>
                      <a:lnTo>
                        <a:pt x="227" y="148"/>
                      </a:lnTo>
                      <a:lnTo>
                        <a:pt x="262" y="113"/>
                      </a:lnTo>
                      <a:lnTo>
                        <a:pt x="184" y="87"/>
                      </a:lnTo>
                      <a:lnTo>
                        <a:pt x="149" y="43"/>
                      </a:lnTo>
                      <a:lnTo>
                        <a:pt x="157" y="26"/>
                      </a:lnTo>
                      <a:lnTo>
                        <a:pt x="140" y="8"/>
                      </a:lnTo>
                      <a:lnTo>
                        <a:pt x="114" y="0"/>
                      </a:lnTo>
                      <a:lnTo>
                        <a:pt x="53" y="8"/>
                      </a:lnTo>
                      <a:lnTo>
                        <a:pt x="27" y="61"/>
                      </a:lnTo>
                      <a:lnTo>
                        <a:pt x="18" y="61"/>
                      </a:lnTo>
                      <a:lnTo>
                        <a:pt x="9" y="104"/>
                      </a:lnTo>
                      <a:lnTo>
                        <a:pt x="0" y="104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grpSp>
              <p:nvGrpSpPr>
                <p:cNvPr id="41" name="Group 357"/>
                <p:cNvGrpSpPr>
                  <a:grpSpLocks/>
                </p:cNvGrpSpPr>
                <p:nvPr/>
              </p:nvGrpSpPr>
              <p:grpSpPr bwMode="auto">
                <a:xfrm>
                  <a:off x="3684589" y="2817813"/>
                  <a:ext cx="2144713" cy="2090738"/>
                  <a:chOff x="3684589" y="2817813"/>
                  <a:chExt cx="2144713" cy="2090738"/>
                </a:xfrm>
                <a:grpFill/>
              </p:grpSpPr>
              <p:sp>
                <p:nvSpPr>
                  <p:cNvPr id="42" name="Freeform 6"/>
                  <p:cNvSpPr>
                    <a:spLocks/>
                  </p:cNvSpPr>
                  <p:nvPr/>
                </p:nvSpPr>
                <p:spPr bwMode="auto">
                  <a:xfrm>
                    <a:off x="4943476" y="3524251"/>
                    <a:ext cx="373063" cy="276225"/>
                  </a:xfrm>
                  <a:custGeom>
                    <a:avLst/>
                    <a:gdLst>
                      <a:gd name="T0" fmla="*/ 2147483647 w 235"/>
                      <a:gd name="T1" fmla="*/ 2147483647 h 174"/>
                      <a:gd name="T2" fmla="*/ 2147483647 w 235"/>
                      <a:gd name="T3" fmla="*/ 2147483647 h 174"/>
                      <a:gd name="T4" fmla="*/ 2147483647 w 235"/>
                      <a:gd name="T5" fmla="*/ 2147483647 h 174"/>
                      <a:gd name="T6" fmla="*/ 2147483647 w 235"/>
                      <a:gd name="T7" fmla="*/ 2147483647 h 174"/>
                      <a:gd name="T8" fmla="*/ 2147483647 w 235"/>
                      <a:gd name="T9" fmla="*/ 2147483647 h 174"/>
                      <a:gd name="T10" fmla="*/ 2147483647 w 235"/>
                      <a:gd name="T11" fmla="*/ 2147483647 h 174"/>
                      <a:gd name="T12" fmla="*/ 2147483647 w 235"/>
                      <a:gd name="T13" fmla="*/ 2147483647 h 174"/>
                      <a:gd name="T14" fmla="*/ 2147483647 w 235"/>
                      <a:gd name="T15" fmla="*/ 2147483647 h 174"/>
                      <a:gd name="T16" fmla="*/ 2147483647 w 235"/>
                      <a:gd name="T17" fmla="*/ 2147483647 h 174"/>
                      <a:gd name="T18" fmla="*/ 2147483647 w 235"/>
                      <a:gd name="T19" fmla="*/ 2147483647 h 174"/>
                      <a:gd name="T20" fmla="*/ 2147483647 w 235"/>
                      <a:gd name="T21" fmla="*/ 2147483647 h 174"/>
                      <a:gd name="T22" fmla="*/ 2147483647 w 235"/>
                      <a:gd name="T23" fmla="*/ 2147483647 h 174"/>
                      <a:gd name="T24" fmla="*/ 2147483647 w 235"/>
                      <a:gd name="T25" fmla="*/ 2147483647 h 174"/>
                      <a:gd name="T26" fmla="*/ 2147483647 w 235"/>
                      <a:gd name="T27" fmla="*/ 0 h 174"/>
                      <a:gd name="T28" fmla="*/ 0 w 235"/>
                      <a:gd name="T29" fmla="*/ 2147483647 h 174"/>
                      <a:gd name="T30" fmla="*/ 2147483647 w 235"/>
                      <a:gd name="T31" fmla="*/ 2147483647 h 174"/>
                      <a:gd name="T32" fmla="*/ 2147483647 w 235"/>
                      <a:gd name="T33" fmla="*/ 2147483647 h 174"/>
                      <a:gd name="T34" fmla="*/ 2147483647 w 235"/>
                      <a:gd name="T35" fmla="*/ 2147483647 h 174"/>
                      <a:gd name="T36" fmla="*/ 2147483647 w 235"/>
                      <a:gd name="T37" fmla="*/ 2147483647 h 174"/>
                      <a:gd name="T38" fmla="*/ 2147483647 w 235"/>
                      <a:gd name="T39" fmla="*/ 2147483647 h 174"/>
                      <a:gd name="T40" fmla="*/ 2147483647 w 235"/>
                      <a:gd name="T41" fmla="*/ 2147483647 h 174"/>
                      <a:gd name="T42" fmla="*/ 2147483647 w 235"/>
                      <a:gd name="T43" fmla="*/ 2147483647 h 174"/>
                      <a:gd name="T44" fmla="*/ 2147483647 w 235"/>
                      <a:gd name="T45" fmla="*/ 2147483647 h 174"/>
                      <a:gd name="T46" fmla="*/ 2147483647 w 235"/>
                      <a:gd name="T47" fmla="*/ 2147483647 h 174"/>
                      <a:gd name="T48" fmla="*/ 2147483647 w 235"/>
                      <a:gd name="T49" fmla="*/ 2147483647 h 174"/>
                      <a:gd name="T50" fmla="*/ 2147483647 w 235"/>
                      <a:gd name="T51" fmla="*/ 2147483647 h 174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235"/>
                      <a:gd name="T79" fmla="*/ 0 h 174"/>
                      <a:gd name="T80" fmla="*/ 235 w 235"/>
                      <a:gd name="T81" fmla="*/ 174 h 174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235" h="174">
                        <a:moveTo>
                          <a:pt x="218" y="131"/>
                        </a:moveTo>
                        <a:lnTo>
                          <a:pt x="183" y="105"/>
                        </a:lnTo>
                        <a:lnTo>
                          <a:pt x="174" y="105"/>
                        </a:lnTo>
                        <a:lnTo>
                          <a:pt x="174" y="87"/>
                        </a:lnTo>
                        <a:lnTo>
                          <a:pt x="183" y="87"/>
                        </a:lnTo>
                        <a:lnTo>
                          <a:pt x="192" y="44"/>
                        </a:lnTo>
                        <a:lnTo>
                          <a:pt x="201" y="44"/>
                        </a:lnTo>
                        <a:lnTo>
                          <a:pt x="209" y="35"/>
                        </a:lnTo>
                        <a:lnTo>
                          <a:pt x="201" y="35"/>
                        </a:lnTo>
                        <a:lnTo>
                          <a:pt x="183" y="17"/>
                        </a:lnTo>
                        <a:lnTo>
                          <a:pt x="183" y="9"/>
                        </a:lnTo>
                        <a:lnTo>
                          <a:pt x="174" y="9"/>
                        </a:lnTo>
                        <a:lnTo>
                          <a:pt x="113" y="26"/>
                        </a:lnTo>
                        <a:lnTo>
                          <a:pt x="70" y="0"/>
                        </a:lnTo>
                        <a:lnTo>
                          <a:pt x="0" y="26"/>
                        </a:lnTo>
                        <a:lnTo>
                          <a:pt x="35" y="96"/>
                        </a:lnTo>
                        <a:lnTo>
                          <a:pt x="52" y="96"/>
                        </a:lnTo>
                        <a:lnTo>
                          <a:pt x="87" y="139"/>
                        </a:lnTo>
                        <a:lnTo>
                          <a:pt x="87" y="157"/>
                        </a:lnTo>
                        <a:lnTo>
                          <a:pt x="131" y="157"/>
                        </a:lnTo>
                        <a:lnTo>
                          <a:pt x="157" y="174"/>
                        </a:lnTo>
                        <a:lnTo>
                          <a:pt x="209" y="166"/>
                        </a:lnTo>
                        <a:lnTo>
                          <a:pt x="209" y="157"/>
                        </a:lnTo>
                        <a:lnTo>
                          <a:pt x="235" y="157"/>
                        </a:lnTo>
                        <a:lnTo>
                          <a:pt x="227" y="139"/>
                        </a:lnTo>
                        <a:lnTo>
                          <a:pt x="218" y="13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3" name="Freeform 7"/>
                  <p:cNvSpPr>
                    <a:spLocks/>
                  </p:cNvSpPr>
                  <p:nvPr/>
                </p:nvSpPr>
                <p:spPr bwMode="auto">
                  <a:xfrm>
                    <a:off x="4929189" y="3248027"/>
                    <a:ext cx="442913" cy="317500"/>
                  </a:xfrm>
                  <a:custGeom>
                    <a:avLst/>
                    <a:gdLst>
                      <a:gd name="T0" fmla="*/ 2147483647 w 279"/>
                      <a:gd name="T1" fmla="*/ 2147483647 h 200"/>
                      <a:gd name="T2" fmla="*/ 2147483647 w 279"/>
                      <a:gd name="T3" fmla="*/ 2147483647 h 200"/>
                      <a:gd name="T4" fmla="*/ 2147483647 w 279"/>
                      <a:gd name="T5" fmla="*/ 0 h 200"/>
                      <a:gd name="T6" fmla="*/ 2147483647 w 279"/>
                      <a:gd name="T7" fmla="*/ 2147483647 h 200"/>
                      <a:gd name="T8" fmla="*/ 2147483647 w 279"/>
                      <a:gd name="T9" fmla="*/ 2147483647 h 200"/>
                      <a:gd name="T10" fmla="*/ 2147483647 w 279"/>
                      <a:gd name="T11" fmla="*/ 2147483647 h 200"/>
                      <a:gd name="T12" fmla="*/ 2147483647 w 279"/>
                      <a:gd name="T13" fmla="*/ 2147483647 h 200"/>
                      <a:gd name="T14" fmla="*/ 2147483647 w 279"/>
                      <a:gd name="T15" fmla="*/ 2147483647 h 200"/>
                      <a:gd name="T16" fmla="*/ 2147483647 w 279"/>
                      <a:gd name="T17" fmla="*/ 2147483647 h 200"/>
                      <a:gd name="T18" fmla="*/ 0 w 279"/>
                      <a:gd name="T19" fmla="*/ 2147483647 h 200"/>
                      <a:gd name="T20" fmla="*/ 2147483647 w 279"/>
                      <a:gd name="T21" fmla="*/ 2147483647 h 200"/>
                      <a:gd name="T22" fmla="*/ 2147483647 w 279"/>
                      <a:gd name="T23" fmla="*/ 2147483647 h 200"/>
                      <a:gd name="T24" fmla="*/ 2147483647 w 279"/>
                      <a:gd name="T25" fmla="*/ 2147483647 h 200"/>
                      <a:gd name="T26" fmla="*/ 2147483647 w 279"/>
                      <a:gd name="T27" fmla="*/ 2147483647 h 200"/>
                      <a:gd name="T28" fmla="*/ 2147483647 w 279"/>
                      <a:gd name="T29" fmla="*/ 2147483647 h 200"/>
                      <a:gd name="T30" fmla="*/ 2147483647 w 279"/>
                      <a:gd name="T31" fmla="*/ 2147483647 h 200"/>
                      <a:gd name="T32" fmla="*/ 2147483647 w 279"/>
                      <a:gd name="T33" fmla="*/ 2147483647 h 200"/>
                      <a:gd name="T34" fmla="*/ 2147483647 w 279"/>
                      <a:gd name="T35" fmla="*/ 2147483647 h 200"/>
                      <a:gd name="T36" fmla="*/ 2147483647 w 279"/>
                      <a:gd name="T37" fmla="*/ 2147483647 h 200"/>
                      <a:gd name="T38" fmla="*/ 2147483647 w 279"/>
                      <a:gd name="T39" fmla="*/ 2147483647 h 200"/>
                      <a:gd name="T40" fmla="*/ 2147483647 w 279"/>
                      <a:gd name="T41" fmla="*/ 2147483647 h 200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w 279"/>
                      <a:gd name="T64" fmla="*/ 0 h 200"/>
                      <a:gd name="T65" fmla="*/ 279 w 279"/>
                      <a:gd name="T66" fmla="*/ 200 h 200"/>
                    </a:gdLst>
                    <a:ahLst/>
                    <a:cxnLst>
                      <a:cxn ang="T42">
                        <a:pos x="T0" y="T1"/>
                      </a:cxn>
                      <a:cxn ang="T43">
                        <a:pos x="T2" y="T3"/>
                      </a:cxn>
                      <a:cxn ang="T44">
                        <a:pos x="T4" y="T5"/>
                      </a:cxn>
                      <a:cxn ang="T45">
                        <a:pos x="T6" y="T7"/>
                      </a:cxn>
                      <a:cxn ang="T46">
                        <a:pos x="T8" y="T9"/>
                      </a:cxn>
                      <a:cxn ang="T47">
                        <a:pos x="T10" y="T11"/>
                      </a:cxn>
                      <a:cxn ang="T48">
                        <a:pos x="T12" y="T13"/>
                      </a:cxn>
                      <a:cxn ang="T49">
                        <a:pos x="T14" y="T15"/>
                      </a:cxn>
                      <a:cxn ang="T50">
                        <a:pos x="T16" y="T17"/>
                      </a:cxn>
                      <a:cxn ang="T51">
                        <a:pos x="T18" y="T19"/>
                      </a:cxn>
                      <a:cxn ang="T52">
                        <a:pos x="T20" y="T21"/>
                      </a:cxn>
                      <a:cxn ang="T53">
                        <a:pos x="T22" y="T23"/>
                      </a:cxn>
                      <a:cxn ang="T54">
                        <a:pos x="T24" y="T25"/>
                      </a:cxn>
                      <a:cxn ang="T55">
                        <a:pos x="T26" y="T27"/>
                      </a:cxn>
                      <a:cxn ang="T56">
                        <a:pos x="T28" y="T29"/>
                      </a:cxn>
                      <a:cxn ang="T57">
                        <a:pos x="T30" y="T31"/>
                      </a:cxn>
                      <a:cxn ang="T58">
                        <a:pos x="T32" y="T33"/>
                      </a:cxn>
                      <a:cxn ang="T59">
                        <a:pos x="T34" y="T35"/>
                      </a:cxn>
                      <a:cxn ang="T60">
                        <a:pos x="T36" y="T37"/>
                      </a:cxn>
                      <a:cxn ang="T61">
                        <a:pos x="T38" y="T39"/>
                      </a:cxn>
                      <a:cxn ang="T62">
                        <a:pos x="T40" y="T41"/>
                      </a:cxn>
                    </a:cxnLst>
                    <a:rect l="T63" t="T64" r="T65" b="T66"/>
                    <a:pathLst>
                      <a:path w="279" h="200">
                        <a:moveTo>
                          <a:pt x="253" y="61"/>
                        </a:moveTo>
                        <a:lnTo>
                          <a:pt x="244" y="8"/>
                        </a:lnTo>
                        <a:lnTo>
                          <a:pt x="218" y="0"/>
                        </a:lnTo>
                        <a:lnTo>
                          <a:pt x="201" y="17"/>
                        </a:lnTo>
                        <a:lnTo>
                          <a:pt x="53" y="17"/>
                        </a:lnTo>
                        <a:lnTo>
                          <a:pt x="53" y="43"/>
                        </a:lnTo>
                        <a:lnTo>
                          <a:pt x="35" y="52"/>
                        </a:lnTo>
                        <a:lnTo>
                          <a:pt x="35" y="130"/>
                        </a:lnTo>
                        <a:lnTo>
                          <a:pt x="9" y="157"/>
                        </a:lnTo>
                        <a:lnTo>
                          <a:pt x="0" y="183"/>
                        </a:lnTo>
                        <a:lnTo>
                          <a:pt x="9" y="183"/>
                        </a:lnTo>
                        <a:lnTo>
                          <a:pt x="79" y="165"/>
                        </a:lnTo>
                        <a:lnTo>
                          <a:pt x="131" y="183"/>
                        </a:lnTo>
                        <a:lnTo>
                          <a:pt x="175" y="174"/>
                        </a:lnTo>
                        <a:lnTo>
                          <a:pt x="210" y="157"/>
                        </a:lnTo>
                        <a:lnTo>
                          <a:pt x="210" y="191"/>
                        </a:lnTo>
                        <a:lnTo>
                          <a:pt x="218" y="200"/>
                        </a:lnTo>
                        <a:lnTo>
                          <a:pt x="236" y="165"/>
                        </a:lnTo>
                        <a:lnTo>
                          <a:pt x="244" y="104"/>
                        </a:lnTo>
                        <a:lnTo>
                          <a:pt x="279" y="87"/>
                        </a:lnTo>
                        <a:lnTo>
                          <a:pt x="253" y="6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4" name="Rectangle 295"/>
                  <p:cNvSpPr>
                    <a:spLocks noChangeArrowheads="1"/>
                  </p:cNvSpPr>
                  <p:nvPr/>
                </p:nvSpPr>
                <p:spPr bwMode="auto">
                  <a:xfrm>
                    <a:off x="3878263" y="3054350"/>
                    <a:ext cx="12700" cy="26988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5" name="Rectangle 296"/>
                  <p:cNvSpPr>
                    <a:spLocks noChangeArrowheads="1"/>
                  </p:cNvSpPr>
                  <p:nvPr/>
                </p:nvSpPr>
                <p:spPr bwMode="auto">
                  <a:xfrm>
                    <a:off x="3878263" y="3054350"/>
                    <a:ext cx="12700" cy="26988"/>
                  </a:xfrm>
                  <a:prstGeom prst="rect">
                    <a:avLst/>
                  </a:pr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6" name="Freeform 297"/>
                  <p:cNvSpPr>
                    <a:spLocks/>
                  </p:cNvSpPr>
                  <p:nvPr/>
                </p:nvSpPr>
                <p:spPr bwMode="auto">
                  <a:xfrm>
                    <a:off x="3905251" y="3067050"/>
                    <a:ext cx="28575" cy="28575"/>
                  </a:xfrm>
                  <a:custGeom>
                    <a:avLst/>
                    <a:gdLst>
                      <a:gd name="T0" fmla="*/ 2147483647 w 18"/>
                      <a:gd name="T1" fmla="*/ 0 h 18"/>
                      <a:gd name="T2" fmla="*/ 0 w 18"/>
                      <a:gd name="T3" fmla="*/ 2147483647 h 18"/>
                      <a:gd name="T4" fmla="*/ 2147483647 w 18"/>
                      <a:gd name="T5" fmla="*/ 0 h 18"/>
                      <a:gd name="T6" fmla="*/ 2147483647 w 18"/>
                      <a:gd name="T7" fmla="*/ 0 h 18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8"/>
                      <a:gd name="T13" fmla="*/ 0 h 18"/>
                      <a:gd name="T14" fmla="*/ 18 w 18"/>
                      <a:gd name="T15" fmla="*/ 18 h 18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8" h="18">
                        <a:moveTo>
                          <a:pt x="9" y="0"/>
                        </a:moveTo>
                        <a:lnTo>
                          <a:pt x="0" y="18"/>
                        </a:lnTo>
                        <a:lnTo>
                          <a:pt x="18" y="0"/>
                        </a:lnTo>
                        <a:lnTo>
                          <a:pt x="9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7" name="Freeform 298"/>
                  <p:cNvSpPr>
                    <a:spLocks/>
                  </p:cNvSpPr>
                  <p:nvPr/>
                </p:nvSpPr>
                <p:spPr bwMode="auto">
                  <a:xfrm>
                    <a:off x="3905251" y="3067050"/>
                    <a:ext cx="28575" cy="28575"/>
                  </a:xfrm>
                  <a:custGeom>
                    <a:avLst/>
                    <a:gdLst>
                      <a:gd name="T0" fmla="*/ 2147483647 w 18"/>
                      <a:gd name="T1" fmla="*/ 0 h 18"/>
                      <a:gd name="T2" fmla="*/ 0 w 18"/>
                      <a:gd name="T3" fmla="*/ 2147483647 h 18"/>
                      <a:gd name="T4" fmla="*/ 2147483647 w 18"/>
                      <a:gd name="T5" fmla="*/ 0 h 18"/>
                      <a:gd name="T6" fmla="*/ 2147483647 w 18"/>
                      <a:gd name="T7" fmla="*/ 0 h 18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8"/>
                      <a:gd name="T13" fmla="*/ 0 h 18"/>
                      <a:gd name="T14" fmla="*/ 18 w 18"/>
                      <a:gd name="T15" fmla="*/ 18 h 18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8" h="18">
                        <a:moveTo>
                          <a:pt x="9" y="0"/>
                        </a:moveTo>
                        <a:lnTo>
                          <a:pt x="0" y="18"/>
                        </a:lnTo>
                        <a:lnTo>
                          <a:pt x="18" y="0"/>
                        </a:lnTo>
                        <a:lnTo>
                          <a:pt x="9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8" name="Freeform 299"/>
                  <p:cNvSpPr>
                    <a:spLocks/>
                  </p:cNvSpPr>
                  <p:nvPr/>
                </p:nvSpPr>
                <p:spPr bwMode="auto">
                  <a:xfrm>
                    <a:off x="3975101" y="3054350"/>
                    <a:ext cx="26988" cy="41275"/>
                  </a:xfrm>
                  <a:custGeom>
                    <a:avLst/>
                    <a:gdLst>
                      <a:gd name="T0" fmla="*/ 2147483647 w 17"/>
                      <a:gd name="T1" fmla="*/ 2147483647 h 26"/>
                      <a:gd name="T2" fmla="*/ 2147483647 w 17"/>
                      <a:gd name="T3" fmla="*/ 0 h 26"/>
                      <a:gd name="T4" fmla="*/ 0 w 17"/>
                      <a:gd name="T5" fmla="*/ 2147483647 h 26"/>
                      <a:gd name="T6" fmla="*/ 2147483647 w 17"/>
                      <a:gd name="T7" fmla="*/ 2147483647 h 26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7"/>
                      <a:gd name="T13" fmla="*/ 0 h 26"/>
                      <a:gd name="T14" fmla="*/ 17 w 17"/>
                      <a:gd name="T15" fmla="*/ 26 h 26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7" h="26">
                        <a:moveTo>
                          <a:pt x="8" y="17"/>
                        </a:moveTo>
                        <a:lnTo>
                          <a:pt x="17" y="0"/>
                        </a:lnTo>
                        <a:lnTo>
                          <a:pt x="0" y="26"/>
                        </a:lnTo>
                        <a:lnTo>
                          <a:pt x="8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9" name="Freeform 300"/>
                  <p:cNvSpPr>
                    <a:spLocks/>
                  </p:cNvSpPr>
                  <p:nvPr/>
                </p:nvSpPr>
                <p:spPr bwMode="auto">
                  <a:xfrm>
                    <a:off x="3975101" y="3054350"/>
                    <a:ext cx="26988" cy="41275"/>
                  </a:xfrm>
                  <a:custGeom>
                    <a:avLst/>
                    <a:gdLst>
                      <a:gd name="T0" fmla="*/ 2147483647 w 17"/>
                      <a:gd name="T1" fmla="*/ 2147483647 h 26"/>
                      <a:gd name="T2" fmla="*/ 2147483647 w 17"/>
                      <a:gd name="T3" fmla="*/ 0 h 26"/>
                      <a:gd name="T4" fmla="*/ 0 w 17"/>
                      <a:gd name="T5" fmla="*/ 2147483647 h 26"/>
                      <a:gd name="T6" fmla="*/ 2147483647 w 17"/>
                      <a:gd name="T7" fmla="*/ 2147483647 h 26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7"/>
                      <a:gd name="T13" fmla="*/ 0 h 26"/>
                      <a:gd name="T14" fmla="*/ 17 w 17"/>
                      <a:gd name="T15" fmla="*/ 26 h 26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7" h="26">
                        <a:moveTo>
                          <a:pt x="8" y="17"/>
                        </a:moveTo>
                        <a:lnTo>
                          <a:pt x="17" y="0"/>
                        </a:lnTo>
                        <a:lnTo>
                          <a:pt x="0" y="26"/>
                        </a:lnTo>
                        <a:lnTo>
                          <a:pt x="8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0" name="Freeform 488"/>
                  <p:cNvSpPr>
                    <a:spLocks/>
                  </p:cNvSpPr>
                  <p:nvPr/>
                </p:nvSpPr>
                <p:spPr bwMode="auto">
                  <a:xfrm>
                    <a:off x="4556126" y="2817813"/>
                    <a:ext cx="96838" cy="222250"/>
                  </a:xfrm>
                  <a:custGeom>
                    <a:avLst/>
                    <a:gdLst>
                      <a:gd name="T0" fmla="*/ 2147483647 w 61"/>
                      <a:gd name="T1" fmla="*/ 2147483647 h 140"/>
                      <a:gd name="T2" fmla="*/ 2147483647 w 61"/>
                      <a:gd name="T3" fmla="*/ 2147483647 h 140"/>
                      <a:gd name="T4" fmla="*/ 2147483647 w 61"/>
                      <a:gd name="T5" fmla="*/ 0 h 140"/>
                      <a:gd name="T6" fmla="*/ 0 w 61"/>
                      <a:gd name="T7" fmla="*/ 2147483647 h 140"/>
                      <a:gd name="T8" fmla="*/ 2147483647 w 61"/>
                      <a:gd name="T9" fmla="*/ 2147483647 h 140"/>
                      <a:gd name="T10" fmla="*/ 2147483647 w 61"/>
                      <a:gd name="T11" fmla="*/ 2147483647 h 140"/>
                      <a:gd name="T12" fmla="*/ 2147483647 w 61"/>
                      <a:gd name="T13" fmla="*/ 2147483647 h 140"/>
                      <a:gd name="T14" fmla="*/ 2147483647 w 61"/>
                      <a:gd name="T15" fmla="*/ 2147483647 h 140"/>
                      <a:gd name="T16" fmla="*/ 2147483647 w 61"/>
                      <a:gd name="T17" fmla="*/ 2147483647 h 140"/>
                      <a:gd name="T18" fmla="*/ 2147483647 w 61"/>
                      <a:gd name="T19" fmla="*/ 2147483647 h 140"/>
                      <a:gd name="T20" fmla="*/ 2147483647 w 61"/>
                      <a:gd name="T21" fmla="*/ 2147483647 h 140"/>
                      <a:gd name="T22" fmla="*/ 2147483647 w 61"/>
                      <a:gd name="T23" fmla="*/ 2147483647 h 140"/>
                      <a:gd name="T24" fmla="*/ 2147483647 w 61"/>
                      <a:gd name="T25" fmla="*/ 2147483647 h 140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61"/>
                      <a:gd name="T40" fmla="*/ 0 h 140"/>
                      <a:gd name="T41" fmla="*/ 61 w 61"/>
                      <a:gd name="T42" fmla="*/ 140 h 140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61" h="140">
                        <a:moveTo>
                          <a:pt x="35" y="27"/>
                        </a:moveTo>
                        <a:lnTo>
                          <a:pt x="35" y="18"/>
                        </a:lnTo>
                        <a:lnTo>
                          <a:pt x="17" y="0"/>
                        </a:lnTo>
                        <a:lnTo>
                          <a:pt x="0" y="70"/>
                        </a:lnTo>
                        <a:lnTo>
                          <a:pt x="26" y="140"/>
                        </a:lnTo>
                        <a:lnTo>
                          <a:pt x="43" y="123"/>
                        </a:lnTo>
                        <a:lnTo>
                          <a:pt x="43" y="105"/>
                        </a:lnTo>
                        <a:lnTo>
                          <a:pt x="52" y="96"/>
                        </a:lnTo>
                        <a:lnTo>
                          <a:pt x="61" y="79"/>
                        </a:lnTo>
                        <a:lnTo>
                          <a:pt x="26" y="61"/>
                        </a:lnTo>
                        <a:lnTo>
                          <a:pt x="35" y="44"/>
                        </a:lnTo>
                        <a:lnTo>
                          <a:pt x="26" y="27"/>
                        </a:lnTo>
                        <a:lnTo>
                          <a:pt x="35" y="2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1" name="Freeform 490"/>
                  <p:cNvSpPr>
                    <a:spLocks/>
                  </p:cNvSpPr>
                  <p:nvPr/>
                </p:nvSpPr>
                <p:spPr bwMode="auto">
                  <a:xfrm>
                    <a:off x="4127501" y="2817813"/>
                    <a:ext cx="539750" cy="539750"/>
                  </a:xfrm>
                  <a:custGeom>
                    <a:avLst/>
                    <a:gdLst>
                      <a:gd name="T0" fmla="*/ 2147483647 w 340"/>
                      <a:gd name="T1" fmla="*/ 2147483647 h 340"/>
                      <a:gd name="T2" fmla="*/ 2147483647 w 340"/>
                      <a:gd name="T3" fmla="*/ 2147483647 h 340"/>
                      <a:gd name="T4" fmla="*/ 2147483647 w 340"/>
                      <a:gd name="T5" fmla="*/ 2147483647 h 340"/>
                      <a:gd name="T6" fmla="*/ 2147483647 w 340"/>
                      <a:gd name="T7" fmla="*/ 2147483647 h 340"/>
                      <a:gd name="T8" fmla="*/ 2147483647 w 340"/>
                      <a:gd name="T9" fmla="*/ 2147483647 h 340"/>
                      <a:gd name="T10" fmla="*/ 2147483647 w 340"/>
                      <a:gd name="T11" fmla="*/ 0 h 340"/>
                      <a:gd name="T12" fmla="*/ 2147483647 w 340"/>
                      <a:gd name="T13" fmla="*/ 2147483647 h 340"/>
                      <a:gd name="T14" fmla="*/ 2147483647 w 340"/>
                      <a:gd name="T15" fmla="*/ 2147483647 h 340"/>
                      <a:gd name="T16" fmla="*/ 2147483647 w 340"/>
                      <a:gd name="T17" fmla="*/ 2147483647 h 340"/>
                      <a:gd name="T18" fmla="*/ 2147483647 w 340"/>
                      <a:gd name="T19" fmla="*/ 2147483647 h 340"/>
                      <a:gd name="T20" fmla="*/ 2147483647 w 340"/>
                      <a:gd name="T21" fmla="*/ 2147483647 h 340"/>
                      <a:gd name="T22" fmla="*/ 2147483647 w 340"/>
                      <a:gd name="T23" fmla="*/ 2147483647 h 340"/>
                      <a:gd name="T24" fmla="*/ 2147483647 w 340"/>
                      <a:gd name="T25" fmla="*/ 2147483647 h 340"/>
                      <a:gd name="T26" fmla="*/ 2147483647 w 340"/>
                      <a:gd name="T27" fmla="*/ 2147483647 h 340"/>
                      <a:gd name="T28" fmla="*/ 2147483647 w 340"/>
                      <a:gd name="T29" fmla="*/ 2147483647 h 340"/>
                      <a:gd name="T30" fmla="*/ 2147483647 w 340"/>
                      <a:gd name="T31" fmla="*/ 2147483647 h 340"/>
                      <a:gd name="T32" fmla="*/ 0 w 340"/>
                      <a:gd name="T33" fmla="*/ 2147483647 h 340"/>
                      <a:gd name="T34" fmla="*/ 0 w 340"/>
                      <a:gd name="T35" fmla="*/ 2147483647 h 340"/>
                      <a:gd name="T36" fmla="*/ 2147483647 w 340"/>
                      <a:gd name="T37" fmla="*/ 2147483647 h 340"/>
                      <a:gd name="T38" fmla="*/ 2147483647 w 340"/>
                      <a:gd name="T39" fmla="*/ 2147483647 h 340"/>
                      <a:gd name="T40" fmla="*/ 2147483647 w 340"/>
                      <a:gd name="T41" fmla="*/ 2147483647 h 340"/>
                      <a:gd name="T42" fmla="*/ 2147483647 w 340"/>
                      <a:gd name="T43" fmla="*/ 2147483647 h 340"/>
                      <a:gd name="T44" fmla="*/ 2147483647 w 340"/>
                      <a:gd name="T45" fmla="*/ 2147483647 h 340"/>
                      <a:gd name="T46" fmla="*/ 2147483647 w 340"/>
                      <a:gd name="T47" fmla="*/ 2147483647 h 340"/>
                      <a:gd name="T48" fmla="*/ 2147483647 w 340"/>
                      <a:gd name="T49" fmla="*/ 2147483647 h 340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w 340"/>
                      <a:gd name="T76" fmla="*/ 0 h 340"/>
                      <a:gd name="T77" fmla="*/ 340 w 340"/>
                      <a:gd name="T78" fmla="*/ 340 h 340"/>
                    </a:gdLst>
                    <a:ahLst/>
                    <a:cxnLst>
                      <a:cxn ang="T50">
                        <a:pos x="T0" y="T1"/>
                      </a:cxn>
                      <a:cxn ang="T51">
                        <a:pos x="T2" y="T3"/>
                      </a:cxn>
                      <a:cxn ang="T52">
                        <a:pos x="T4" y="T5"/>
                      </a:cxn>
                      <a:cxn ang="T53">
                        <a:pos x="T6" y="T7"/>
                      </a:cxn>
                      <a:cxn ang="T54">
                        <a:pos x="T8" y="T9"/>
                      </a:cxn>
                      <a:cxn ang="T55">
                        <a:pos x="T10" y="T11"/>
                      </a:cxn>
                      <a:cxn ang="T56">
                        <a:pos x="T12" y="T13"/>
                      </a:cxn>
                      <a:cxn ang="T57">
                        <a:pos x="T14" y="T15"/>
                      </a:cxn>
                      <a:cxn ang="T58">
                        <a:pos x="T16" y="T17"/>
                      </a:cxn>
                      <a:cxn ang="T59">
                        <a:pos x="T18" y="T19"/>
                      </a:cxn>
                      <a:cxn ang="T60">
                        <a:pos x="T20" y="T21"/>
                      </a:cxn>
                      <a:cxn ang="T61">
                        <a:pos x="T22" y="T23"/>
                      </a:cxn>
                      <a:cxn ang="T62">
                        <a:pos x="T24" y="T25"/>
                      </a:cxn>
                      <a:cxn ang="T63">
                        <a:pos x="T26" y="T27"/>
                      </a:cxn>
                      <a:cxn ang="T64">
                        <a:pos x="T28" y="T29"/>
                      </a:cxn>
                      <a:cxn ang="T65">
                        <a:pos x="T30" y="T31"/>
                      </a:cxn>
                      <a:cxn ang="T66">
                        <a:pos x="T32" y="T33"/>
                      </a:cxn>
                      <a:cxn ang="T67">
                        <a:pos x="T34" y="T35"/>
                      </a:cxn>
                      <a:cxn ang="T68">
                        <a:pos x="T36" y="T37"/>
                      </a:cxn>
                      <a:cxn ang="T69">
                        <a:pos x="T38" y="T39"/>
                      </a:cxn>
                      <a:cxn ang="T70">
                        <a:pos x="T40" y="T41"/>
                      </a:cxn>
                      <a:cxn ang="T71">
                        <a:pos x="T42" y="T43"/>
                      </a:cxn>
                      <a:cxn ang="T72">
                        <a:pos x="T44" y="T45"/>
                      </a:cxn>
                      <a:cxn ang="T73">
                        <a:pos x="T46" y="T47"/>
                      </a:cxn>
                      <a:cxn ang="T74">
                        <a:pos x="T48" y="T49"/>
                      </a:cxn>
                    </a:cxnLst>
                    <a:rect l="T75" t="T76" r="T77" b="T78"/>
                    <a:pathLst>
                      <a:path w="340" h="340">
                        <a:moveTo>
                          <a:pt x="340" y="253"/>
                        </a:moveTo>
                        <a:lnTo>
                          <a:pt x="340" y="245"/>
                        </a:lnTo>
                        <a:lnTo>
                          <a:pt x="305" y="236"/>
                        </a:lnTo>
                        <a:lnTo>
                          <a:pt x="296" y="140"/>
                        </a:lnTo>
                        <a:lnTo>
                          <a:pt x="270" y="70"/>
                        </a:lnTo>
                        <a:lnTo>
                          <a:pt x="287" y="0"/>
                        </a:lnTo>
                        <a:lnTo>
                          <a:pt x="174" y="18"/>
                        </a:lnTo>
                        <a:lnTo>
                          <a:pt x="104" y="35"/>
                        </a:lnTo>
                        <a:lnTo>
                          <a:pt x="104" y="53"/>
                        </a:lnTo>
                        <a:lnTo>
                          <a:pt x="122" y="53"/>
                        </a:lnTo>
                        <a:lnTo>
                          <a:pt x="122" y="88"/>
                        </a:lnTo>
                        <a:lnTo>
                          <a:pt x="130" y="88"/>
                        </a:lnTo>
                        <a:lnTo>
                          <a:pt x="130" y="105"/>
                        </a:lnTo>
                        <a:lnTo>
                          <a:pt x="104" y="96"/>
                        </a:lnTo>
                        <a:lnTo>
                          <a:pt x="52" y="149"/>
                        </a:lnTo>
                        <a:lnTo>
                          <a:pt x="26" y="149"/>
                        </a:lnTo>
                        <a:lnTo>
                          <a:pt x="0" y="166"/>
                        </a:lnTo>
                        <a:lnTo>
                          <a:pt x="0" y="184"/>
                        </a:lnTo>
                        <a:lnTo>
                          <a:pt x="69" y="236"/>
                        </a:lnTo>
                        <a:lnTo>
                          <a:pt x="165" y="297"/>
                        </a:lnTo>
                        <a:lnTo>
                          <a:pt x="165" y="314"/>
                        </a:lnTo>
                        <a:lnTo>
                          <a:pt x="218" y="340"/>
                        </a:lnTo>
                        <a:lnTo>
                          <a:pt x="226" y="332"/>
                        </a:lnTo>
                        <a:lnTo>
                          <a:pt x="235" y="340"/>
                        </a:lnTo>
                        <a:lnTo>
                          <a:pt x="340" y="25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2" name="Freeform 516"/>
                  <p:cNvSpPr>
                    <a:spLocks/>
                  </p:cNvSpPr>
                  <p:nvPr/>
                </p:nvSpPr>
                <p:spPr bwMode="auto">
                  <a:xfrm>
                    <a:off x="3684589" y="3468688"/>
                    <a:ext cx="26988" cy="28575"/>
                  </a:xfrm>
                  <a:custGeom>
                    <a:avLst/>
                    <a:gdLst>
                      <a:gd name="T0" fmla="*/ 0 w 17"/>
                      <a:gd name="T1" fmla="*/ 2147483647 h 18"/>
                      <a:gd name="T2" fmla="*/ 2147483647 w 17"/>
                      <a:gd name="T3" fmla="*/ 2147483647 h 18"/>
                      <a:gd name="T4" fmla="*/ 2147483647 w 17"/>
                      <a:gd name="T5" fmla="*/ 2147483647 h 18"/>
                      <a:gd name="T6" fmla="*/ 2147483647 w 17"/>
                      <a:gd name="T7" fmla="*/ 2147483647 h 18"/>
                      <a:gd name="T8" fmla="*/ 0 w 17"/>
                      <a:gd name="T9" fmla="*/ 0 h 18"/>
                      <a:gd name="T10" fmla="*/ 0 w 17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18"/>
                      <a:gd name="T20" fmla="*/ 17 w 17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18">
                        <a:moveTo>
                          <a:pt x="0" y="18"/>
                        </a:moveTo>
                        <a:lnTo>
                          <a:pt x="8" y="18"/>
                        </a:lnTo>
                        <a:lnTo>
                          <a:pt x="17" y="18"/>
                        </a:lnTo>
                        <a:lnTo>
                          <a:pt x="17" y="9"/>
                        </a:lnTo>
                        <a:lnTo>
                          <a:pt x="0" y="0"/>
                        </a:lnTo>
                        <a:lnTo>
                          <a:pt x="0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3" name="Freeform 517"/>
                  <p:cNvSpPr>
                    <a:spLocks/>
                  </p:cNvSpPr>
                  <p:nvPr/>
                </p:nvSpPr>
                <p:spPr bwMode="auto">
                  <a:xfrm>
                    <a:off x="3684589" y="3468688"/>
                    <a:ext cx="26988" cy="28575"/>
                  </a:xfrm>
                  <a:custGeom>
                    <a:avLst/>
                    <a:gdLst>
                      <a:gd name="T0" fmla="*/ 0 w 17"/>
                      <a:gd name="T1" fmla="*/ 2147483647 h 18"/>
                      <a:gd name="T2" fmla="*/ 2147483647 w 17"/>
                      <a:gd name="T3" fmla="*/ 2147483647 h 18"/>
                      <a:gd name="T4" fmla="*/ 2147483647 w 17"/>
                      <a:gd name="T5" fmla="*/ 2147483647 h 18"/>
                      <a:gd name="T6" fmla="*/ 2147483647 w 17"/>
                      <a:gd name="T7" fmla="*/ 2147483647 h 18"/>
                      <a:gd name="T8" fmla="*/ 0 w 17"/>
                      <a:gd name="T9" fmla="*/ 0 h 18"/>
                      <a:gd name="T10" fmla="*/ 0 w 17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18"/>
                      <a:gd name="T20" fmla="*/ 17 w 17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18">
                        <a:moveTo>
                          <a:pt x="0" y="18"/>
                        </a:moveTo>
                        <a:lnTo>
                          <a:pt x="8" y="18"/>
                        </a:lnTo>
                        <a:lnTo>
                          <a:pt x="17" y="18"/>
                        </a:lnTo>
                        <a:lnTo>
                          <a:pt x="17" y="9"/>
                        </a:lnTo>
                        <a:lnTo>
                          <a:pt x="0" y="0"/>
                        </a:lnTo>
                        <a:lnTo>
                          <a:pt x="0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4" name="Freeform 518"/>
                  <p:cNvSpPr>
                    <a:spLocks/>
                  </p:cNvSpPr>
                  <p:nvPr/>
                </p:nvSpPr>
                <p:spPr bwMode="auto">
                  <a:xfrm>
                    <a:off x="5289551" y="3364792"/>
                    <a:ext cx="222251" cy="234950"/>
                  </a:xfrm>
                  <a:custGeom>
                    <a:avLst/>
                    <a:gdLst>
                      <a:gd name="T0" fmla="*/ 2147483647 w 140"/>
                      <a:gd name="T1" fmla="*/ 0 h 148"/>
                      <a:gd name="T2" fmla="*/ 2147483647 w 140"/>
                      <a:gd name="T3" fmla="*/ 2147483647 h 148"/>
                      <a:gd name="T4" fmla="*/ 0 w 140"/>
                      <a:gd name="T5" fmla="*/ 2147483647 h 148"/>
                      <a:gd name="T6" fmla="*/ 2147483647 w 140"/>
                      <a:gd name="T7" fmla="*/ 2147483647 h 148"/>
                      <a:gd name="T8" fmla="*/ 2147483647 w 140"/>
                      <a:gd name="T9" fmla="*/ 2147483647 h 148"/>
                      <a:gd name="T10" fmla="*/ 2147483647 w 140"/>
                      <a:gd name="T11" fmla="*/ 2147483647 h 148"/>
                      <a:gd name="T12" fmla="*/ 2147483647 w 140"/>
                      <a:gd name="T13" fmla="*/ 2147483647 h 148"/>
                      <a:gd name="T14" fmla="*/ 2147483647 w 140"/>
                      <a:gd name="T15" fmla="*/ 2147483647 h 148"/>
                      <a:gd name="T16" fmla="*/ 2147483647 w 140"/>
                      <a:gd name="T17" fmla="*/ 0 h 148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w 140"/>
                      <a:gd name="T28" fmla="*/ 0 h 148"/>
                      <a:gd name="T29" fmla="*/ 140 w 140"/>
                      <a:gd name="T30" fmla="*/ 148 h 148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T27" t="T28" r="T29" b="T30"/>
                    <a:pathLst>
                      <a:path w="140" h="148">
                        <a:moveTo>
                          <a:pt x="70" y="0"/>
                        </a:moveTo>
                        <a:lnTo>
                          <a:pt x="9" y="26"/>
                        </a:lnTo>
                        <a:lnTo>
                          <a:pt x="0" y="87"/>
                        </a:lnTo>
                        <a:lnTo>
                          <a:pt x="61" y="87"/>
                        </a:lnTo>
                        <a:lnTo>
                          <a:pt x="105" y="113"/>
                        </a:lnTo>
                        <a:lnTo>
                          <a:pt x="96" y="140"/>
                        </a:lnTo>
                        <a:lnTo>
                          <a:pt x="140" y="148"/>
                        </a:lnTo>
                        <a:lnTo>
                          <a:pt x="78" y="52"/>
                        </a:lnTo>
                        <a:lnTo>
                          <a:pt x="7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5" name="Freeform 520"/>
                  <p:cNvSpPr>
                    <a:spLocks/>
                  </p:cNvSpPr>
                  <p:nvPr/>
                </p:nvSpPr>
                <p:spPr bwMode="auto">
                  <a:xfrm>
                    <a:off x="5802314" y="4506913"/>
                    <a:ext cx="26988" cy="26988"/>
                  </a:xfrm>
                  <a:custGeom>
                    <a:avLst/>
                    <a:gdLst>
                      <a:gd name="T0" fmla="*/ 2147483647 w 17"/>
                      <a:gd name="T1" fmla="*/ 2147483647 h 17"/>
                      <a:gd name="T2" fmla="*/ 2147483647 w 17"/>
                      <a:gd name="T3" fmla="*/ 2147483647 h 17"/>
                      <a:gd name="T4" fmla="*/ 2147483647 w 17"/>
                      <a:gd name="T5" fmla="*/ 0 h 17"/>
                      <a:gd name="T6" fmla="*/ 0 w 17"/>
                      <a:gd name="T7" fmla="*/ 2147483647 h 17"/>
                      <a:gd name="T8" fmla="*/ 2147483647 w 17"/>
                      <a:gd name="T9" fmla="*/ 2147483647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7"/>
                      <a:gd name="T16" fmla="*/ 0 h 17"/>
                      <a:gd name="T17" fmla="*/ 17 w 17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7" h="17">
                        <a:moveTo>
                          <a:pt x="17" y="9"/>
                        </a:moveTo>
                        <a:lnTo>
                          <a:pt x="17" y="9"/>
                        </a:lnTo>
                        <a:lnTo>
                          <a:pt x="8" y="0"/>
                        </a:lnTo>
                        <a:lnTo>
                          <a:pt x="0" y="17"/>
                        </a:lnTo>
                        <a:lnTo>
                          <a:pt x="17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6" name="Freeform 521"/>
                  <p:cNvSpPr>
                    <a:spLocks/>
                  </p:cNvSpPr>
                  <p:nvPr/>
                </p:nvSpPr>
                <p:spPr bwMode="auto">
                  <a:xfrm>
                    <a:off x="5802314" y="4506913"/>
                    <a:ext cx="26988" cy="26988"/>
                  </a:xfrm>
                  <a:custGeom>
                    <a:avLst/>
                    <a:gdLst>
                      <a:gd name="T0" fmla="*/ 2147483647 w 17"/>
                      <a:gd name="T1" fmla="*/ 2147483647 h 17"/>
                      <a:gd name="T2" fmla="*/ 2147483647 w 17"/>
                      <a:gd name="T3" fmla="*/ 2147483647 h 17"/>
                      <a:gd name="T4" fmla="*/ 2147483647 w 17"/>
                      <a:gd name="T5" fmla="*/ 0 h 17"/>
                      <a:gd name="T6" fmla="*/ 0 w 17"/>
                      <a:gd name="T7" fmla="*/ 2147483647 h 17"/>
                      <a:gd name="T8" fmla="*/ 2147483647 w 17"/>
                      <a:gd name="T9" fmla="*/ 2147483647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7"/>
                      <a:gd name="T16" fmla="*/ 0 h 17"/>
                      <a:gd name="T17" fmla="*/ 17 w 17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7" h="17">
                        <a:moveTo>
                          <a:pt x="17" y="9"/>
                        </a:moveTo>
                        <a:lnTo>
                          <a:pt x="17" y="9"/>
                        </a:lnTo>
                        <a:lnTo>
                          <a:pt x="8" y="0"/>
                        </a:lnTo>
                        <a:lnTo>
                          <a:pt x="0" y="17"/>
                        </a:lnTo>
                        <a:lnTo>
                          <a:pt x="17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7" name="Freeform 522"/>
                  <p:cNvSpPr>
                    <a:spLocks/>
                  </p:cNvSpPr>
                  <p:nvPr/>
                </p:nvSpPr>
                <p:spPr bwMode="auto">
                  <a:xfrm>
                    <a:off x="5483226" y="4243388"/>
                    <a:ext cx="207963" cy="401638"/>
                  </a:xfrm>
                  <a:custGeom>
                    <a:avLst/>
                    <a:gdLst>
                      <a:gd name="T0" fmla="*/ 2147483647 w 131"/>
                      <a:gd name="T1" fmla="*/ 0 h 253"/>
                      <a:gd name="T2" fmla="*/ 2147483647 w 131"/>
                      <a:gd name="T3" fmla="*/ 2147483647 h 253"/>
                      <a:gd name="T4" fmla="*/ 2147483647 w 131"/>
                      <a:gd name="T5" fmla="*/ 2147483647 h 253"/>
                      <a:gd name="T6" fmla="*/ 2147483647 w 131"/>
                      <a:gd name="T7" fmla="*/ 2147483647 h 253"/>
                      <a:gd name="T8" fmla="*/ 2147483647 w 131"/>
                      <a:gd name="T9" fmla="*/ 2147483647 h 253"/>
                      <a:gd name="T10" fmla="*/ 2147483647 w 131"/>
                      <a:gd name="T11" fmla="*/ 2147483647 h 253"/>
                      <a:gd name="T12" fmla="*/ 2147483647 w 131"/>
                      <a:gd name="T13" fmla="*/ 2147483647 h 253"/>
                      <a:gd name="T14" fmla="*/ 0 w 131"/>
                      <a:gd name="T15" fmla="*/ 2147483647 h 253"/>
                      <a:gd name="T16" fmla="*/ 0 w 131"/>
                      <a:gd name="T17" fmla="*/ 2147483647 h 253"/>
                      <a:gd name="T18" fmla="*/ 0 w 131"/>
                      <a:gd name="T19" fmla="*/ 2147483647 h 253"/>
                      <a:gd name="T20" fmla="*/ 0 w 131"/>
                      <a:gd name="T21" fmla="*/ 2147483647 h 253"/>
                      <a:gd name="T22" fmla="*/ 0 w 131"/>
                      <a:gd name="T23" fmla="*/ 2147483647 h 253"/>
                      <a:gd name="T24" fmla="*/ 0 w 131"/>
                      <a:gd name="T25" fmla="*/ 2147483647 h 253"/>
                      <a:gd name="T26" fmla="*/ 0 w 131"/>
                      <a:gd name="T27" fmla="*/ 2147483647 h 253"/>
                      <a:gd name="T28" fmla="*/ 0 w 131"/>
                      <a:gd name="T29" fmla="*/ 2147483647 h 253"/>
                      <a:gd name="T30" fmla="*/ 2147483647 w 131"/>
                      <a:gd name="T31" fmla="*/ 2147483647 h 253"/>
                      <a:gd name="T32" fmla="*/ 2147483647 w 131"/>
                      <a:gd name="T33" fmla="*/ 2147483647 h 253"/>
                      <a:gd name="T34" fmla="*/ 2147483647 w 131"/>
                      <a:gd name="T35" fmla="*/ 2147483647 h 253"/>
                      <a:gd name="T36" fmla="*/ 2147483647 w 131"/>
                      <a:gd name="T37" fmla="*/ 2147483647 h 253"/>
                      <a:gd name="T38" fmla="*/ 2147483647 w 131"/>
                      <a:gd name="T39" fmla="*/ 2147483647 h 253"/>
                      <a:gd name="T40" fmla="*/ 2147483647 w 131"/>
                      <a:gd name="T41" fmla="*/ 2147483647 h 253"/>
                      <a:gd name="T42" fmla="*/ 2147483647 w 131"/>
                      <a:gd name="T43" fmla="*/ 2147483647 h 253"/>
                      <a:gd name="T44" fmla="*/ 2147483647 w 131"/>
                      <a:gd name="T45" fmla="*/ 2147483647 h 253"/>
                      <a:gd name="T46" fmla="*/ 2147483647 w 131"/>
                      <a:gd name="T47" fmla="*/ 2147483647 h 253"/>
                      <a:gd name="T48" fmla="*/ 2147483647 w 131"/>
                      <a:gd name="T49" fmla="*/ 2147483647 h 253"/>
                      <a:gd name="T50" fmla="*/ 2147483647 w 131"/>
                      <a:gd name="T51" fmla="*/ 2147483647 h 253"/>
                      <a:gd name="T52" fmla="*/ 2147483647 w 131"/>
                      <a:gd name="T53" fmla="*/ 2147483647 h 253"/>
                      <a:gd name="T54" fmla="*/ 2147483647 w 131"/>
                      <a:gd name="T55" fmla="*/ 2147483647 h 253"/>
                      <a:gd name="T56" fmla="*/ 2147483647 w 131"/>
                      <a:gd name="T57" fmla="*/ 2147483647 h 253"/>
                      <a:gd name="T58" fmla="*/ 2147483647 w 131"/>
                      <a:gd name="T59" fmla="*/ 2147483647 h 253"/>
                      <a:gd name="T60" fmla="*/ 2147483647 w 131"/>
                      <a:gd name="T61" fmla="*/ 2147483647 h 253"/>
                      <a:gd name="T62" fmla="*/ 2147483647 w 131"/>
                      <a:gd name="T63" fmla="*/ 2147483647 h 253"/>
                      <a:gd name="T64" fmla="*/ 2147483647 w 131"/>
                      <a:gd name="T65" fmla="*/ 0 h 253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31"/>
                      <a:gd name="T100" fmla="*/ 0 h 253"/>
                      <a:gd name="T101" fmla="*/ 131 w 131"/>
                      <a:gd name="T102" fmla="*/ 253 h 253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31" h="253">
                        <a:moveTo>
                          <a:pt x="113" y="0"/>
                        </a:moveTo>
                        <a:lnTo>
                          <a:pt x="87" y="52"/>
                        </a:lnTo>
                        <a:lnTo>
                          <a:pt x="70" y="52"/>
                        </a:lnTo>
                        <a:lnTo>
                          <a:pt x="70" y="61"/>
                        </a:lnTo>
                        <a:lnTo>
                          <a:pt x="26" y="79"/>
                        </a:lnTo>
                        <a:lnTo>
                          <a:pt x="18" y="105"/>
                        </a:lnTo>
                        <a:lnTo>
                          <a:pt x="26" y="140"/>
                        </a:lnTo>
                        <a:lnTo>
                          <a:pt x="0" y="175"/>
                        </a:lnTo>
                        <a:lnTo>
                          <a:pt x="0" y="192"/>
                        </a:lnTo>
                        <a:lnTo>
                          <a:pt x="0" y="201"/>
                        </a:lnTo>
                        <a:lnTo>
                          <a:pt x="0" y="209"/>
                        </a:lnTo>
                        <a:lnTo>
                          <a:pt x="0" y="218"/>
                        </a:lnTo>
                        <a:lnTo>
                          <a:pt x="0" y="227"/>
                        </a:lnTo>
                        <a:lnTo>
                          <a:pt x="9" y="227"/>
                        </a:lnTo>
                        <a:lnTo>
                          <a:pt x="9" y="236"/>
                        </a:lnTo>
                        <a:lnTo>
                          <a:pt x="18" y="244"/>
                        </a:lnTo>
                        <a:lnTo>
                          <a:pt x="26" y="253"/>
                        </a:lnTo>
                        <a:lnTo>
                          <a:pt x="61" y="236"/>
                        </a:lnTo>
                        <a:lnTo>
                          <a:pt x="70" y="201"/>
                        </a:lnTo>
                        <a:lnTo>
                          <a:pt x="96" y="157"/>
                        </a:lnTo>
                        <a:lnTo>
                          <a:pt x="96" y="148"/>
                        </a:lnTo>
                        <a:lnTo>
                          <a:pt x="131" y="52"/>
                        </a:lnTo>
                        <a:lnTo>
                          <a:pt x="131" y="35"/>
                        </a:lnTo>
                        <a:lnTo>
                          <a:pt x="131" y="26"/>
                        </a:lnTo>
                        <a:lnTo>
                          <a:pt x="113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8" name="Freeform 523"/>
                  <p:cNvSpPr>
                    <a:spLocks/>
                  </p:cNvSpPr>
                  <p:nvPr/>
                </p:nvSpPr>
                <p:spPr bwMode="auto">
                  <a:xfrm>
                    <a:off x="5483226" y="4243388"/>
                    <a:ext cx="207963" cy="401638"/>
                  </a:xfrm>
                  <a:custGeom>
                    <a:avLst/>
                    <a:gdLst>
                      <a:gd name="T0" fmla="*/ 2147483647 w 131"/>
                      <a:gd name="T1" fmla="*/ 0 h 253"/>
                      <a:gd name="T2" fmla="*/ 2147483647 w 131"/>
                      <a:gd name="T3" fmla="*/ 2147483647 h 253"/>
                      <a:gd name="T4" fmla="*/ 2147483647 w 131"/>
                      <a:gd name="T5" fmla="*/ 2147483647 h 253"/>
                      <a:gd name="T6" fmla="*/ 2147483647 w 131"/>
                      <a:gd name="T7" fmla="*/ 2147483647 h 253"/>
                      <a:gd name="T8" fmla="*/ 2147483647 w 131"/>
                      <a:gd name="T9" fmla="*/ 2147483647 h 253"/>
                      <a:gd name="T10" fmla="*/ 2147483647 w 131"/>
                      <a:gd name="T11" fmla="*/ 2147483647 h 253"/>
                      <a:gd name="T12" fmla="*/ 2147483647 w 131"/>
                      <a:gd name="T13" fmla="*/ 2147483647 h 253"/>
                      <a:gd name="T14" fmla="*/ 0 w 131"/>
                      <a:gd name="T15" fmla="*/ 2147483647 h 253"/>
                      <a:gd name="T16" fmla="*/ 0 w 131"/>
                      <a:gd name="T17" fmla="*/ 2147483647 h 253"/>
                      <a:gd name="T18" fmla="*/ 0 w 131"/>
                      <a:gd name="T19" fmla="*/ 2147483647 h 253"/>
                      <a:gd name="T20" fmla="*/ 0 w 131"/>
                      <a:gd name="T21" fmla="*/ 2147483647 h 253"/>
                      <a:gd name="T22" fmla="*/ 0 w 131"/>
                      <a:gd name="T23" fmla="*/ 2147483647 h 253"/>
                      <a:gd name="T24" fmla="*/ 0 w 131"/>
                      <a:gd name="T25" fmla="*/ 2147483647 h 253"/>
                      <a:gd name="T26" fmla="*/ 0 w 131"/>
                      <a:gd name="T27" fmla="*/ 2147483647 h 253"/>
                      <a:gd name="T28" fmla="*/ 0 w 131"/>
                      <a:gd name="T29" fmla="*/ 2147483647 h 253"/>
                      <a:gd name="T30" fmla="*/ 2147483647 w 131"/>
                      <a:gd name="T31" fmla="*/ 2147483647 h 253"/>
                      <a:gd name="T32" fmla="*/ 2147483647 w 131"/>
                      <a:gd name="T33" fmla="*/ 2147483647 h 253"/>
                      <a:gd name="T34" fmla="*/ 2147483647 w 131"/>
                      <a:gd name="T35" fmla="*/ 2147483647 h 253"/>
                      <a:gd name="T36" fmla="*/ 2147483647 w 131"/>
                      <a:gd name="T37" fmla="*/ 2147483647 h 253"/>
                      <a:gd name="T38" fmla="*/ 2147483647 w 131"/>
                      <a:gd name="T39" fmla="*/ 2147483647 h 253"/>
                      <a:gd name="T40" fmla="*/ 2147483647 w 131"/>
                      <a:gd name="T41" fmla="*/ 2147483647 h 253"/>
                      <a:gd name="T42" fmla="*/ 2147483647 w 131"/>
                      <a:gd name="T43" fmla="*/ 2147483647 h 253"/>
                      <a:gd name="T44" fmla="*/ 2147483647 w 131"/>
                      <a:gd name="T45" fmla="*/ 2147483647 h 253"/>
                      <a:gd name="T46" fmla="*/ 2147483647 w 131"/>
                      <a:gd name="T47" fmla="*/ 2147483647 h 253"/>
                      <a:gd name="T48" fmla="*/ 2147483647 w 131"/>
                      <a:gd name="T49" fmla="*/ 2147483647 h 253"/>
                      <a:gd name="T50" fmla="*/ 2147483647 w 131"/>
                      <a:gd name="T51" fmla="*/ 2147483647 h 253"/>
                      <a:gd name="T52" fmla="*/ 2147483647 w 131"/>
                      <a:gd name="T53" fmla="*/ 2147483647 h 253"/>
                      <a:gd name="T54" fmla="*/ 2147483647 w 131"/>
                      <a:gd name="T55" fmla="*/ 2147483647 h 253"/>
                      <a:gd name="T56" fmla="*/ 2147483647 w 131"/>
                      <a:gd name="T57" fmla="*/ 2147483647 h 253"/>
                      <a:gd name="T58" fmla="*/ 2147483647 w 131"/>
                      <a:gd name="T59" fmla="*/ 2147483647 h 253"/>
                      <a:gd name="T60" fmla="*/ 2147483647 w 131"/>
                      <a:gd name="T61" fmla="*/ 2147483647 h 253"/>
                      <a:gd name="T62" fmla="*/ 2147483647 w 131"/>
                      <a:gd name="T63" fmla="*/ 2147483647 h 253"/>
                      <a:gd name="T64" fmla="*/ 2147483647 w 131"/>
                      <a:gd name="T65" fmla="*/ 0 h 253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31"/>
                      <a:gd name="T100" fmla="*/ 0 h 253"/>
                      <a:gd name="T101" fmla="*/ 131 w 131"/>
                      <a:gd name="T102" fmla="*/ 253 h 253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31" h="253">
                        <a:moveTo>
                          <a:pt x="113" y="0"/>
                        </a:moveTo>
                        <a:lnTo>
                          <a:pt x="87" y="52"/>
                        </a:lnTo>
                        <a:lnTo>
                          <a:pt x="70" y="52"/>
                        </a:lnTo>
                        <a:lnTo>
                          <a:pt x="70" y="61"/>
                        </a:lnTo>
                        <a:lnTo>
                          <a:pt x="26" y="79"/>
                        </a:lnTo>
                        <a:lnTo>
                          <a:pt x="18" y="105"/>
                        </a:lnTo>
                        <a:lnTo>
                          <a:pt x="26" y="140"/>
                        </a:lnTo>
                        <a:lnTo>
                          <a:pt x="0" y="175"/>
                        </a:lnTo>
                        <a:lnTo>
                          <a:pt x="0" y="192"/>
                        </a:lnTo>
                        <a:lnTo>
                          <a:pt x="0" y="201"/>
                        </a:lnTo>
                        <a:lnTo>
                          <a:pt x="0" y="209"/>
                        </a:lnTo>
                        <a:lnTo>
                          <a:pt x="0" y="218"/>
                        </a:lnTo>
                        <a:lnTo>
                          <a:pt x="0" y="227"/>
                        </a:lnTo>
                        <a:lnTo>
                          <a:pt x="9" y="227"/>
                        </a:lnTo>
                        <a:lnTo>
                          <a:pt x="9" y="236"/>
                        </a:lnTo>
                        <a:lnTo>
                          <a:pt x="18" y="244"/>
                        </a:lnTo>
                        <a:lnTo>
                          <a:pt x="26" y="253"/>
                        </a:lnTo>
                        <a:lnTo>
                          <a:pt x="61" y="236"/>
                        </a:lnTo>
                        <a:lnTo>
                          <a:pt x="70" y="201"/>
                        </a:lnTo>
                        <a:lnTo>
                          <a:pt x="96" y="157"/>
                        </a:lnTo>
                        <a:lnTo>
                          <a:pt x="96" y="148"/>
                        </a:lnTo>
                        <a:lnTo>
                          <a:pt x="131" y="52"/>
                        </a:lnTo>
                        <a:lnTo>
                          <a:pt x="131" y="35"/>
                        </a:lnTo>
                        <a:lnTo>
                          <a:pt x="131" y="26"/>
                        </a:lnTo>
                        <a:lnTo>
                          <a:pt x="113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9" name="Freeform 524"/>
                  <p:cNvSpPr>
                    <a:spLocks/>
                  </p:cNvSpPr>
                  <p:nvPr/>
                </p:nvSpPr>
                <p:spPr bwMode="auto">
                  <a:xfrm>
                    <a:off x="5456239" y="3551238"/>
                    <a:ext cx="261938" cy="387350"/>
                  </a:xfrm>
                  <a:custGeom>
                    <a:avLst/>
                    <a:gdLst>
                      <a:gd name="T0" fmla="*/ 2147483647 w 165"/>
                      <a:gd name="T1" fmla="*/ 2147483647 h 244"/>
                      <a:gd name="T2" fmla="*/ 2147483647 w 165"/>
                      <a:gd name="T3" fmla="*/ 2147483647 h 244"/>
                      <a:gd name="T4" fmla="*/ 2147483647 w 165"/>
                      <a:gd name="T5" fmla="*/ 2147483647 h 244"/>
                      <a:gd name="T6" fmla="*/ 2147483647 w 165"/>
                      <a:gd name="T7" fmla="*/ 2147483647 h 244"/>
                      <a:gd name="T8" fmla="*/ 2147483647 w 165"/>
                      <a:gd name="T9" fmla="*/ 2147483647 h 244"/>
                      <a:gd name="T10" fmla="*/ 2147483647 w 165"/>
                      <a:gd name="T11" fmla="*/ 2147483647 h 244"/>
                      <a:gd name="T12" fmla="*/ 2147483647 w 165"/>
                      <a:gd name="T13" fmla="*/ 2147483647 h 244"/>
                      <a:gd name="T14" fmla="*/ 0 w 165"/>
                      <a:gd name="T15" fmla="*/ 2147483647 h 244"/>
                      <a:gd name="T16" fmla="*/ 0 w 165"/>
                      <a:gd name="T17" fmla="*/ 2147483647 h 244"/>
                      <a:gd name="T18" fmla="*/ 2147483647 w 165"/>
                      <a:gd name="T19" fmla="*/ 2147483647 h 244"/>
                      <a:gd name="T20" fmla="*/ 2147483647 w 165"/>
                      <a:gd name="T21" fmla="*/ 2147483647 h 244"/>
                      <a:gd name="T22" fmla="*/ 2147483647 w 165"/>
                      <a:gd name="T23" fmla="*/ 2147483647 h 244"/>
                      <a:gd name="T24" fmla="*/ 2147483647 w 165"/>
                      <a:gd name="T25" fmla="*/ 2147483647 h 244"/>
                      <a:gd name="T26" fmla="*/ 2147483647 w 165"/>
                      <a:gd name="T27" fmla="*/ 0 h 244"/>
                      <a:gd name="T28" fmla="*/ 2147483647 w 165"/>
                      <a:gd name="T29" fmla="*/ 2147483647 h 244"/>
                      <a:gd name="T30" fmla="*/ 2147483647 w 165"/>
                      <a:gd name="T31" fmla="*/ 2147483647 h 244"/>
                      <a:gd name="T32" fmla="*/ 2147483647 w 165"/>
                      <a:gd name="T33" fmla="*/ 2147483647 h 244"/>
                      <a:gd name="T34" fmla="*/ 2147483647 w 165"/>
                      <a:gd name="T35" fmla="*/ 2147483647 h 24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165"/>
                      <a:gd name="T55" fmla="*/ 0 h 244"/>
                      <a:gd name="T56" fmla="*/ 165 w 165"/>
                      <a:gd name="T57" fmla="*/ 244 h 244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165" h="244">
                        <a:moveTo>
                          <a:pt x="8" y="18"/>
                        </a:moveTo>
                        <a:lnTo>
                          <a:pt x="35" y="53"/>
                        </a:lnTo>
                        <a:lnTo>
                          <a:pt x="113" y="79"/>
                        </a:lnTo>
                        <a:lnTo>
                          <a:pt x="78" y="114"/>
                        </a:lnTo>
                        <a:lnTo>
                          <a:pt x="61" y="131"/>
                        </a:lnTo>
                        <a:lnTo>
                          <a:pt x="43" y="131"/>
                        </a:lnTo>
                        <a:lnTo>
                          <a:pt x="17" y="149"/>
                        </a:lnTo>
                        <a:lnTo>
                          <a:pt x="0" y="166"/>
                        </a:lnTo>
                        <a:lnTo>
                          <a:pt x="0" y="244"/>
                        </a:lnTo>
                        <a:lnTo>
                          <a:pt x="69" y="183"/>
                        </a:lnTo>
                        <a:lnTo>
                          <a:pt x="104" y="157"/>
                        </a:lnTo>
                        <a:lnTo>
                          <a:pt x="148" y="88"/>
                        </a:lnTo>
                        <a:lnTo>
                          <a:pt x="165" y="18"/>
                        </a:lnTo>
                        <a:lnTo>
                          <a:pt x="157" y="0"/>
                        </a:lnTo>
                        <a:lnTo>
                          <a:pt x="139" y="9"/>
                        </a:lnTo>
                        <a:lnTo>
                          <a:pt x="43" y="27"/>
                        </a:lnTo>
                        <a:lnTo>
                          <a:pt x="35" y="9"/>
                        </a:lnTo>
                        <a:lnTo>
                          <a:pt x="8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0" name="Freeform 525"/>
                  <p:cNvSpPr>
                    <a:spLocks/>
                  </p:cNvSpPr>
                  <p:nvPr/>
                </p:nvSpPr>
                <p:spPr bwMode="auto">
                  <a:xfrm>
                    <a:off x="5456239" y="3551238"/>
                    <a:ext cx="261938" cy="387350"/>
                  </a:xfrm>
                  <a:custGeom>
                    <a:avLst/>
                    <a:gdLst>
                      <a:gd name="T0" fmla="*/ 2147483647 w 165"/>
                      <a:gd name="T1" fmla="*/ 2147483647 h 244"/>
                      <a:gd name="T2" fmla="*/ 2147483647 w 165"/>
                      <a:gd name="T3" fmla="*/ 2147483647 h 244"/>
                      <a:gd name="T4" fmla="*/ 2147483647 w 165"/>
                      <a:gd name="T5" fmla="*/ 2147483647 h 244"/>
                      <a:gd name="T6" fmla="*/ 2147483647 w 165"/>
                      <a:gd name="T7" fmla="*/ 2147483647 h 244"/>
                      <a:gd name="T8" fmla="*/ 2147483647 w 165"/>
                      <a:gd name="T9" fmla="*/ 2147483647 h 244"/>
                      <a:gd name="T10" fmla="*/ 2147483647 w 165"/>
                      <a:gd name="T11" fmla="*/ 2147483647 h 244"/>
                      <a:gd name="T12" fmla="*/ 2147483647 w 165"/>
                      <a:gd name="T13" fmla="*/ 2147483647 h 244"/>
                      <a:gd name="T14" fmla="*/ 0 w 165"/>
                      <a:gd name="T15" fmla="*/ 2147483647 h 244"/>
                      <a:gd name="T16" fmla="*/ 0 w 165"/>
                      <a:gd name="T17" fmla="*/ 2147483647 h 244"/>
                      <a:gd name="T18" fmla="*/ 2147483647 w 165"/>
                      <a:gd name="T19" fmla="*/ 2147483647 h 244"/>
                      <a:gd name="T20" fmla="*/ 2147483647 w 165"/>
                      <a:gd name="T21" fmla="*/ 2147483647 h 244"/>
                      <a:gd name="T22" fmla="*/ 2147483647 w 165"/>
                      <a:gd name="T23" fmla="*/ 2147483647 h 244"/>
                      <a:gd name="T24" fmla="*/ 2147483647 w 165"/>
                      <a:gd name="T25" fmla="*/ 2147483647 h 244"/>
                      <a:gd name="T26" fmla="*/ 2147483647 w 165"/>
                      <a:gd name="T27" fmla="*/ 0 h 244"/>
                      <a:gd name="T28" fmla="*/ 2147483647 w 165"/>
                      <a:gd name="T29" fmla="*/ 2147483647 h 244"/>
                      <a:gd name="T30" fmla="*/ 2147483647 w 165"/>
                      <a:gd name="T31" fmla="*/ 2147483647 h 244"/>
                      <a:gd name="T32" fmla="*/ 2147483647 w 165"/>
                      <a:gd name="T33" fmla="*/ 2147483647 h 244"/>
                      <a:gd name="T34" fmla="*/ 2147483647 w 165"/>
                      <a:gd name="T35" fmla="*/ 2147483647 h 24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165"/>
                      <a:gd name="T55" fmla="*/ 0 h 244"/>
                      <a:gd name="T56" fmla="*/ 165 w 165"/>
                      <a:gd name="T57" fmla="*/ 244 h 244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165" h="244">
                        <a:moveTo>
                          <a:pt x="8" y="18"/>
                        </a:moveTo>
                        <a:lnTo>
                          <a:pt x="35" y="53"/>
                        </a:lnTo>
                        <a:lnTo>
                          <a:pt x="113" y="79"/>
                        </a:lnTo>
                        <a:lnTo>
                          <a:pt x="78" y="114"/>
                        </a:lnTo>
                        <a:lnTo>
                          <a:pt x="61" y="131"/>
                        </a:lnTo>
                        <a:lnTo>
                          <a:pt x="43" y="131"/>
                        </a:lnTo>
                        <a:lnTo>
                          <a:pt x="17" y="149"/>
                        </a:lnTo>
                        <a:lnTo>
                          <a:pt x="0" y="166"/>
                        </a:lnTo>
                        <a:lnTo>
                          <a:pt x="0" y="244"/>
                        </a:lnTo>
                        <a:lnTo>
                          <a:pt x="69" y="183"/>
                        </a:lnTo>
                        <a:lnTo>
                          <a:pt x="104" y="157"/>
                        </a:lnTo>
                        <a:lnTo>
                          <a:pt x="148" y="88"/>
                        </a:lnTo>
                        <a:lnTo>
                          <a:pt x="165" y="18"/>
                        </a:lnTo>
                        <a:lnTo>
                          <a:pt x="157" y="0"/>
                        </a:lnTo>
                        <a:lnTo>
                          <a:pt x="139" y="9"/>
                        </a:lnTo>
                        <a:lnTo>
                          <a:pt x="43" y="27"/>
                        </a:lnTo>
                        <a:lnTo>
                          <a:pt x="35" y="9"/>
                        </a:lnTo>
                        <a:lnTo>
                          <a:pt x="8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1" name="Freeform 526"/>
                  <p:cNvSpPr>
                    <a:spLocks/>
                  </p:cNvSpPr>
                  <p:nvPr/>
                </p:nvSpPr>
                <p:spPr bwMode="auto">
                  <a:xfrm>
                    <a:off x="4583114" y="3841750"/>
                    <a:ext cx="166688" cy="180975"/>
                  </a:xfrm>
                  <a:custGeom>
                    <a:avLst/>
                    <a:gdLst>
                      <a:gd name="T0" fmla="*/ 2147483647 w 105"/>
                      <a:gd name="T1" fmla="*/ 2147483647 h 114"/>
                      <a:gd name="T2" fmla="*/ 2147483647 w 105"/>
                      <a:gd name="T3" fmla="*/ 0 h 114"/>
                      <a:gd name="T4" fmla="*/ 2147483647 w 105"/>
                      <a:gd name="T5" fmla="*/ 0 h 114"/>
                      <a:gd name="T6" fmla="*/ 2147483647 w 105"/>
                      <a:gd name="T7" fmla="*/ 2147483647 h 114"/>
                      <a:gd name="T8" fmla="*/ 2147483647 w 105"/>
                      <a:gd name="T9" fmla="*/ 2147483647 h 114"/>
                      <a:gd name="T10" fmla="*/ 2147483647 w 105"/>
                      <a:gd name="T11" fmla="*/ 2147483647 h 114"/>
                      <a:gd name="T12" fmla="*/ 0 w 105"/>
                      <a:gd name="T13" fmla="*/ 2147483647 h 114"/>
                      <a:gd name="T14" fmla="*/ 2147483647 w 105"/>
                      <a:gd name="T15" fmla="*/ 2147483647 h 114"/>
                      <a:gd name="T16" fmla="*/ 2147483647 w 105"/>
                      <a:gd name="T17" fmla="*/ 2147483647 h 114"/>
                      <a:gd name="T18" fmla="*/ 2147483647 w 105"/>
                      <a:gd name="T19" fmla="*/ 2147483647 h 114"/>
                      <a:gd name="T20" fmla="*/ 2147483647 w 105"/>
                      <a:gd name="T21" fmla="*/ 2147483647 h 114"/>
                      <a:gd name="T22" fmla="*/ 2147483647 w 105"/>
                      <a:gd name="T23" fmla="*/ 2147483647 h 114"/>
                      <a:gd name="T24" fmla="*/ 2147483647 w 105"/>
                      <a:gd name="T25" fmla="*/ 2147483647 h 114"/>
                      <a:gd name="T26" fmla="*/ 2147483647 w 105"/>
                      <a:gd name="T27" fmla="*/ 2147483647 h 114"/>
                      <a:gd name="T28" fmla="*/ 2147483647 w 105"/>
                      <a:gd name="T29" fmla="*/ 2147483647 h 114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05"/>
                      <a:gd name="T46" fmla="*/ 0 h 114"/>
                      <a:gd name="T47" fmla="*/ 105 w 105"/>
                      <a:gd name="T48" fmla="*/ 114 h 114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05" h="114">
                        <a:moveTo>
                          <a:pt x="88" y="18"/>
                        </a:moveTo>
                        <a:lnTo>
                          <a:pt x="79" y="0"/>
                        </a:lnTo>
                        <a:lnTo>
                          <a:pt x="53" y="0"/>
                        </a:lnTo>
                        <a:lnTo>
                          <a:pt x="53" y="18"/>
                        </a:lnTo>
                        <a:lnTo>
                          <a:pt x="18" y="18"/>
                        </a:lnTo>
                        <a:lnTo>
                          <a:pt x="18" y="35"/>
                        </a:lnTo>
                        <a:lnTo>
                          <a:pt x="0" y="53"/>
                        </a:lnTo>
                        <a:lnTo>
                          <a:pt x="35" y="114"/>
                        </a:lnTo>
                        <a:lnTo>
                          <a:pt x="61" y="105"/>
                        </a:lnTo>
                        <a:lnTo>
                          <a:pt x="61" y="79"/>
                        </a:lnTo>
                        <a:lnTo>
                          <a:pt x="96" y="79"/>
                        </a:lnTo>
                        <a:lnTo>
                          <a:pt x="105" y="61"/>
                        </a:lnTo>
                        <a:lnTo>
                          <a:pt x="96" y="35"/>
                        </a:lnTo>
                        <a:lnTo>
                          <a:pt x="96" y="18"/>
                        </a:lnTo>
                        <a:lnTo>
                          <a:pt x="88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2" name="Freeform 527"/>
                  <p:cNvSpPr>
                    <a:spLocks/>
                  </p:cNvSpPr>
                  <p:nvPr/>
                </p:nvSpPr>
                <p:spPr bwMode="auto">
                  <a:xfrm>
                    <a:off x="4583114" y="3841750"/>
                    <a:ext cx="166688" cy="180975"/>
                  </a:xfrm>
                  <a:custGeom>
                    <a:avLst/>
                    <a:gdLst>
                      <a:gd name="T0" fmla="*/ 2147483647 w 105"/>
                      <a:gd name="T1" fmla="*/ 2147483647 h 114"/>
                      <a:gd name="T2" fmla="*/ 2147483647 w 105"/>
                      <a:gd name="T3" fmla="*/ 0 h 114"/>
                      <a:gd name="T4" fmla="*/ 2147483647 w 105"/>
                      <a:gd name="T5" fmla="*/ 0 h 114"/>
                      <a:gd name="T6" fmla="*/ 2147483647 w 105"/>
                      <a:gd name="T7" fmla="*/ 2147483647 h 114"/>
                      <a:gd name="T8" fmla="*/ 2147483647 w 105"/>
                      <a:gd name="T9" fmla="*/ 2147483647 h 114"/>
                      <a:gd name="T10" fmla="*/ 2147483647 w 105"/>
                      <a:gd name="T11" fmla="*/ 2147483647 h 114"/>
                      <a:gd name="T12" fmla="*/ 0 w 105"/>
                      <a:gd name="T13" fmla="*/ 2147483647 h 114"/>
                      <a:gd name="T14" fmla="*/ 2147483647 w 105"/>
                      <a:gd name="T15" fmla="*/ 2147483647 h 114"/>
                      <a:gd name="T16" fmla="*/ 2147483647 w 105"/>
                      <a:gd name="T17" fmla="*/ 2147483647 h 114"/>
                      <a:gd name="T18" fmla="*/ 2147483647 w 105"/>
                      <a:gd name="T19" fmla="*/ 2147483647 h 114"/>
                      <a:gd name="T20" fmla="*/ 2147483647 w 105"/>
                      <a:gd name="T21" fmla="*/ 2147483647 h 114"/>
                      <a:gd name="T22" fmla="*/ 2147483647 w 105"/>
                      <a:gd name="T23" fmla="*/ 2147483647 h 114"/>
                      <a:gd name="T24" fmla="*/ 2147483647 w 105"/>
                      <a:gd name="T25" fmla="*/ 2147483647 h 114"/>
                      <a:gd name="T26" fmla="*/ 2147483647 w 105"/>
                      <a:gd name="T27" fmla="*/ 2147483647 h 114"/>
                      <a:gd name="T28" fmla="*/ 2147483647 w 105"/>
                      <a:gd name="T29" fmla="*/ 2147483647 h 114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05"/>
                      <a:gd name="T46" fmla="*/ 0 h 114"/>
                      <a:gd name="T47" fmla="*/ 105 w 105"/>
                      <a:gd name="T48" fmla="*/ 114 h 114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05" h="114">
                        <a:moveTo>
                          <a:pt x="88" y="18"/>
                        </a:moveTo>
                        <a:lnTo>
                          <a:pt x="79" y="0"/>
                        </a:lnTo>
                        <a:lnTo>
                          <a:pt x="53" y="0"/>
                        </a:lnTo>
                        <a:lnTo>
                          <a:pt x="53" y="18"/>
                        </a:lnTo>
                        <a:lnTo>
                          <a:pt x="18" y="18"/>
                        </a:lnTo>
                        <a:lnTo>
                          <a:pt x="18" y="35"/>
                        </a:lnTo>
                        <a:lnTo>
                          <a:pt x="0" y="53"/>
                        </a:lnTo>
                        <a:lnTo>
                          <a:pt x="35" y="114"/>
                        </a:lnTo>
                        <a:lnTo>
                          <a:pt x="61" y="105"/>
                        </a:lnTo>
                        <a:lnTo>
                          <a:pt x="61" y="79"/>
                        </a:lnTo>
                        <a:lnTo>
                          <a:pt x="96" y="79"/>
                        </a:lnTo>
                        <a:lnTo>
                          <a:pt x="105" y="61"/>
                        </a:lnTo>
                        <a:lnTo>
                          <a:pt x="96" y="35"/>
                        </a:lnTo>
                        <a:lnTo>
                          <a:pt x="96" y="18"/>
                        </a:lnTo>
                        <a:lnTo>
                          <a:pt x="88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3" name="Freeform 529"/>
                  <p:cNvSpPr>
                    <a:spLocks/>
                  </p:cNvSpPr>
                  <p:nvPr/>
                </p:nvSpPr>
                <p:spPr bwMode="auto">
                  <a:xfrm>
                    <a:off x="5219701" y="3497263"/>
                    <a:ext cx="415925" cy="303213"/>
                  </a:xfrm>
                  <a:custGeom>
                    <a:avLst/>
                    <a:gdLst>
                      <a:gd name="T0" fmla="*/ 0 w 262"/>
                      <a:gd name="T1" fmla="*/ 2147483647 h 191"/>
                      <a:gd name="T2" fmla="*/ 0 w 262"/>
                      <a:gd name="T3" fmla="*/ 2147483647 h 191"/>
                      <a:gd name="T4" fmla="*/ 2147483647 w 262"/>
                      <a:gd name="T5" fmla="*/ 2147483647 h 191"/>
                      <a:gd name="T6" fmla="*/ 2147483647 w 262"/>
                      <a:gd name="T7" fmla="*/ 2147483647 h 191"/>
                      <a:gd name="T8" fmla="*/ 2147483647 w 262"/>
                      <a:gd name="T9" fmla="*/ 2147483647 h 191"/>
                      <a:gd name="T10" fmla="*/ 2147483647 w 262"/>
                      <a:gd name="T11" fmla="*/ 2147483647 h 191"/>
                      <a:gd name="T12" fmla="*/ 2147483647 w 262"/>
                      <a:gd name="T13" fmla="*/ 2147483647 h 191"/>
                      <a:gd name="T14" fmla="*/ 2147483647 w 262"/>
                      <a:gd name="T15" fmla="*/ 2147483647 h 191"/>
                      <a:gd name="T16" fmla="*/ 2147483647 w 262"/>
                      <a:gd name="T17" fmla="*/ 2147483647 h 191"/>
                      <a:gd name="T18" fmla="*/ 2147483647 w 262"/>
                      <a:gd name="T19" fmla="*/ 2147483647 h 191"/>
                      <a:gd name="T20" fmla="*/ 2147483647 w 262"/>
                      <a:gd name="T21" fmla="*/ 2147483647 h 191"/>
                      <a:gd name="T22" fmla="*/ 2147483647 w 262"/>
                      <a:gd name="T23" fmla="*/ 2147483647 h 191"/>
                      <a:gd name="T24" fmla="*/ 2147483647 w 262"/>
                      <a:gd name="T25" fmla="*/ 2147483647 h 191"/>
                      <a:gd name="T26" fmla="*/ 2147483647 w 262"/>
                      <a:gd name="T27" fmla="*/ 2147483647 h 191"/>
                      <a:gd name="T28" fmla="*/ 2147483647 w 262"/>
                      <a:gd name="T29" fmla="*/ 2147483647 h 191"/>
                      <a:gd name="T30" fmla="*/ 2147483647 w 262"/>
                      <a:gd name="T31" fmla="*/ 2147483647 h 191"/>
                      <a:gd name="T32" fmla="*/ 2147483647 w 262"/>
                      <a:gd name="T33" fmla="*/ 2147483647 h 191"/>
                      <a:gd name="T34" fmla="*/ 2147483647 w 262"/>
                      <a:gd name="T35" fmla="*/ 0 h 191"/>
                      <a:gd name="T36" fmla="*/ 2147483647 w 262"/>
                      <a:gd name="T37" fmla="*/ 2147483647 h 191"/>
                      <a:gd name="T38" fmla="*/ 2147483647 w 262"/>
                      <a:gd name="T39" fmla="*/ 2147483647 h 191"/>
                      <a:gd name="T40" fmla="*/ 2147483647 w 262"/>
                      <a:gd name="T41" fmla="*/ 2147483647 h 191"/>
                      <a:gd name="T42" fmla="*/ 2147483647 w 262"/>
                      <a:gd name="T43" fmla="*/ 2147483647 h 191"/>
                      <a:gd name="T44" fmla="*/ 0 w 262"/>
                      <a:gd name="T45" fmla="*/ 2147483647 h 191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62"/>
                      <a:gd name="T70" fmla="*/ 0 h 191"/>
                      <a:gd name="T71" fmla="*/ 262 w 262"/>
                      <a:gd name="T72" fmla="*/ 191 h 191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62" h="191">
                        <a:moveTo>
                          <a:pt x="0" y="104"/>
                        </a:moveTo>
                        <a:lnTo>
                          <a:pt x="0" y="122"/>
                        </a:lnTo>
                        <a:lnTo>
                          <a:pt x="9" y="122"/>
                        </a:lnTo>
                        <a:lnTo>
                          <a:pt x="44" y="148"/>
                        </a:lnTo>
                        <a:lnTo>
                          <a:pt x="53" y="156"/>
                        </a:lnTo>
                        <a:lnTo>
                          <a:pt x="61" y="174"/>
                        </a:lnTo>
                        <a:lnTo>
                          <a:pt x="122" y="191"/>
                        </a:lnTo>
                        <a:lnTo>
                          <a:pt x="149" y="183"/>
                        </a:lnTo>
                        <a:lnTo>
                          <a:pt x="166" y="183"/>
                        </a:lnTo>
                        <a:lnTo>
                          <a:pt x="192" y="165"/>
                        </a:lnTo>
                        <a:lnTo>
                          <a:pt x="210" y="165"/>
                        </a:lnTo>
                        <a:lnTo>
                          <a:pt x="227" y="148"/>
                        </a:lnTo>
                        <a:lnTo>
                          <a:pt x="262" y="113"/>
                        </a:lnTo>
                        <a:lnTo>
                          <a:pt x="184" y="87"/>
                        </a:lnTo>
                        <a:lnTo>
                          <a:pt x="149" y="43"/>
                        </a:lnTo>
                        <a:lnTo>
                          <a:pt x="157" y="26"/>
                        </a:lnTo>
                        <a:lnTo>
                          <a:pt x="140" y="8"/>
                        </a:lnTo>
                        <a:lnTo>
                          <a:pt x="114" y="0"/>
                        </a:lnTo>
                        <a:lnTo>
                          <a:pt x="53" y="8"/>
                        </a:lnTo>
                        <a:lnTo>
                          <a:pt x="27" y="61"/>
                        </a:lnTo>
                        <a:lnTo>
                          <a:pt x="18" y="61"/>
                        </a:lnTo>
                        <a:lnTo>
                          <a:pt x="9" y="104"/>
                        </a:lnTo>
                        <a:lnTo>
                          <a:pt x="0" y="10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4" name="Freeform 531"/>
                  <p:cNvSpPr>
                    <a:spLocks/>
                  </p:cNvSpPr>
                  <p:nvPr/>
                </p:nvSpPr>
                <p:spPr bwMode="auto">
                  <a:xfrm>
                    <a:off x="4984394" y="2979616"/>
                    <a:ext cx="289353" cy="291820"/>
                  </a:xfrm>
                  <a:custGeom>
                    <a:avLst/>
                    <a:gdLst>
                      <a:gd name="T0" fmla="*/ 131 w 183"/>
                      <a:gd name="T1" fmla="*/ 52 h 183"/>
                      <a:gd name="T2" fmla="*/ 122 w 183"/>
                      <a:gd name="T3" fmla="*/ 26 h 183"/>
                      <a:gd name="T4" fmla="*/ 131 w 183"/>
                      <a:gd name="T5" fmla="*/ 52 h 183"/>
                      <a:gd name="T6" fmla="*/ 140 w 183"/>
                      <a:gd name="T7" fmla="*/ 52 h 183"/>
                      <a:gd name="T8" fmla="*/ 157 w 183"/>
                      <a:gd name="T9" fmla="*/ 70 h 183"/>
                      <a:gd name="T10" fmla="*/ 175 w 183"/>
                      <a:gd name="T11" fmla="*/ 44 h 183"/>
                      <a:gd name="T12" fmla="*/ 148 w 183"/>
                      <a:gd name="T13" fmla="*/ 0 h 183"/>
                      <a:gd name="T14" fmla="*/ 122 w 183"/>
                      <a:gd name="T15" fmla="*/ 9 h 183"/>
                      <a:gd name="T16" fmla="*/ 96 w 183"/>
                      <a:gd name="T17" fmla="*/ 9 h 183"/>
                      <a:gd name="T18" fmla="*/ 52 w 183"/>
                      <a:gd name="T19" fmla="*/ 18 h 183"/>
                      <a:gd name="T20" fmla="*/ 26 w 183"/>
                      <a:gd name="T21" fmla="*/ 0 h 183"/>
                      <a:gd name="T22" fmla="*/ 0 w 183"/>
                      <a:gd name="T23" fmla="*/ 0 h 183"/>
                      <a:gd name="T24" fmla="*/ 9 w 183"/>
                      <a:gd name="T25" fmla="*/ 26 h 183"/>
                      <a:gd name="T26" fmla="*/ 0 w 183"/>
                      <a:gd name="T27" fmla="*/ 26 h 183"/>
                      <a:gd name="T28" fmla="*/ 18 w 183"/>
                      <a:gd name="T29" fmla="*/ 52 h 183"/>
                      <a:gd name="T30" fmla="*/ 18 w 183"/>
                      <a:gd name="T31" fmla="*/ 183 h 183"/>
                      <a:gd name="T32" fmla="*/ 166 w 183"/>
                      <a:gd name="T33" fmla="*/ 183 h 183"/>
                      <a:gd name="T34" fmla="*/ 183 w 183"/>
                      <a:gd name="T35" fmla="*/ 166 h 183"/>
                      <a:gd name="T36" fmla="*/ 183 w 183"/>
                      <a:gd name="T37" fmla="*/ 140 h 183"/>
                      <a:gd name="T38" fmla="*/ 157 w 183"/>
                      <a:gd name="T39" fmla="*/ 113 h 183"/>
                      <a:gd name="T40" fmla="*/ 148 w 183"/>
                      <a:gd name="T41" fmla="*/ 79 h 183"/>
                      <a:gd name="T42" fmla="*/ 131 w 183"/>
                      <a:gd name="T43" fmla="*/ 52 h 1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183" h="183">
                        <a:moveTo>
                          <a:pt x="131" y="52"/>
                        </a:moveTo>
                        <a:lnTo>
                          <a:pt x="122" y="26"/>
                        </a:lnTo>
                        <a:lnTo>
                          <a:pt x="131" y="52"/>
                        </a:lnTo>
                        <a:lnTo>
                          <a:pt x="140" y="52"/>
                        </a:lnTo>
                        <a:lnTo>
                          <a:pt x="157" y="70"/>
                        </a:lnTo>
                        <a:lnTo>
                          <a:pt x="175" y="44"/>
                        </a:lnTo>
                        <a:lnTo>
                          <a:pt x="148" y="0"/>
                        </a:lnTo>
                        <a:lnTo>
                          <a:pt x="122" y="9"/>
                        </a:lnTo>
                        <a:lnTo>
                          <a:pt x="96" y="9"/>
                        </a:lnTo>
                        <a:lnTo>
                          <a:pt x="52" y="18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9" y="26"/>
                        </a:lnTo>
                        <a:lnTo>
                          <a:pt x="0" y="26"/>
                        </a:lnTo>
                        <a:lnTo>
                          <a:pt x="18" y="52"/>
                        </a:lnTo>
                        <a:lnTo>
                          <a:pt x="18" y="183"/>
                        </a:lnTo>
                        <a:lnTo>
                          <a:pt x="166" y="183"/>
                        </a:lnTo>
                        <a:lnTo>
                          <a:pt x="183" y="166"/>
                        </a:lnTo>
                        <a:lnTo>
                          <a:pt x="183" y="140"/>
                        </a:lnTo>
                        <a:lnTo>
                          <a:pt x="157" y="113"/>
                        </a:lnTo>
                        <a:lnTo>
                          <a:pt x="148" y="79"/>
                        </a:lnTo>
                        <a:lnTo>
                          <a:pt x="131" y="52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n>
                        <a:solidFill>
                          <a:srgbClr val="001135"/>
                        </a:solidFill>
                      </a:ln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5" name="Freeform 533"/>
                  <p:cNvSpPr>
                    <a:spLocks/>
                  </p:cNvSpPr>
                  <p:nvPr/>
                </p:nvSpPr>
                <p:spPr bwMode="auto">
                  <a:xfrm>
                    <a:off x="4597401" y="2943225"/>
                    <a:ext cx="415925" cy="401638"/>
                  </a:xfrm>
                  <a:custGeom>
                    <a:avLst/>
                    <a:gdLst>
                      <a:gd name="T0" fmla="*/ 2147483647 w 262"/>
                      <a:gd name="T1" fmla="*/ 2147483647 h 253"/>
                      <a:gd name="T2" fmla="*/ 2147483647 w 262"/>
                      <a:gd name="T3" fmla="*/ 0 h 253"/>
                      <a:gd name="T4" fmla="*/ 2147483647 w 262"/>
                      <a:gd name="T5" fmla="*/ 2147483647 h 253"/>
                      <a:gd name="T6" fmla="*/ 2147483647 w 262"/>
                      <a:gd name="T7" fmla="*/ 2147483647 h 253"/>
                      <a:gd name="T8" fmla="*/ 2147483647 w 262"/>
                      <a:gd name="T9" fmla="*/ 2147483647 h 253"/>
                      <a:gd name="T10" fmla="*/ 0 w 262"/>
                      <a:gd name="T11" fmla="*/ 2147483647 h 253"/>
                      <a:gd name="T12" fmla="*/ 2147483647 w 262"/>
                      <a:gd name="T13" fmla="*/ 2147483647 h 253"/>
                      <a:gd name="T14" fmla="*/ 2147483647 w 262"/>
                      <a:gd name="T15" fmla="*/ 2147483647 h 253"/>
                      <a:gd name="T16" fmla="*/ 2147483647 w 262"/>
                      <a:gd name="T17" fmla="*/ 2147483647 h 253"/>
                      <a:gd name="T18" fmla="*/ 2147483647 w 262"/>
                      <a:gd name="T19" fmla="*/ 2147483647 h 253"/>
                      <a:gd name="T20" fmla="*/ 2147483647 w 262"/>
                      <a:gd name="T21" fmla="*/ 2147483647 h 253"/>
                      <a:gd name="T22" fmla="*/ 2147483647 w 262"/>
                      <a:gd name="T23" fmla="*/ 2147483647 h 253"/>
                      <a:gd name="T24" fmla="*/ 2147483647 w 262"/>
                      <a:gd name="T25" fmla="*/ 2147483647 h 253"/>
                      <a:gd name="T26" fmla="*/ 2147483647 w 262"/>
                      <a:gd name="T27" fmla="*/ 2147483647 h 253"/>
                      <a:gd name="T28" fmla="*/ 2147483647 w 262"/>
                      <a:gd name="T29" fmla="*/ 2147483647 h 253"/>
                      <a:gd name="T30" fmla="*/ 2147483647 w 262"/>
                      <a:gd name="T31" fmla="*/ 2147483647 h 253"/>
                      <a:gd name="T32" fmla="*/ 2147483647 w 262"/>
                      <a:gd name="T33" fmla="*/ 2147483647 h 253"/>
                      <a:gd name="T34" fmla="*/ 2147483647 w 262"/>
                      <a:gd name="T35" fmla="*/ 2147483647 h 253"/>
                      <a:gd name="T36" fmla="*/ 2147483647 w 262"/>
                      <a:gd name="T37" fmla="*/ 2147483647 h 253"/>
                      <a:gd name="T38" fmla="*/ 2147483647 w 262"/>
                      <a:gd name="T39" fmla="*/ 2147483647 h 253"/>
                      <a:gd name="T40" fmla="*/ 2147483647 w 262"/>
                      <a:gd name="T41" fmla="*/ 2147483647 h 253"/>
                      <a:gd name="T42" fmla="*/ 2147483647 w 262"/>
                      <a:gd name="T43" fmla="*/ 2147483647 h 253"/>
                      <a:gd name="T44" fmla="*/ 2147483647 w 262"/>
                      <a:gd name="T45" fmla="*/ 2147483647 h 253"/>
                      <a:gd name="T46" fmla="*/ 2147483647 w 262"/>
                      <a:gd name="T47" fmla="*/ 0 h 253"/>
                      <a:gd name="T48" fmla="*/ 2147483647 w 262"/>
                      <a:gd name="T49" fmla="*/ 2147483647 h 253"/>
                      <a:gd name="T50" fmla="*/ 2147483647 w 262"/>
                      <a:gd name="T51" fmla="*/ 2147483647 h 253"/>
                      <a:gd name="T52" fmla="*/ 2147483647 w 262"/>
                      <a:gd name="T53" fmla="*/ 2147483647 h 253"/>
                      <a:gd name="T54" fmla="*/ 2147483647 w 262"/>
                      <a:gd name="T55" fmla="*/ 2147483647 h 253"/>
                      <a:gd name="T56" fmla="*/ 2147483647 w 262"/>
                      <a:gd name="T57" fmla="*/ 2147483647 h 253"/>
                      <a:gd name="T58" fmla="*/ 2147483647 w 262"/>
                      <a:gd name="T59" fmla="*/ 2147483647 h 253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w 262"/>
                      <a:gd name="T91" fmla="*/ 0 h 253"/>
                      <a:gd name="T92" fmla="*/ 262 w 262"/>
                      <a:gd name="T93" fmla="*/ 253 h 253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T90" t="T91" r="T92" b="T93"/>
                    <a:pathLst>
                      <a:path w="262" h="253">
                        <a:moveTo>
                          <a:pt x="79" y="17"/>
                        </a:moveTo>
                        <a:lnTo>
                          <a:pt x="35" y="0"/>
                        </a:lnTo>
                        <a:lnTo>
                          <a:pt x="26" y="17"/>
                        </a:lnTo>
                        <a:lnTo>
                          <a:pt x="17" y="26"/>
                        </a:lnTo>
                        <a:lnTo>
                          <a:pt x="17" y="44"/>
                        </a:lnTo>
                        <a:lnTo>
                          <a:pt x="0" y="61"/>
                        </a:lnTo>
                        <a:lnTo>
                          <a:pt x="9" y="157"/>
                        </a:lnTo>
                        <a:lnTo>
                          <a:pt x="44" y="166"/>
                        </a:lnTo>
                        <a:lnTo>
                          <a:pt x="44" y="174"/>
                        </a:lnTo>
                        <a:lnTo>
                          <a:pt x="52" y="174"/>
                        </a:lnTo>
                        <a:lnTo>
                          <a:pt x="70" y="183"/>
                        </a:lnTo>
                        <a:lnTo>
                          <a:pt x="87" y="192"/>
                        </a:lnTo>
                        <a:lnTo>
                          <a:pt x="96" y="192"/>
                        </a:lnTo>
                        <a:lnTo>
                          <a:pt x="113" y="183"/>
                        </a:lnTo>
                        <a:lnTo>
                          <a:pt x="244" y="253"/>
                        </a:lnTo>
                        <a:lnTo>
                          <a:pt x="244" y="244"/>
                        </a:lnTo>
                        <a:lnTo>
                          <a:pt x="262" y="235"/>
                        </a:lnTo>
                        <a:lnTo>
                          <a:pt x="262" y="78"/>
                        </a:lnTo>
                        <a:lnTo>
                          <a:pt x="244" y="52"/>
                        </a:lnTo>
                        <a:lnTo>
                          <a:pt x="253" y="52"/>
                        </a:lnTo>
                        <a:lnTo>
                          <a:pt x="244" y="26"/>
                        </a:lnTo>
                        <a:lnTo>
                          <a:pt x="209" y="17"/>
                        </a:lnTo>
                        <a:lnTo>
                          <a:pt x="201" y="9"/>
                        </a:lnTo>
                        <a:lnTo>
                          <a:pt x="192" y="0"/>
                        </a:lnTo>
                        <a:lnTo>
                          <a:pt x="157" y="17"/>
                        </a:lnTo>
                        <a:lnTo>
                          <a:pt x="166" y="35"/>
                        </a:lnTo>
                        <a:lnTo>
                          <a:pt x="157" y="52"/>
                        </a:lnTo>
                        <a:lnTo>
                          <a:pt x="113" y="35"/>
                        </a:lnTo>
                        <a:lnTo>
                          <a:pt x="87" y="35"/>
                        </a:lnTo>
                        <a:lnTo>
                          <a:pt x="79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6" name="Freeform 534"/>
                  <p:cNvSpPr>
                    <a:spLocks/>
                  </p:cNvSpPr>
                  <p:nvPr/>
                </p:nvSpPr>
                <p:spPr bwMode="auto">
                  <a:xfrm>
                    <a:off x="4597401" y="2943225"/>
                    <a:ext cx="415925" cy="401638"/>
                  </a:xfrm>
                  <a:custGeom>
                    <a:avLst/>
                    <a:gdLst>
                      <a:gd name="T0" fmla="*/ 2147483647 w 262"/>
                      <a:gd name="T1" fmla="*/ 2147483647 h 253"/>
                      <a:gd name="T2" fmla="*/ 2147483647 w 262"/>
                      <a:gd name="T3" fmla="*/ 0 h 253"/>
                      <a:gd name="T4" fmla="*/ 2147483647 w 262"/>
                      <a:gd name="T5" fmla="*/ 2147483647 h 253"/>
                      <a:gd name="T6" fmla="*/ 2147483647 w 262"/>
                      <a:gd name="T7" fmla="*/ 2147483647 h 253"/>
                      <a:gd name="T8" fmla="*/ 2147483647 w 262"/>
                      <a:gd name="T9" fmla="*/ 2147483647 h 253"/>
                      <a:gd name="T10" fmla="*/ 0 w 262"/>
                      <a:gd name="T11" fmla="*/ 2147483647 h 253"/>
                      <a:gd name="T12" fmla="*/ 2147483647 w 262"/>
                      <a:gd name="T13" fmla="*/ 2147483647 h 253"/>
                      <a:gd name="T14" fmla="*/ 2147483647 w 262"/>
                      <a:gd name="T15" fmla="*/ 2147483647 h 253"/>
                      <a:gd name="T16" fmla="*/ 2147483647 w 262"/>
                      <a:gd name="T17" fmla="*/ 2147483647 h 253"/>
                      <a:gd name="T18" fmla="*/ 2147483647 w 262"/>
                      <a:gd name="T19" fmla="*/ 2147483647 h 253"/>
                      <a:gd name="T20" fmla="*/ 2147483647 w 262"/>
                      <a:gd name="T21" fmla="*/ 2147483647 h 253"/>
                      <a:gd name="T22" fmla="*/ 2147483647 w 262"/>
                      <a:gd name="T23" fmla="*/ 2147483647 h 253"/>
                      <a:gd name="T24" fmla="*/ 2147483647 w 262"/>
                      <a:gd name="T25" fmla="*/ 2147483647 h 253"/>
                      <a:gd name="T26" fmla="*/ 2147483647 w 262"/>
                      <a:gd name="T27" fmla="*/ 2147483647 h 253"/>
                      <a:gd name="T28" fmla="*/ 2147483647 w 262"/>
                      <a:gd name="T29" fmla="*/ 2147483647 h 253"/>
                      <a:gd name="T30" fmla="*/ 2147483647 w 262"/>
                      <a:gd name="T31" fmla="*/ 2147483647 h 253"/>
                      <a:gd name="T32" fmla="*/ 2147483647 w 262"/>
                      <a:gd name="T33" fmla="*/ 2147483647 h 253"/>
                      <a:gd name="T34" fmla="*/ 2147483647 w 262"/>
                      <a:gd name="T35" fmla="*/ 2147483647 h 253"/>
                      <a:gd name="T36" fmla="*/ 2147483647 w 262"/>
                      <a:gd name="T37" fmla="*/ 2147483647 h 253"/>
                      <a:gd name="T38" fmla="*/ 2147483647 w 262"/>
                      <a:gd name="T39" fmla="*/ 2147483647 h 253"/>
                      <a:gd name="T40" fmla="*/ 2147483647 w 262"/>
                      <a:gd name="T41" fmla="*/ 2147483647 h 253"/>
                      <a:gd name="T42" fmla="*/ 2147483647 w 262"/>
                      <a:gd name="T43" fmla="*/ 2147483647 h 253"/>
                      <a:gd name="T44" fmla="*/ 2147483647 w 262"/>
                      <a:gd name="T45" fmla="*/ 2147483647 h 253"/>
                      <a:gd name="T46" fmla="*/ 2147483647 w 262"/>
                      <a:gd name="T47" fmla="*/ 0 h 253"/>
                      <a:gd name="T48" fmla="*/ 2147483647 w 262"/>
                      <a:gd name="T49" fmla="*/ 2147483647 h 253"/>
                      <a:gd name="T50" fmla="*/ 2147483647 w 262"/>
                      <a:gd name="T51" fmla="*/ 2147483647 h 253"/>
                      <a:gd name="T52" fmla="*/ 2147483647 w 262"/>
                      <a:gd name="T53" fmla="*/ 2147483647 h 253"/>
                      <a:gd name="T54" fmla="*/ 2147483647 w 262"/>
                      <a:gd name="T55" fmla="*/ 2147483647 h 253"/>
                      <a:gd name="T56" fmla="*/ 2147483647 w 262"/>
                      <a:gd name="T57" fmla="*/ 2147483647 h 253"/>
                      <a:gd name="T58" fmla="*/ 2147483647 w 262"/>
                      <a:gd name="T59" fmla="*/ 2147483647 h 253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w 262"/>
                      <a:gd name="T91" fmla="*/ 0 h 253"/>
                      <a:gd name="T92" fmla="*/ 262 w 262"/>
                      <a:gd name="T93" fmla="*/ 253 h 253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T90" t="T91" r="T92" b="T93"/>
                    <a:pathLst>
                      <a:path w="262" h="253">
                        <a:moveTo>
                          <a:pt x="79" y="17"/>
                        </a:moveTo>
                        <a:lnTo>
                          <a:pt x="35" y="0"/>
                        </a:lnTo>
                        <a:lnTo>
                          <a:pt x="26" y="17"/>
                        </a:lnTo>
                        <a:lnTo>
                          <a:pt x="17" y="26"/>
                        </a:lnTo>
                        <a:lnTo>
                          <a:pt x="17" y="44"/>
                        </a:lnTo>
                        <a:lnTo>
                          <a:pt x="0" y="61"/>
                        </a:lnTo>
                        <a:lnTo>
                          <a:pt x="9" y="157"/>
                        </a:lnTo>
                        <a:lnTo>
                          <a:pt x="44" y="166"/>
                        </a:lnTo>
                        <a:lnTo>
                          <a:pt x="44" y="174"/>
                        </a:lnTo>
                        <a:lnTo>
                          <a:pt x="52" y="174"/>
                        </a:lnTo>
                        <a:lnTo>
                          <a:pt x="70" y="183"/>
                        </a:lnTo>
                        <a:lnTo>
                          <a:pt x="87" y="192"/>
                        </a:lnTo>
                        <a:lnTo>
                          <a:pt x="96" y="192"/>
                        </a:lnTo>
                        <a:lnTo>
                          <a:pt x="113" y="183"/>
                        </a:lnTo>
                        <a:lnTo>
                          <a:pt x="244" y="253"/>
                        </a:lnTo>
                        <a:lnTo>
                          <a:pt x="244" y="244"/>
                        </a:lnTo>
                        <a:lnTo>
                          <a:pt x="262" y="235"/>
                        </a:lnTo>
                        <a:lnTo>
                          <a:pt x="262" y="78"/>
                        </a:lnTo>
                        <a:lnTo>
                          <a:pt x="244" y="52"/>
                        </a:lnTo>
                        <a:lnTo>
                          <a:pt x="253" y="52"/>
                        </a:lnTo>
                        <a:lnTo>
                          <a:pt x="244" y="26"/>
                        </a:lnTo>
                        <a:lnTo>
                          <a:pt x="209" y="17"/>
                        </a:lnTo>
                        <a:lnTo>
                          <a:pt x="201" y="9"/>
                        </a:lnTo>
                        <a:lnTo>
                          <a:pt x="192" y="0"/>
                        </a:lnTo>
                        <a:lnTo>
                          <a:pt x="157" y="17"/>
                        </a:lnTo>
                        <a:lnTo>
                          <a:pt x="166" y="35"/>
                        </a:lnTo>
                        <a:lnTo>
                          <a:pt x="157" y="52"/>
                        </a:lnTo>
                        <a:lnTo>
                          <a:pt x="113" y="35"/>
                        </a:lnTo>
                        <a:lnTo>
                          <a:pt x="87" y="35"/>
                        </a:lnTo>
                        <a:lnTo>
                          <a:pt x="79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7" name="Freeform 535"/>
                  <p:cNvSpPr>
                    <a:spLocks/>
                  </p:cNvSpPr>
                  <p:nvPr/>
                </p:nvSpPr>
                <p:spPr bwMode="auto">
                  <a:xfrm>
                    <a:off x="3711576" y="3427413"/>
                    <a:ext cx="0" cy="14288"/>
                  </a:xfrm>
                  <a:custGeom>
                    <a:avLst/>
                    <a:gdLst>
                      <a:gd name="T0" fmla="*/ 2147483647 h 9"/>
                      <a:gd name="T1" fmla="*/ 0 h 9"/>
                      <a:gd name="T2" fmla="*/ 2147483647 h 9"/>
                      <a:gd name="T3" fmla="*/ 2147483647 h 9"/>
                      <a:gd name="T4" fmla="*/ 0 60000 65536"/>
                      <a:gd name="T5" fmla="*/ 0 60000 65536"/>
                      <a:gd name="T6" fmla="*/ 0 60000 65536"/>
                      <a:gd name="T7" fmla="*/ 0 60000 65536"/>
                      <a:gd name="T8" fmla="*/ 0 h 9"/>
                      <a:gd name="T9" fmla="*/ 9 h 9"/>
                    </a:gdLst>
                    <a:ahLst/>
                    <a:cxnLst>
                      <a:cxn ang="T4">
                        <a:pos x="0" y="T0"/>
                      </a:cxn>
                      <a:cxn ang="T5">
                        <a:pos x="0" y="T1"/>
                      </a:cxn>
                      <a:cxn ang="T6">
                        <a:pos x="0" y="T2"/>
                      </a:cxn>
                      <a:cxn ang="T7">
                        <a:pos x="0" y="T3"/>
                      </a:cxn>
                    </a:cxnLst>
                    <a:rect l="0" t="T8" r="0" b="T9"/>
                    <a:pathLst>
                      <a:path h="9">
                        <a:moveTo>
                          <a:pt x="0" y="9"/>
                        </a:moveTo>
                        <a:lnTo>
                          <a:pt x="0" y="0"/>
                        </a:lnTo>
                        <a:lnTo>
                          <a:pt x="0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8" name="Freeform 536"/>
                  <p:cNvSpPr>
                    <a:spLocks/>
                  </p:cNvSpPr>
                  <p:nvPr/>
                </p:nvSpPr>
                <p:spPr bwMode="auto">
                  <a:xfrm>
                    <a:off x="3711576" y="3427413"/>
                    <a:ext cx="0" cy="14288"/>
                  </a:xfrm>
                  <a:custGeom>
                    <a:avLst/>
                    <a:gdLst>
                      <a:gd name="T0" fmla="*/ 2147483647 h 9"/>
                      <a:gd name="T1" fmla="*/ 0 h 9"/>
                      <a:gd name="T2" fmla="*/ 2147483647 h 9"/>
                      <a:gd name="T3" fmla="*/ 2147483647 h 9"/>
                      <a:gd name="T4" fmla="*/ 0 60000 65536"/>
                      <a:gd name="T5" fmla="*/ 0 60000 65536"/>
                      <a:gd name="T6" fmla="*/ 0 60000 65536"/>
                      <a:gd name="T7" fmla="*/ 0 60000 65536"/>
                      <a:gd name="T8" fmla="*/ 0 h 9"/>
                      <a:gd name="T9" fmla="*/ 9 h 9"/>
                    </a:gdLst>
                    <a:ahLst/>
                    <a:cxnLst>
                      <a:cxn ang="T4">
                        <a:pos x="0" y="T0"/>
                      </a:cxn>
                      <a:cxn ang="T5">
                        <a:pos x="0" y="T1"/>
                      </a:cxn>
                      <a:cxn ang="T6">
                        <a:pos x="0" y="T2"/>
                      </a:cxn>
                      <a:cxn ang="T7">
                        <a:pos x="0" y="T3"/>
                      </a:cxn>
                    </a:cxnLst>
                    <a:rect l="0" t="T8" r="0" b="T9"/>
                    <a:pathLst>
                      <a:path h="9">
                        <a:moveTo>
                          <a:pt x="0" y="9"/>
                        </a:moveTo>
                        <a:lnTo>
                          <a:pt x="0" y="0"/>
                        </a:lnTo>
                        <a:lnTo>
                          <a:pt x="0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9" name="Freeform 537"/>
                  <p:cNvSpPr>
                    <a:spLocks/>
                  </p:cNvSpPr>
                  <p:nvPr/>
                </p:nvSpPr>
                <p:spPr bwMode="auto">
                  <a:xfrm>
                    <a:off x="3711576" y="3441700"/>
                    <a:ext cx="14288" cy="26988"/>
                  </a:xfrm>
                  <a:custGeom>
                    <a:avLst/>
                    <a:gdLst>
                      <a:gd name="T0" fmla="*/ 0 w 9"/>
                      <a:gd name="T1" fmla="*/ 2147483647 h 17"/>
                      <a:gd name="T2" fmla="*/ 0 w 9"/>
                      <a:gd name="T3" fmla="*/ 2147483647 h 17"/>
                      <a:gd name="T4" fmla="*/ 0 w 9"/>
                      <a:gd name="T5" fmla="*/ 2147483647 h 17"/>
                      <a:gd name="T6" fmla="*/ 2147483647 w 9"/>
                      <a:gd name="T7" fmla="*/ 2147483647 h 17"/>
                      <a:gd name="T8" fmla="*/ 2147483647 w 9"/>
                      <a:gd name="T9" fmla="*/ 2147483647 h 17"/>
                      <a:gd name="T10" fmla="*/ 2147483647 w 9"/>
                      <a:gd name="T11" fmla="*/ 2147483647 h 17"/>
                      <a:gd name="T12" fmla="*/ 2147483647 w 9"/>
                      <a:gd name="T13" fmla="*/ 0 h 17"/>
                      <a:gd name="T14" fmla="*/ 0 w 9"/>
                      <a:gd name="T15" fmla="*/ 2147483647 h 1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9"/>
                      <a:gd name="T25" fmla="*/ 0 h 17"/>
                      <a:gd name="T26" fmla="*/ 9 w 9"/>
                      <a:gd name="T27" fmla="*/ 17 h 1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9" h="17">
                        <a:moveTo>
                          <a:pt x="0" y="8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9" y="8"/>
                        </a:lnTo>
                        <a:lnTo>
                          <a:pt x="9" y="0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0" name="Freeform 538"/>
                  <p:cNvSpPr>
                    <a:spLocks/>
                  </p:cNvSpPr>
                  <p:nvPr/>
                </p:nvSpPr>
                <p:spPr bwMode="auto">
                  <a:xfrm>
                    <a:off x="3711576" y="3441700"/>
                    <a:ext cx="14288" cy="26988"/>
                  </a:xfrm>
                  <a:custGeom>
                    <a:avLst/>
                    <a:gdLst>
                      <a:gd name="T0" fmla="*/ 0 w 9"/>
                      <a:gd name="T1" fmla="*/ 2147483647 h 17"/>
                      <a:gd name="T2" fmla="*/ 0 w 9"/>
                      <a:gd name="T3" fmla="*/ 2147483647 h 17"/>
                      <a:gd name="T4" fmla="*/ 0 w 9"/>
                      <a:gd name="T5" fmla="*/ 2147483647 h 17"/>
                      <a:gd name="T6" fmla="*/ 2147483647 w 9"/>
                      <a:gd name="T7" fmla="*/ 2147483647 h 17"/>
                      <a:gd name="T8" fmla="*/ 2147483647 w 9"/>
                      <a:gd name="T9" fmla="*/ 2147483647 h 17"/>
                      <a:gd name="T10" fmla="*/ 2147483647 w 9"/>
                      <a:gd name="T11" fmla="*/ 2147483647 h 17"/>
                      <a:gd name="T12" fmla="*/ 2147483647 w 9"/>
                      <a:gd name="T13" fmla="*/ 0 h 17"/>
                      <a:gd name="T14" fmla="*/ 0 w 9"/>
                      <a:gd name="T15" fmla="*/ 2147483647 h 1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9"/>
                      <a:gd name="T25" fmla="*/ 0 h 17"/>
                      <a:gd name="T26" fmla="*/ 9 w 9"/>
                      <a:gd name="T27" fmla="*/ 17 h 1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9" h="17">
                        <a:moveTo>
                          <a:pt x="0" y="8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9" y="17"/>
                        </a:lnTo>
                        <a:lnTo>
                          <a:pt x="9" y="8"/>
                        </a:lnTo>
                        <a:lnTo>
                          <a:pt x="9" y="0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1" name="Freeform 539"/>
                  <p:cNvSpPr>
                    <a:spLocks noEditPoints="1"/>
                  </p:cNvSpPr>
                  <p:nvPr/>
                </p:nvSpPr>
                <p:spPr bwMode="auto">
                  <a:xfrm>
                    <a:off x="4764089" y="4548188"/>
                    <a:ext cx="442913" cy="360363"/>
                  </a:xfrm>
                  <a:custGeom>
                    <a:avLst/>
                    <a:gdLst>
                      <a:gd name="T0" fmla="*/ 2147483647 w 279"/>
                      <a:gd name="T1" fmla="*/ 2147483647 h 227"/>
                      <a:gd name="T2" fmla="*/ 2147483647 w 279"/>
                      <a:gd name="T3" fmla="*/ 2147483647 h 227"/>
                      <a:gd name="T4" fmla="*/ 2147483647 w 279"/>
                      <a:gd name="T5" fmla="*/ 2147483647 h 227"/>
                      <a:gd name="T6" fmla="*/ 2147483647 w 279"/>
                      <a:gd name="T7" fmla="*/ 2147483647 h 227"/>
                      <a:gd name="T8" fmla="*/ 2147483647 w 279"/>
                      <a:gd name="T9" fmla="*/ 2147483647 h 227"/>
                      <a:gd name="T10" fmla="*/ 2147483647 w 279"/>
                      <a:gd name="T11" fmla="*/ 2147483647 h 227"/>
                      <a:gd name="T12" fmla="*/ 2147483647 w 279"/>
                      <a:gd name="T13" fmla="*/ 2147483647 h 227"/>
                      <a:gd name="T14" fmla="*/ 2147483647 w 279"/>
                      <a:gd name="T15" fmla="*/ 2147483647 h 227"/>
                      <a:gd name="T16" fmla="*/ 2147483647 w 279"/>
                      <a:gd name="T17" fmla="*/ 2147483647 h 227"/>
                      <a:gd name="T18" fmla="*/ 2147483647 w 279"/>
                      <a:gd name="T19" fmla="*/ 2147483647 h 227"/>
                      <a:gd name="T20" fmla="*/ 2147483647 w 279"/>
                      <a:gd name="T21" fmla="*/ 2147483647 h 227"/>
                      <a:gd name="T22" fmla="*/ 2147483647 w 279"/>
                      <a:gd name="T23" fmla="*/ 2147483647 h 227"/>
                      <a:gd name="T24" fmla="*/ 2147483647 w 279"/>
                      <a:gd name="T25" fmla="*/ 2147483647 h 227"/>
                      <a:gd name="T26" fmla="*/ 2147483647 w 279"/>
                      <a:gd name="T27" fmla="*/ 2147483647 h 227"/>
                      <a:gd name="T28" fmla="*/ 2147483647 w 279"/>
                      <a:gd name="T29" fmla="*/ 2147483647 h 227"/>
                      <a:gd name="T30" fmla="*/ 2147483647 w 279"/>
                      <a:gd name="T31" fmla="*/ 2147483647 h 227"/>
                      <a:gd name="T32" fmla="*/ 2147483647 w 279"/>
                      <a:gd name="T33" fmla="*/ 2147483647 h 227"/>
                      <a:gd name="T34" fmla="*/ 2147483647 w 279"/>
                      <a:gd name="T35" fmla="*/ 2147483647 h 227"/>
                      <a:gd name="T36" fmla="*/ 0 w 279"/>
                      <a:gd name="T37" fmla="*/ 2147483647 h 227"/>
                      <a:gd name="T38" fmla="*/ 2147483647 w 279"/>
                      <a:gd name="T39" fmla="*/ 2147483647 h 227"/>
                      <a:gd name="T40" fmla="*/ 2147483647 w 279"/>
                      <a:gd name="T41" fmla="*/ 2147483647 h 227"/>
                      <a:gd name="T42" fmla="*/ 2147483647 w 279"/>
                      <a:gd name="T43" fmla="*/ 2147483647 h 227"/>
                      <a:gd name="T44" fmla="*/ 2147483647 w 279"/>
                      <a:gd name="T45" fmla="*/ 2147483647 h 227"/>
                      <a:gd name="T46" fmla="*/ 2147483647 w 279"/>
                      <a:gd name="T47" fmla="*/ 2147483647 h 227"/>
                      <a:gd name="T48" fmla="*/ 2147483647 w 279"/>
                      <a:gd name="T49" fmla="*/ 2147483647 h 227"/>
                      <a:gd name="T50" fmla="*/ 2147483647 w 279"/>
                      <a:gd name="T51" fmla="*/ 2147483647 h 227"/>
                      <a:gd name="T52" fmla="*/ 2147483647 w 279"/>
                      <a:gd name="T53" fmla="*/ 2147483647 h 227"/>
                      <a:gd name="T54" fmla="*/ 2147483647 w 279"/>
                      <a:gd name="T55" fmla="*/ 2147483647 h 227"/>
                      <a:gd name="T56" fmla="*/ 2147483647 w 279"/>
                      <a:gd name="T57" fmla="*/ 2147483647 h 227"/>
                      <a:gd name="T58" fmla="*/ 2147483647 w 279"/>
                      <a:gd name="T59" fmla="*/ 2147483647 h 227"/>
                      <a:gd name="T60" fmla="*/ 2147483647 w 279"/>
                      <a:gd name="T61" fmla="*/ 2147483647 h 227"/>
                      <a:gd name="T62" fmla="*/ 2147483647 w 279"/>
                      <a:gd name="T63" fmla="*/ 2147483647 h 227"/>
                      <a:gd name="T64" fmla="*/ 2147483647 w 279"/>
                      <a:gd name="T65" fmla="*/ 2147483647 h 227"/>
                      <a:gd name="T66" fmla="*/ 2147483647 w 279"/>
                      <a:gd name="T67" fmla="*/ 2147483647 h 227"/>
                      <a:gd name="T68" fmla="*/ 2147483647 w 279"/>
                      <a:gd name="T69" fmla="*/ 2147483647 h 227"/>
                      <a:gd name="T70" fmla="*/ 2147483647 w 279"/>
                      <a:gd name="T71" fmla="*/ 2147483647 h 227"/>
                      <a:gd name="T72" fmla="*/ 2147483647 w 279"/>
                      <a:gd name="T73" fmla="*/ 2147483647 h 227"/>
                      <a:gd name="T74" fmla="*/ 2147483647 w 279"/>
                      <a:gd name="T75" fmla="*/ 2147483647 h 227"/>
                      <a:gd name="T76" fmla="*/ 2147483647 w 279"/>
                      <a:gd name="T77" fmla="*/ 2147483647 h 227"/>
                      <a:gd name="T78" fmla="*/ 2147483647 w 279"/>
                      <a:gd name="T79" fmla="*/ 2147483647 h 227"/>
                      <a:gd name="T80" fmla="*/ 2147483647 w 279"/>
                      <a:gd name="T81" fmla="*/ 0 h 227"/>
                      <a:gd name="T82" fmla="*/ 2147483647 w 279"/>
                      <a:gd name="T83" fmla="*/ 0 h 227"/>
                      <a:gd name="T84" fmla="*/ 2147483647 w 279"/>
                      <a:gd name="T85" fmla="*/ 2147483647 h 22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79"/>
                      <a:gd name="T130" fmla="*/ 0 h 227"/>
                      <a:gd name="T131" fmla="*/ 279 w 279"/>
                      <a:gd name="T132" fmla="*/ 227 h 22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79" h="227">
                        <a:moveTo>
                          <a:pt x="183" y="139"/>
                        </a:moveTo>
                        <a:lnTo>
                          <a:pt x="209" y="113"/>
                        </a:lnTo>
                        <a:lnTo>
                          <a:pt x="218" y="131"/>
                        </a:lnTo>
                        <a:lnTo>
                          <a:pt x="209" y="139"/>
                        </a:lnTo>
                        <a:lnTo>
                          <a:pt x="200" y="148"/>
                        </a:lnTo>
                        <a:lnTo>
                          <a:pt x="183" y="139"/>
                        </a:lnTo>
                        <a:close/>
                        <a:moveTo>
                          <a:pt x="174" y="35"/>
                        </a:moveTo>
                        <a:lnTo>
                          <a:pt x="165" y="61"/>
                        </a:lnTo>
                        <a:lnTo>
                          <a:pt x="122" y="52"/>
                        </a:lnTo>
                        <a:lnTo>
                          <a:pt x="104" y="87"/>
                        </a:lnTo>
                        <a:lnTo>
                          <a:pt x="87" y="87"/>
                        </a:lnTo>
                        <a:lnTo>
                          <a:pt x="78" y="52"/>
                        </a:lnTo>
                        <a:lnTo>
                          <a:pt x="69" y="44"/>
                        </a:lnTo>
                        <a:lnTo>
                          <a:pt x="69" y="70"/>
                        </a:lnTo>
                        <a:lnTo>
                          <a:pt x="69" y="113"/>
                        </a:lnTo>
                        <a:lnTo>
                          <a:pt x="43" y="122"/>
                        </a:lnTo>
                        <a:lnTo>
                          <a:pt x="17" y="105"/>
                        </a:lnTo>
                        <a:lnTo>
                          <a:pt x="8" y="105"/>
                        </a:lnTo>
                        <a:lnTo>
                          <a:pt x="0" y="113"/>
                        </a:lnTo>
                        <a:lnTo>
                          <a:pt x="8" y="122"/>
                        </a:lnTo>
                        <a:lnTo>
                          <a:pt x="17" y="148"/>
                        </a:lnTo>
                        <a:lnTo>
                          <a:pt x="35" y="183"/>
                        </a:lnTo>
                        <a:lnTo>
                          <a:pt x="26" y="192"/>
                        </a:lnTo>
                        <a:lnTo>
                          <a:pt x="26" y="218"/>
                        </a:lnTo>
                        <a:lnTo>
                          <a:pt x="52" y="227"/>
                        </a:lnTo>
                        <a:lnTo>
                          <a:pt x="96" y="218"/>
                        </a:lnTo>
                        <a:lnTo>
                          <a:pt x="104" y="218"/>
                        </a:lnTo>
                        <a:lnTo>
                          <a:pt x="122" y="218"/>
                        </a:lnTo>
                        <a:lnTo>
                          <a:pt x="148" y="218"/>
                        </a:lnTo>
                        <a:lnTo>
                          <a:pt x="157" y="209"/>
                        </a:lnTo>
                        <a:lnTo>
                          <a:pt x="174" y="209"/>
                        </a:lnTo>
                        <a:lnTo>
                          <a:pt x="226" y="166"/>
                        </a:lnTo>
                        <a:lnTo>
                          <a:pt x="261" y="113"/>
                        </a:lnTo>
                        <a:lnTo>
                          <a:pt x="261" y="105"/>
                        </a:lnTo>
                        <a:lnTo>
                          <a:pt x="279" y="87"/>
                        </a:lnTo>
                        <a:lnTo>
                          <a:pt x="279" y="70"/>
                        </a:lnTo>
                        <a:lnTo>
                          <a:pt x="261" y="78"/>
                        </a:lnTo>
                        <a:lnTo>
                          <a:pt x="253" y="78"/>
                        </a:lnTo>
                        <a:lnTo>
                          <a:pt x="253" y="61"/>
                        </a:lnTo>
                        <a:lnTo>
                          <a:pt x="270" y="44"/>
                        </a:lnTo>
                        <a:lnTo>
                          <a:pt x="261" y="0"/>
                        </a:lnTo>
                        <a:lnTo>
                          <a:pt x="226" y="0"/>
                        </a:lnTo>
                        <a:lnTo>
                          <a:pt x="174" y="3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2" name="Freeform 540"/>
                  <p:cNvSpPr>
                    <a:spLocks noEditPoints="1"/>
                  </p:cNvSpPr>
                  <p:nvPr/>
                </p:nvSpPr>
                <p:spPr bwMode="auto">
                  <a:xfrm>
                    <a:off x="4764089" y="4548188"/>
                    <a:ext cx="442913" cy="360363"/>
                  </a:xfrm>
                  <a:custGeom>
                    <a:avLst/>
                    <a:gdLst>
                      <a:gd name="T0" fmla="*/ 2147483647 w 279"/>
                      <a:gd name="T1" fmla="*/ 2147483647 h 227"/>
                      <a:gd name="T2" fmla="*/ 2147483647 w 279"/>
                      <a:gd name="T3" fmla="*/ 2147483647 h 227"/>
                      <a:gd name="T4" fmla="*/ 2147483647 w 279"/>
                      <a:gd name="T5" fmla="*/ 2147483647 h 227"/>
                      <a:gd name="T6" fmla="*/ 2147483647 w 279"/>
                      <a:gd name="T7" fmla="*/ 2147483647 h 227"/>
                      <a:gd name="T8" fmla="*/ 2147483647 w 279"/>
                      <a:gd name="T9" fmla="*/ 2147483647 h 227"/>
                      <a:gd name="T10" fmla="*/ 2147483647 w 279"/>
                      <a:gd name="T11" fmla="*/ 2147483647 h 227"/>
                      <a:gd name="T12" fmla="*/ 2147483647 w 279"/>
                      <a:gd name="T13" fmla="*/ 2147483647 h 227"/>
                      <a:gd name="T14" fmla="*/ 2147483647 w 279"/>
                      <a:gd name="T15" fmla="*/ 2147483647 h 227"/>
                      <a:gd name="T16" fmla="*/ 2147483647 w 279"/>
                      <a:gd name="T17" fmla="*/ 2147483647 h 227"/>
                      <a:gd name="T18" fmla="*/ 2147483647 w 279"/>
                      <a:gd name="T19" fmla="*/ 2147483647 h 227"/>
                      <a:gd name="T20" fmla="*/ 2147483647 w 279"/>
                      <a:gd name="T21" fmla="*/ 2147483647 h 227"/>
                      <a:gd name="T22" fmla="*/ 2147483647 w 279"/>
                      <a:gd name="T23" fmla="*/ 2147483647 h 227"/>
                      <a:gd name="T24" fmla="*/ 2147483647 w 279"/>
                      <a:gd name="T25" fmla="*/ 2147483647 h 227"/>
                      <a:gd name="T26" fmla="*/ 2147483647 w 279"/>
                      <a:gd name="T27" fmla="*/ 2147483647 h 227"/>
                      <a:gd name="T28" fmla="*/ 2147483647 w 279"/>
                      <a:gd name="T29" fmla="*/ 2147483647 h 227"/>
                      <a:gd name="T30" fmla="*/ 2147483647 w 279"/>
                      <a:gd name="T31" fmla="*/ 2147483647 h 227"/>
                      <a:gd name="T32" fmla="*/ 2147483647 w 279"/>
                      <a:gd name="T33" fmla="*/ 2147483647 h 227"/>
                      <a:gd name="T34" fmla="*/ 2147483647 w 279"/>
                      <a:gd name="T35" fmla="*/ 2147483647 h 227"/>
                      <a:gd name="T36" fmla="*/ 0 w 279"/>
                      <a:gd name="T37" fmla="*/ 2147483647 h 227"/>
                      <a:gd name="T38" fmla="*/ 2147483647 w 279"/>
                      <a:gd name="T39" fmla="*/ 2147483647 h 227"/>
                      <a:gd name="T40" fmla="*/ 2147483647 w 279"/>
                      <a:gd name="T41" fmla="*/ 2147483647 h 227"/>
                      <a:gd name="T42" fmla="*/ 2147483647 w 279"/>
                      <a:gd name="T43" fmla="*/ 2147483647 h 227"/>
                      <a:gd name="T44" fmla="*/ 2147483647 w 279"/>
                      <a:gd name="T45" fmla="*/ 2147483647 h 227"/>
                      <a:gd name="T46" fmla="*/ 2147483647 w 279"/>
                      <a:gd name="T47" fmla="*/ 2147483647 h 227"/>
                      <a:gd name="T48" fmla="*/ 2147483647 w 279"/>
                      <a:gd name="T49" fmla="*/ 2147483647 h 227"/>
                      <a:gd name="T50" fmla="*/ 2147483647 w 279"/>
                      <a:gd name="T51" fmla="*/ 2147483647 h 227"/>
                      <a:gd name="T52" fmla="*/ 2147483647 w 279"/>
                      <a:gd name="T53" fmla="*/ 2147483647 h 227"/>
                      <a:gd name="T54" fmla="*/ 2147483647 w 279"/>
                      <a:gd name="T55" fmla="*/ 2147483647 h 227"/>
                      <a:gd name="T56" fmla="*/ 2147483647 w 279"/>
                      <a:gd name="T57" fmla="*/ 2147483647 h 227"/>
                      <a:gd name="T58" fmla="*/ 2147483647 w 279"/>
                      <a:gd name="T59" fmla="*/ 2147483647 h 227"/>
                      <a:gd name="T60" fmla="*/ 2147483647 w 279"/>
                      <a:gd name="T61" fmla="*/ 2147483647 h 227"/>
                      <a:gd name="T62" fmla="*/ 2147483647 w 279"/>
                      <a:gd name="T63" fmla="*/ 2147483647 h 227"/>
                      <a:gd name="T64" fmla="*/ 2147483647 w 279"/>
                      <a:gd name="T65" fmla="*/ 2147483647 h 227"/>
                      <a:gd name="T66" fmla="*/ 2147483647 w 279"/>
                      <a:gd name="T67" fmla="*/ 2147483647 h 227"/>
                      <a:gd name="T68" fmla="*/ 2147483647 w 279"/>
                      <a:gd name="T69" fmla="*/ 2147483647 h 227"/>
                      <a:gd name="T70" fmla="*/ 2147483647 w 279"/>
                      <a:gd name="T71" fmla="*/ 2147483647 h 227"/>
                      <a:gd name="T72" fmla="*/ 2147483647 w 279"/>
                      <a:gd name="T73" fmla="*/ 2147483647 h 227"/>
                      <a:gd name="T74" fmla="*/ 2147483647 w 279"/>
                      <a:gd name="T75" fmla="*/ 2147483647 h 227"/>
                      <a:gd name="T76" fmla="*/ 2147483647 w 279"/>
                      <a:gd name="T77" fmla="*/ 2147483647 h 227"/>
                      <a:gd name="T78" fmla="*/ 2147483647 w 279"/>
                      <a:gd name="T79" fmla="*/ 2147483647 h 227"/>
                      <a:gd name="T80" fmla="*/ 2147483647 w 279"/>
                      <a:gd name="T81" fmla="*/ 0 h 227"/>
                      <a:gd name="T82" fmla="*/ 2147483647 w 279"/>
                      <a:gd name="T83" fmla="*/ 0 h 227"/>
                      <a:gd name="T84" fmla="*/ 2147483647 w 279"/>
                      <a:gd name="T85" fmla="*/ 2147483647 h 22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79"/>
                      <a:gd name="T130" fmla="*/ 0 h 227"/>
                      <a:gd name="T131" fmla="*/ 279 w 279"/>
                      <a:gd name="T132" fmla="*/ 227 h 22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79" h="227">
                        <a:moveTo>
                          <a:pt x="183" y="139"/>
                        </a:moveTo>
                        <a:lnTo>
                          <a:pt x="209" y="113"/>
                        </a:lnTo>
                        <a:lnTo>
                          <a:pt x="218" y="131"/>
                        </a:lnTo>
                        <a:lnTo>
                          <a:pt x="209" y="139"/>
                        </a:lnTo>
                        <a:lnTo>
                          <a:pt x="200" y="148"/>
                        </a:lnTo>
                        <a:lnTo>
                          <a:pt x="183" y="139"/>
                        </a:lnTo>
                        <a:close/>
                        <a:moveTo>
                          <a:pt x="174" y="35"/>
                        </a:moveTo>
                        <a:lnTo>
                          <a:pt x="165" y="61"/>
                        </a:lnTo>
                        <a:lnTo>
                          <a:pt x="122" y="52"/>
                        </a:lnTo>
                        <a:lnTo>
                          <a:pt x="104" y="87"/>
                        </a:lnTo>
                        <a:lnTo>
                          <a:pt x="87" y="87"/>
                        </a:lnTo>
                        <a:lnTo>
                          <a:pt x="78" y="52"/>
                        </a:lnTo>
                        <a:lnTo>
                          <a:pt x="69" y="44"/>
                        </a:lnTo>
                        <a:lnTo>
                          <a:pt x="69" y="70"/>
                        </a:lnTo>
                        <a:lnTo>
                          <a:pt x="69" y="113"/>
                        </a:lnTo>
                        <a:lnTo>
                          <a:pt x="43" y="122"/>
                        </a:lnTo>
                        <a:lnTo>
                          <a:pt x="17" y="105"/>
                        </a:lnTo>
                        <a:lnTo>
                          <a:pt x="8" y="105"/>
                        </a:lnTo>
                        <a:lnTo>
                          <a:pt x="0" y="113"/>
                        </a:lnTo>
                        <a:lnTo>
                          <a:pt x="8" y="122"/>
                        </a:lnTo>
                        <a:lnTo>
                          <a:pt x="17" y="148"/>
                        </a:lnTo>
                        <a:lnTo>
                          <a:pt x="35" y="183"/>
                        </a:lnTo>
                        <a:lnTo>
                          <a:pt x="26" y="192"/>
                        </a:lnTo>
                        <a:lnTo>
                          <a:pt x="26" y="218"/>
                        </a:lnTo>
                        <a:lnTo>
                          <a:pt x="52" y="227"/>
                        </a:lnTo>
                        <a:lnTo>
                          <a:pt x="96" y="218"/>
                        </a:lnTo>
                        <a:lnTo>
                          <a:pt x="104" y="218"/>
                        </a:lnTo>
                        <a:lnTo>
                          <a:pt x="122" y="218"/>
                        </a:lnTo>
                        <a:lnTo>
                          <a:pt x="148" y="218"/>
                        </a:lnTo>
                        <a:lnTo>
                          <a:pt x="157" y="209"/>
                        </a:lnTo>
                        <a:lnTo>
                          <a:pt x="174" y="209"/>
                        </a:lnTo>
                        <a:lnTo>
                          <a:pt x="226" y="166"/>
                        </a:lnTo>
                        <a:lnTo>
                          <a:pt x="261" y="113"/>
                        </a:lnTo>
                        <a:lnTo>
                          <a:pt x="261" y="105"/>
                        </a:lnTo>
                        <a:lnTo>
                          <a:pt x="279" y="87"/>
                        </a:lnTo>
                        <a:lnTo>
                          <a:pt x="279" y="70"/>
                        </a:lnTo>
                        <a:lnTo>
                          <a:pt x="261" y="78"/>
                        </a:lnTo>
                        <a:lnTo>
                          <a:pt x="253" y="78"/>
                        </a:lnTo>
                        <a:lnTo>
                          <a:pt x="253" y="61"/>
                        </a:lnTo>
                        <a:lnTo>
                          <a:pt x="270" y="44"/>
                        </a:lnTo>
                        <a:lnTo>
                          <a:pt x="261" y="0"/>
                        </a:lnTo>
                        <a:lnTo>
                          <a:pt x="226" y="0"/>
                        </a:lnTo>
                        <a:lnTo>
                          <a:pt x="174" y="3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3" name="Freeform 541"/>
                  <p:cNvSpPr>
                    <a:spLocks/>
                  </p:cNvSpPr>
                  <p:nvPr/>
                </p:nvSpPr>
                <p:spPr bwMode="auto">
                  <a:xfrm>
                    <a:off x="5054601" y="4727575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0 w 35"/>
                      <a:gd name="T3" fmla="*/ 2147483647 h 35"/>
                      <a:gd name="T4" fmla="*/ 2147483647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26" y="0"/>
                        </a:moveTo>
                        <a:lnTo>
                          <a:pt x="0" y="26"/>
                        </a:lnTo>
                        <a:lnTo>
                          <a:pt x="17" y="35"/>
                        </a:lnTo>
                        <a:lnTo>
                          <a:pt x="26" y="26"/>
                        </a:lnTo>
                        <a:lnTo>
                          <a:pt x="35" y="18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4" name="Freeform 542"/>
                  <p:cNvSpPr>
                    <a:spLocks/>
                  </p:cNvSpPr>
                  <p:nvPr/>
                </p:nvSpPr>
                <p:spPr bwMode="auto">
                  <a:xfrm>
                    <a:off x="5054601" y="4727575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0 w 35"/>
                      <a:gd name="T3" fmla="*/ 2147483647 h 35"/>
                      <a:gd name="T4" fmla="*/ 2147483647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26" y="0"/>
                        </a:moveTo>
                        <a:lnTo>
                          <a:pt x="0" y="26"/>
                        </a:lnTo>
                        <a:lnTo>
                          <a:pt x="17" y="35"/>
                        </a:lnTo>
                        <a:lnTo>
                          <a:pt x="26" y="26"/>
                        </a:lnTo>
                        <a:lnTo>
                          <a:pt x="35" y="18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5" name="Freeform 543"/>
                  <p:cNvSpPr>
                    <a:spLocks/>
                  </p:cNvSpPr>
                  <p:nvPr/>
                </p:nvSpPr>
                <p:spPr bwMode="auto">
                  <a:xfrm>
                    <a:off x="4652964" y="4395788"/>
                    <a:ext cx="373063" cy="346075"/>
                  </a:xfrm>
                  <a:custGeom>
                    <a:avLst/>
                    <a:gdLst>
                      <a:gd name="T0" fmla="*/ 2147483647 w 235"/>
                      <a:gd name="T1" fmla="*/ 2147483647 h 218"/>
                      <a:gd name="T2" fmla="*/ 2147483647 w 235"/>
                      <a:gd name="T3" fmla="*/ 2147483647 h 218"/>
                      <a:gd name="T4" fmla="*/ 2147483647 w 235"/>
                      <a:gd name="T5" fmla="*/ 2147483647 h 218"/>
                      <a:gd name="T6" fmla="*/ 2147483647 w 235"/>
                      <a:gd name="T7" fmla="*/ 2147483647 h 218"/>
                      <a:gd name="T8" fmla="*/ 2147483647 w 235"/>
                      <a:gd name="T9" fmla="*/ 2147483647 h 218"/>
                      <a:gd name="T10" fmla="*/ 2147483647 w 235"/>
                      <a:gd name="T11" fmla="*/ 2147483647 h 218"/>
                      <a:gd name="T12" fmla="*/ 2147483647 w 235"/>
                      <a:gd name="T13" fmla="*/ 2147483647 h 218"/>
                      <a:gd name="T14" fmla="*/ 2147483647 w 235"/>
                      <a:gd name="T15" fmla="*/ 0 h 218"/>
                      <a:gd name="T16" fmla="*/ 2147483647 w 235"/>
                      <a:gd name="T17" fmla="*/ 2147483647 h 218"/>
                      <a:gd name="T18" fmla="*/ 0 w 235"/>
                      <a:gd name="T19" fmla="*/ 2147483647 h 218"/>
                      <a:gd name="T20" fmla="*/ 0 w 235"/>
                      <a:gd name="T21" fmla="*/ 2147483647 h 218"/>
                      <a:gd name="T22" fmla="*/ 2147483647 w 235"/>
                      <a:gd name="T23" fmla="*/ 2147483647 h 218"/>
                      <a:gd name="T24" fmla="*/ 2147483647 w 235"/>
                      <a:gd name="T25" fmla="*/ 2147483647 h 218"/>
                      <a:gd name="T26" fmla="*/ 2147483647 w 235"/>
                      <a:gd name="T27" fmla="*/ 2147483647 h 218"/>
                      <a:gd name="T28" fmla="*/ 2147483647 w 235"/>
                      <a:gd name="T29" fmla="*/ 2147483647 h 218"/>
                      <a:gd name="T30" fmla="*/ 2147483647 w 235"/>
                      <a:gd name="T31" fmla="*/ 2147483647 h 218"/>
                      <a:gd name="T32" fmla="*/ 2147483647 w 235"/>
                      <a:gd name="T33" fmla="*/ 2147483647 h 218"/>
                      <a:gd name="T34" fmla="*/ 2147483647 w 235"/>
                      <a:gd name="T35" fmla="*/ 2147483647 h 218"/>
                      <a:gd name="T36" fmla="*/ 2147483647 w 235"/>
                      <a:gd name="T37" fmla="*/ 2147483647 h 218"/>
                      <a:gd name="T38" fmla="*/ 2147483647 w 235"/>
                      <a:gd name="T39" fmla="*/ 2147483647 h 218"/>
                      <a:gd name="T40" fmla="*/ 2147483647 w 235"/>
                      <a:gd name="T41" fmla="*/ 2147483647 h 218"/>
                      <a:gd name="T42" fmla="*/ 2147483647 w 235"/>
                      <a:gd name="T43" fmla="*/ 2147483647 h 218"/>
                      <a:gd name="T44" fmla="*/ 2147483647 w 235"/>
                      <a:gd name="T45" fmla="*/ 2147483647 h 218"/>
                      <a:gd name="T46" fmla="*/ 2147483647 w 235"/>
                      <a:gd name="T47" fmla="*/ 2147483647 h 218"/>
                      <a:gd name="T48" fmla="*/ 2147483647 w 235"/>
                      <a:gd name="T49" fmla="*/ 2147483647 h 218"/>
                      <a:gd name="T50" fmla="*/ 2147483647 w 235"/>
                      <a:gd name="T51" fmla="*/ 2147483647 h 218"/>
                      <a:gd name="T52" fmla="*/ 2147483647 w 235"/>
                      <a:gd name="T53" fmla="*/ 2147483647 h 218"/>
                      <a:gd name="T54" fmla="*/ 2147483647 w 235"/>
                      <a:gd name="T55" fmla="*/ 2147483647 h 218"/>
                      <a:gd name="T56" fmla="*/ 2147483647 w 235"/>
                      <a:gd name="T57" fmla="*/ 2147483647 h 218"/>
                      <a:gd name="T58" fmla="*/ 2147483647 w 235"/>
                      <a:gd name="T59" fmla="*/ 2147483647 h 218"/>
                      <a:gd name="T60" fmla="*/ 2147483647 w 235"/>
                      <a:gd name="T61" fmla="*/ 2147483647 h 218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w 235"/>
                      <a:gd name="T94" fmla="*/ 0 h 218"/>
                      <a:gd name="T95" fmla="*/ 235 w 235"/>
                      <a:gd name="T96" fmla="*/ 218 h 218"/>
                    </a:gdLst>
                    <a:ahLst/>
                    <a:cxnLst>
                      <a:cxn ang="T62">
                        <a:pos x="T0" y="T1"/>
                      </a:cxn>
                      <a:cxn ang="T63">
                        <a:pos x="T2" y="T3"/>
                      </a:cxn>
                      <a:cxn ang="T64">
                        <a:pos x="T4" y="T5"/>
                      </a:cxn>
                      <a:cxn ang="T65">
                        <a:pos x="T6" y="T7"/>
                      </a:cxn>
                      <a:cxn ang="T66">
                        <a:pos x="T8" y="T9"/>
                      </a:cxn>
                      <a:cxn ang="T67">
                        <a:pos x="T10" y="T11"/>
                      </a:cxn>
                      <a:cxn ang="T68">
                        <a:pos x="T12" y="T13"/>
                      </a:cxn>
                      <a:cxn ang="T69">
                        <a:pos x="T14" y="T15"/>
                      </a:cxn>
                      <a:cxn ang="T70">
                        <a:pos x="T16" y="T17"/>
                      </a:cxn>
                      <a:cxn ang="T71">
                        <a:pos x="T18" y="T19"/>
                      </a:cxn>
                      <a:cxn ang="T72">
                        <a:pos x="T20" y="T21"/>
                      </a:cxn>
                      <a:cxn ang="T73">
                        <a:pos x="T22" y="T23"/>
                      </a:cxn>
                      <a:cxn ang="T74">
                        <a:pos x="T24" y="T25"/>
                      </a:cxn>
                      <a:cxn ang="T75">
                        <a:pos x="T26" y="T27"/>
                      </a:cxn>
                      <a:cxn ang="T76">
                        <a:pos x="T28" y="T29"/>
                      </a:cxn>
                      <a:cxn ang="T77">
                        <a:pos x="T30" y="T31"/>
                      </a:cxn>
                      <a:cxn ang="T78">
                        <a:pos x="T32" y="T33"/>
                      </a:cxn>
                      <a:cxn ang="T79">
                        <a:pos x="T34" y="T35"/>
                      </a:cxn>
                      <a:cxn ang="T80">
                        <a:pos x="T36" y="T37"/>
                      </a:cxn>
                      <a:cxn ang="T81">
                        <a:pos x="T38" y="T39"/>
                      </a:cxn>
                      <a:cxn ang="T82">
                        <a:pos x="T40" y="T41"/>
                      </a:cxn>
                      <a:cxn ang="T83">
                        <a:pos x="T42" y="T43"/>
                      </a:cxn>
                      <a:cxn ang="T84">
                        <a:pos x="T44" y="T45"/>
                      </a:cxn>
                      <a:cxn ang="T85">
                        <a:pos x="T46" y="T47"/>
                      </a:cxn>
                      <a:cxn ang="T86">
                        <a:pos x="T48" y="T49"/>
                      </a:cxn>
                      <a:cxn ang="T87">
                        <a:pos x="T50" y="T51"/>
                      </a:cxn>
                      <a:cxn ang="T88">
                        <a:pos x="T52" y="T53"/>
                      </a:cxn>
                      <a:cxn ang="T89">
                        <a:pos x="T54" y="T55"/>
                      </a:cxn>
                      <a:cxn ang="T90">
                        <a:pos x="T56" y="T57"/>
                      </a:cxn>
                      <a:cxn ang="T91">
                        <a:pos x="T58" y="T59"/>
                      </a:cxn>
                      <a:cxn ang="T92">
                        <a:pos x="T60" y="T61"/>
                      </a:cxn>
                    </a:cxnLst>
                    <a:rect l="T93" t="T94" r="T95" b="T96"/>
                    <a:pathLst>
                      <a:path w="235" h="218">
                        <a:moveTo>
                          <a:pt x="235" y="17"/>
                        </a:moveTo>
                        <a:lnTo>
                          <a:pt x="235" y="9"/>
                        </a:lnTo>
                        <a:lnTo>
                          <a:pt x="200" y="9"/>
                        </a:lnTo>
                        <a:lnTo>
                          <a:pt x="166" y="17"/>
                        </a:lnTo>
                        <a:lnTo>
                          <a:pt x="122" y="17"/>
                        </a:lnTo>
                        <a:lnTo>
                          <a:pt x="122" y="9"/>
                        </a:lnTo>
                        <a:lnTo>
                          <a:pt x="78" y="9"/>
                        </a:lnTo>
                        <a:lnTo>
                          <a:pt x="44" y="0"/>
                        </a:lnTo>
                        <a:lnTo>
                          <a:pt x="17" y="9"/>
                        </a:lnTo>
                        <a:lnTo>
                          <a:pt x="0" y="9"/>
                        </a:lnTo>
                        <a:lnTo>
                          <a:pt x="0" y="17"/>
                        </a:lnTo>
                        <a:lnTo>
                          <a:pt x="9" y="17"/>
                        </a:lnTo>
                        <a:lnTo>
                          <a:pt x="44" y="87"/>
                        </a:lnTo>
                        <a:lnTo>
                          <a:pt x="52" y="87"/>
                        </a:lnTo>
                        <a:lnTo>
                          <a:pt x="52" y="96"/>
                        </a:lnTo>
                        <a:lnTo>
                          <a:pt x="44" y="113"/>
                        </a:lnTo>
                        <a:lnTo>
                          <a:pt x="70" y="209"/>
                        </a:lnTo>
                        <a:lnTo>
                          <a:pt x="78" y="201"/>
                        </a:lnTo>
                        <a:lnTo>
                          <a:pt x="87" y="201"/>
                        </a:lnTo>
                        <a:lnTo>
                          <a:pt x="113" y="218"/>
                        </a:lnTo>
                        <a:lnTo>
                          <a:pt x="139" y="209"/>
                        </a:lnTo>
                        <a:lnTo>
                          <a:pt x="139" y="166"/>
                        </a:lnTo>
                        <a:lnTo>
                          <a:pt x="139" y="140"/>
                        </a:lnTo>
                        <a:lnTo>
                          <a:pt x="139" y="113"/>
                        </a:lnTo>
                        <a:lnTo>
                          <a:pt x="157" y="96"/>
                        </a:lnTo>
                        <a:lnTo>
                          <a:pt x="166" y="44"/>
                        </a:lnTo>
                        <a:lnTo>
                          <a:pt x="157" y="26"/>
                        </a:lnTo>
                        <a:lnTo>
                          <a:pt x="174" y="26"/>
                        </a:lnTo>
                        <a:lnTo>
                          <a:pt x="209" y="17"/>
                        </a:lnTo>
                        <a:lnTo>
                          <a:pt x="218" y="26"/>
                        </a:lnTo>
                        <a:lnTo>
                          <a:pt x="235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6" name="Freeform 544"/>
                  <p:cNvSpPr>
                    <a:spLocks/>
                  </p:cNvSpPr>
                  <p:nvPr/>
                </p:nvSpPr>
                <p:spPr bwMode="auto">
                  <a:xfrm>
                    <a:off x="4652964" y="4395788"/>
                    <a:ext cx="373063" cy="346075"/>
                  </a:xfrm>
                  <a:custGeom>
                    <a:avLst/>
                    <a:gdLst>
                      <a:gd name="T0" fmla="*/ 2147483647 w 235"/>
                      <a:gd name="T1" fmla="*/ 2147483647 h 218"/>
                      <a:gd name="T2" fmla="*/ 2147483647 w 235"/>
                      <a:gd name="T3" fmla="*/ 2147483647 h 218"/>
                      <a:gd name="T4" fmla="*/ 2147483647 w 235"/>
                      <a:gd name="T5" fmla="*/ 2147483647 h 218"/>
                      <a:gd name="T6" fmla="*/ 2147483647 w 235"/>
                      <a:gd name="T7" fmla="*/ 2147483647 h 218"/>
                      <a:gd name="T8" fmla="*/ 2147483647 w 235"/>
                      <a:gd name="T9" fmla="*/ 2147483647 h 218"/>
                      <a:gd name="T10" fmla="*/ 2147483647 w 235"/>
                      <a:gd name="T11" fmla="*/ 2147483647 h 218"/>
                      <a:gd name="T12" fmla="*/ 2147483647 w 235"/>
                      <a:gd name="T13" fmla="*/ 2147483647 h 218"/>
                      <a:gd name="T14" fmla="*/ 2147483647 w 235"/>
                      <a:gd name="T15" fmla="*/ 0 h 218"/>
                      <a:gd name="T16" fmla="*/ 2147483647 w 235"/>
                      <a:gd name="T17" fmla="*/ 2147483647 h 218"/>
                      <a:gd name="T18" fmla="*/ 0 w 235"/>
                      <a:gd name="T19" fmla="*/ 2147483647 h 218"/>
                      <a:gd name="T20" fmla="*/ 0 w 235"/>
                      <a:gd name="T21" fmla="*/ 2147483647 h 218"/>
                      <a:gd name="T22" fmla="*/ 2147483647 w 235"/>
                      <a:gd name="T23" fmla="*/ 2147483647 h 218"/>
                      <a:gd name="T24" fmla="*/ 2147483647 w 235"/>
                      <a:gd name="T25" fmla="*/ 2147483647 h 218"/>
                      <a:gd name="T26" fmla="*/ 2147483647 w 235"/>
                      <a:gd name="T27" fmla="*/ 2147483647 h 218"/>
                      <a:gd name="T28" fmla="*/ 2147483647 w 235"/>
                      <a:gd name="T29" fmla="*/ 2147483647 h 218"/>
                      <a:gd name="T30" fmla="*/ 2147483647 w 235"/>
                      <a:gd name="T31" fmla="*/ 2147483647 h 218"/>
                      <a:gd name="T32" fmla="*/ 2147483647 w 235"/>
                      <a:gd name="T33" fmla="*/ 2147483647 h 218"/>
                      <a:gd name="T34" fmla="*/ 2147483647 w 235"/>
                      <a:gd name="T35" fmla="*/ 2147483647 h 218"/>
                      <a:gd name="T36" fmla="*/ 2147483647 w 235"/>
                      <a:gd name="T37" fmla="*/ 2147483647 h 218"/>
                      <a:gd name="T38" fmla="*/ 2147483647 w 235"/>
                      <a:gd name="T39" fmla="*/ 2147483647 h 218"/>
                      <a:gd name="T40" fmla="*/ 2147483647 w 235"/>
                      <a:gd name="T41" fmla="*/ 2147483647 h 218"/>
                      <a:gd name="T42" fmla="*/ 2147483647 w 235"/>
                      <a:gd name="T43" fmla="*/ 2147483647 h 218"/>
                      <a:gd name="T44" fmla="*/ 2147483647 w 235"/>
                      <a:gd name="T45" fmla="*/ 2147483647 h 218"/>
                      <a:gd name="T46" fmla="*/ 2147483647 w 235"/>
                      <a:gd name="T47" fmla="*/ 2147483647 h 218"/>
                      <a:gd name="T48" fmla="*/ 2147483647 w 235"/>
                      <a:gd name="T49" fmla="*/ 2147483647 h 218"/>
                      <a:gd name="T50" fmla="*/ 2147483647 w 235"/>
                      <a:gd name="T51" fmla="*/ 2147483647 h 218"/>
                      <a:gd name="T52" fmla="*/ 2147483647 w 235"/>
                      <a:gd name="T53" fmla="*/ 2147483647 h 218"/>
                      <a:gd name="T54" fmla="*/ 2147483647 w 235"/>
                      <a:gd name="T55" fmla="*/ 2147483647 h 218"/>
                      <a:gd name="T56" fmla="*/ 2147483647 w 235"/>
                      <a:gd name="T57" fmla="*/ 2147483647 h 218"/>
                      <a:gd name="T58" fmla="*/ 2147483647 w 235"/>
                      <a:gd name="T59" fmla="*/ 2147483647 h 218"/>
                      <a:gd name="T60" fmla="*/ 2147483647 w 235"/>
                      <a:gd name="T61" fmla="*/ 2147483647 h 218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w 235"/>
                      <a:gd name="T94" fmla="*/ 0 h 218"/>
                      <a:gd name="T95" fmla="*/ 235 w 235"/>
                      <a:gd name="T96" fmla="*/ 218 h 218"/>
                    </a:gdLst>
                    <a:ahLst/>
                    <a:cxnLst>
                      <a:cxn ang="T62">
                        <a:pos x="T0" y="T1"/>
                      </a:cxn>
                      <a:cxn ang="T63">
                        <a:pos x="T2" y="T3"/>
                      </a:cxn>
                      <a:cxn ang="T64">
                        <a:pos x="T4" y="T5"/>
                      </a:cxn>
                      <a:cxn ang="T65">
                        <a:pos x="T6" y="T7"/>
                      </a:cxn>
                      <a:cxn ang="T66">
                        <a:pos x="T8" y="T9"/>
                      </a:cxn>
                      <a:cxn ang="T67">
                        <a:pos x="T10" y="T11"/>
                      </a:cxn>
                      <a:cxn ang="T68">
                        <a:pos x="T12" y="T13"/>
                      </a:cxn>
                      <a:cxn ang="T69">
                        <a:pos x="T14" y="T15"/>
                      </a:cxn>
                      <a:cxn ang="T70">
                        <a:pos x="T16" y="T17"/>
                      </a:cxn>
                      <a:cxn ang="T71">
                        <a:pos x="T18" y="T19"/>
                      </a:cxn>
                      <a:cxn ang="T72">
                        <a:pos x="T20" y="T21"/>
                      </a:cxn>
                      <a:cxn ang="T73">
                        <a:pos x="T22" y="T23"/>
                      </a:cxn>
                      <a:cxn ang="T74">
                        <a:pos x="T24" y="T25"/>
                      </a:cxn>
                      <a:cxn ang="T75">
                        <a:pos x="T26" y="T27"/>
                      </a:cxn>
                      <a:cxn ang="T76">
                        <a:pos x="T28" y="T29"/>
                      </a:cxn>
                      <a:cxn ang="T77">
                        <a:pos x="T30" y="T31"/>
                      </a:cxn>
                      <a:cxn ang="T78">
                        <a:pos x="T32" y="T33"/>
                      </a:cxn>
                      <a:cxn ang="T79">
                        <a:pos x="T34" y="T35"/>
                      </a:cxn>
                      <a:cxn ang="T80">
                        <a:pos x="T36" y="T37"/>
                      </a:cxn>
                      <a:cxn ang="T81">
                        <a:pos x="T38" y="T39"/>
                      </a:cxn>
                      <a:cxn ang="T82">
                        <a:pos x="T40" y="T41"/>
                      </a:cxn>
                      <a:cxn ang="T83">
                        <a:pos x="T42" y="T43"/>
                      </a:cxn>
                      <a:cxn ang="T84">
                        <a:pos x="T44" y="T45"/>
                      </a:cxn>
                      <a:cxn ang="T85">
                        <a:pos x="T46" y="T47"/>
                      </a:cxn>
                      <a:cxn ang="T86">
                        <a:pos x="T48" y="T49"/>
                      </a:cxn>
                      <a:cxn ang="T87">
                        <a:pos x="T50" y="T51"/>
                      </a:cxn>
                      <a:cxn ang="T88">
                        <a:pos x="T52" y="T53"/>
                      </a:cxn>
                      <a:cxn ang="T89">
                        <a:pos x="T54" y="T55"/>
                      </a:cxn>
                      <a:cxn ang="T90">
                        <a:pos x="T56" y="T57"/>
                      </a:cxn>
                      <a:cxn ang="T91">
                        <a:pos x="T58" y="T59"/>
                      </a:cxn>
                      <a:cxn ang="T92">
                        <a:pos x="T60" y="T61"/>
                      </a:cxn>
                    </a:cxnLst>
                    <a:rect l="T93" t="T94" r="T95" b="T96"/>
                    <a:pathLst>
                      <a:path w="235" h="218">
                        <a:moveTo>
                          <a:pt x="235" y="17"/>
                        </a:moveTo>
                        <a:lnTo>
                          <a:pt x="235" y="9"/>
                        </a:lnTo>
                        <a:lnTo>
                          <a:pt x="200" y="9"/>
                        </a:lnTo>
                        <a:lnTo>
                          <a:pt x="166" y="17"/>
                        </a:lnTo>
                        <a:lnTo>
                          <a:pt x="122" y="17"/>
                        </a:lnTo>
                        <a:lnTo>
                          <a:pt x="122" y="9"/>
                        </a:lnTo>
                        <a:lnTo>
                          <a:pt x="78" y="9"/>
                        </a:lnTo>
                        <a:lnTo>
                          <a:pt x="44" y="0"/>
                        </a:lnTo>
                        <a:lnTo>
                          <a:pt x="17" y="9"/>
                        </a:lnTo>
                        <a:lnTo>
                          <a:pt x="0" y="9"/>
                        </a:lnTo>
                        <a:lnTo>
                          <a:pt x="0" y="17"/>
                        </a:lnTo>
                        <a:lnTo>
                          <a:pt x="9" y="17"/>
                        </a:lnTo>
                        <a:lnTo>
                          <a:pt x="44" y="87"/>
                        </a:lnTo>
                        <a:lnTo>
                          <a:pt x="52" y="87"/>
                        </a:lnTo>
                        <a:lnTo>
                          <a:pt x="52" y="96"/>
                        </a:lnTo>
                        <a:lnTo>
                          <a:pt x="44" y="113"/>
                        </a:lnTo>
                        <a:lnTo>
                          <a:pt x="70" y="209"/>
                        </a:lnTo>
                        <a:lnTo>
                          <a:pt x="78" y="201"/>
                        </a:lnTo>
                        <a:lnTo>
                          <a:pt x="87" y="201"/>
                        </a:lnTo>
                        <a:lnTo>
                          <a:pt x="113" y="218"/>
                        </a:lnTo>
                        <a:lnTo>
                          <a:pt x="139" y="209"/>
                        </a:lnTo>
                        <a:lnTo>
                          <a:pt x="139" y="166"/>
                        </a:lnTo>
                        <a:lnTo>
                          <a:pt x="139" y="140"/>
                        </a:lnTo>
                        <a:lnTo>
                          <a:pt x="139" y="113"/>
                        </a:lnTo>
                        <a:lnTo>
                          <a:pt x="157" y="96"/>
                        </a:lnTo>
                        <a:lnTo>
                          <a:pt x="166" y="44"/>
                        </a:lnTo>
                        <a:lnTo>
                          <a:pt x="157" y="26"/>
                        </a:lnTo>
                        <a:lnTo>
                          <a:pt x="174" y="26"/>
                        </a:lnTo>
                        <a:lnTo>
                          <a:pt x="209" y="17"/>
                        </a:lnTo>
                        <a:lnTo>
                          <a:pt x="218" y="26"/>
                        </a:lnTo>
                        <a:lnTo>
                          <a:pt x="235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7" name="Freeform 545"/>
                  <p:cNvSpPr>
                    <a:spLocks/>
                  </p:cNvSpPr>
                  <p:nvPr/>
                </p:nvSpPr>
                <p:spPr bwMode="auto">
                  <a:xfrm>
                    <a:off x="4873626" y="4422775"/>
                    <a:ext cx="249238" cy="263525"/>
                  </a:xfrm>
                  <a:custGeom>
                    <a:avLst/>
                    <a:gdLst>
                      <a:gd name="T0" fmla="*/ 2147483647 w 157"/>
                      <a:gd name="T1" fmla="*/ 2147483647 h 166"/>
                      <a:gd name="T2" fmla="*/ 2147483647 w 157"/>
                      <a:gd name="T3" fmla="*/ 0 h 166"/>
                      <a:gd name="T4" fmla="*/ 2147483647 w 157"/>
                      <a:gd name="T5" fmla="*/ 2147483647 h 166"/>
                      <a:gd name="T6" fmla="*/ 2147483647 w 157"/>
                      <a:gd name="T7" fmla="*/ 0 h 166"/>
                      <a:gd name="T8" fmla="*/ 2147483647 w 157"/>
                      <a:gd name="T9" fmla="*/ 2147483647 h 166"/>
                      <a:gd name="T10" fmla="*/ 2147483647 w 157"/>
                      <a:gd name="T11" fmla="*/ 2147483647 h 166"/>
                      <a:gd name="T12" fmla="*/ 2147483647 w 157"/>
                      <a:gd name="T13" fmla="*/ 2147483647 h 166"/>
                      <a:gd name="T14" fmla="*/ 2147483647 w 157"/>
                      <a:gd name="T15" fmla="*/ 2147483647 h 166"/>
                      <a:gd name="T16" fmla="*/ 0 w 157"/>
                      <a:gd name="T17" fmla="*/ 2147483647 h 166"/>
                      <a:gd name="T18" fmla="*/ 0 w 157"/>
                      <a:gd name="T19" fmla="*/ 2147483647 h 166"/>
                      <a:gd name="T20" fmla="*/ 2147483647 w 157"/>
                      <a:gd name="T21" fmla="*/ 2147483647 h 166"/>
                      <a:gd name="T22" fmla="*/ 2147483647 w 157"/>
                      <a:gd name="T23" fmla="*/ 2147483647 h 166"/>
                      <a:gd name="T24" fmla="*/ 2147483647 w 157"/>
                      <a:gd name="T25" fmla="*/ 2147483647 h 166"/>
                      <a:gd name="T26" fmla="*/ 2147483647 w 157"/>
                      <a:gd name="T27" fmla="*/ 2147483647 h 166"/>
                      <a:gd name="T28" fmla="*/ 2147483647 w 157"/>
                      <a:gd name="T29" fmla="*/ 2147483647 h 166"/>
                      <a:gd name="T30" fmla="*/ 2147483647 w 157"/>
                      <a:gd name="T31" fmla="*/ 2147483647 h 166"/>
                      <a:gd name="T32" fmla="*/ 2147483647 w 157"/>
                      <a:gd name="T33" fmla="*/ 2147483647 h 166"/>
                      <a:gd name="T34" fmla="*/ 2147483647 w 157"/>
                      <a:gd name="T35" fmla="*/ 2147483647 h 166"/>
                      <a:gd name="T36" fmla="*/ 2147483647 w 157"/>
                      <a:gd name="T37" fmla="*/ 2147483647 h 166"/>
                      <a:gd name="T38" fmla="*/ 2147483647 w 157"/>
                      <a:gd name="T39" fmla="*/ 2147483647 h 16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57"/>
                      <a:gd name="T61" fmla="*/ 0 h 166"/>
                      <a:gd name="T62" fmla="*/ 157 w 157"/>
                      <a:gd name="T63" fmla="*/ 166 h 166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57" h="166">
                        <a:moveTo>
                          <a:pt x="105" y="9"/>
                        </a:moveTo>
                        <a:lnTo>
                          <a:pt x="96" y="0"/>
                        </a:lnTo>
                        <a:lnTo>
                          <a:pt x="79" y="9"/>
                        </a:lnTo>
                        <a:lnTo>
                          <a:pt x="70" y="0"/>
                        </a:lnTo>
                        <a:lnTo>
                          <a:pt x="35" y="9"/>
                        </a:lnTo>
                        <a:lnTo>
                          <a:pt x="18" y="9"/>
                        </a:lnTo>
                        <a:lnTo>
                          <a:pt x="27" y="27"/>
                        </a:lnTo>
                        <a:lnTo>
                          <a:pt x="18" y="79"/>
                        </a:lnTo>
                        <a:lnTo>
                          <a:pt x="0" y="96"/>
                        </a:lnTo>
                        <a:lnTo>
                          <a:pt x="0" y="123"/>
                        </a:lnTo>
                        <a:lnTo>
                          <a:pt x="9" y="131"/>
                        </a:lnTo>
                        <a:lnTo>
                          <a:pt x="18" y="166"/>
                        </a:lnTo>
                        <a:lnTo>
                          <a:pt x="35" y="166"/>
                        </a:lnTo>
                        <a:lnTo>
                          <a:pt x="53" y="131"/>
                        </a:lnTo>
                        <a:lnTo>
                          <a:pt x="96" y="140"/>
                        </a:lnTo>
                        <a:lnTo>
                          <a:pt x="105" y="114"/>
                        </a:lnTo>
                        <a:lnTo>
                          <a:pt x="157" y="79"/>
                        </a:lnTo>
                        <a:lnTo>
                          <a:pt x="149" y="70"/>
                        </a:lnTo>
                        <a:lnTo>
                          <a:pt x="122" y="35"/>
                        </a:lnTo>
                        <a:lnTo>
                          <a:pt x="105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8" name="Freeform 546"/>
                  <p:cNvSpPr>
                    <a:spLocks/>
                  </p:cNvSpPr>
                  <p:nvPr/>
                </p:nvSpPr>
                <p:spPr bwMode="auto">
                  <a:xfrm>
                    <a:off x="4873626" y="4422775"/>
                    <a:ext cx="249238" cy="263525"/>
                  </a:xfrm>
                  <a:custGeom>
                    <a:avLst/>
                    <a:gdLst>
                      <a:gd name="T0" fmla="*/ 2147483647 w 157"/>
                      <a:gd name="T1" fmla="*/ 2147483647 h 166"/>
                      <a:gd name="T2" fmla="*/ 2147483647 w 157"/>
                      <a:gd name="T3" fmla="*/ 0 h 166"/>
                      <a:gd name="T4" fmla="*/ 2147483647 w 157"/>
                      <a:gd name="T5" fmla="*/ 2147483647 h 166"/>
                      <a:gd name="T6" fmla="*/ 2147483647 w 157"/>
                      <a:gd name="T7" fmla="*/ 0 h 166"/>
                      <a:gd name="T8" fmla="*/ 2147483647 w 157"/>
                      <a:gd name="T9" fmla="*/ 2147483647 h 166"/>
                      <a:gd name="T10" fmla="*/ 2147483647 w 157"/>
                      <a:gd name="T11" fmla="*/ 2147483647 h 166"/>
                      <a:gd name="T12" fmla="*/ 2147483647 w 157"/>
                      <a:gd name="T13" fmla="*/ 2147483647 h 166"/>
                      <a:gd name="T14" fmla="*/ 2147483647 w 157"/>
                      <a:gd name="T15" fmla="*/ 2147483647 h 166"/>
                      <a:gd name="T16" fmla="*/ 0 w 157"/>
                      <a:gd name="T17" fmla="*/ 2147483647 h 166"/>
                      <a:gd name="T18" fmla="*/ 0 w 157"/>
                      <a:gd name="T19" fmla="*/ 2147483647 h 166"/>
                      <a:gd name="T20" fmla="*/ 2147483647 w 157"/>
                      <a:gd name="T21" fmla="*/ 2147483647 h 166"/>
                      <a:gd name="T22" fmla="*/ 2147483647 w 157"/>
                      <a:gd name="T23" fmla="*/ 2147483647 h 166"/>
                      <a:gd name="T24" fmla="*/ 2147483647 w 157"/>
                      <a:gd name="T25" fmla="*/ 2147483647 h 166"/>
                      <a:gd name="T26" fmla="*/ 2147483647 w 157"/>
                      <a:gd name="T27" fmla="*/ 2147483647 h 166"/>
                      <a:gd name="T28" fmla="*/ 2147483647 w 157"/>
                      <a:gd name="T29" fmla="*/ 2147483647 h 166"/>
                      <a:gd name="T30" fmla="*/ 2147483647 w 157"/>
                      <a:gd name="T31" fmla="*/ 2147483647 h 166"/>
                      <a:gd name="T32" fmla="*/ 2147483647 w 157"/>
                      <a:gd name="T33" fmla="*/ 2147483647 h 166"/>
                      <a:gd name="T34" fmla="*/ 2147483647 w 157"/>
                      <a:gd name="T35" fmla="*/ 2147483647 h 166"/>
                      <a:gd name="T36" fmla="*/ 2147483647 w 157"/>
                      <a:gd name="T37" fmla="*/ 2147483647 h 166"/>
                      <a:gd name="T38" fmla="*/ 2147483647 w 157"/>
                      <a:gd name="T39" fmla="*/ 2147483647 h 16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57"/>
                      <a:gd name="T61" fmla="*/ 0 h 166"/>
                      <a:gd name="T62" fmla="*/ 157 w 157"/>
                      <a:gd name="T63" fmla="*/ 166 h 166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57" h="166">
                        <a:moveTo>
                          <a:pt x="105" y="9"/>
                        </a:moveTo>
                        <a:lnTo>
                          <a:pt x="96" y="0"/>
                        </a:lnTo>
                        <a:lnTo>
                          <a:pt x="79" y="9"/>
                        </a:lnTo>
                        <a:lnTo>
                          <a:pt x="70" y="0"/>
                        </a:lnTo>
                        <a:lnTo>
                          <a:pt x="35" y="9"/>
                        </a:lnTo>
                        <a:lnTo>
                          <a:pt x="18" y="9"/>
                        </a:lnTo>
                        <a:lnTo>
                          <a:pt x="27" y="27"/>
                        </a:lnTo>
                        <a:lnTo>
                          <a:pt x="18" y="79"/>
                        </a:lnTo>
                        <a:lnTo>
                          <a:pt x="0" y="96"/>
                        </a:lnTo>
                        <a:lnTo>
                          <a:pt x="0" y="123"/>
                        </a:lnTo>
                        <a:lnTo>
                          <a:pt x="9" y="131"/>
                        </a:lnTo>
                        <a:lnTo>
                          <a:pt x="18" y="166"/>
                        </a:lnTo>
                        <a:lnTo>
                          <a:pt x="35" y="166"/>
                        </a:lnTo>
                        <a:lnTo>
                          <a:pt x="53" y="131"/>
                        </a:lnTo>
                        <a:lnTo>
                          <a:pt x="96" y="140"/>
                        </a:lnTo>
                        <a:lnTo>
                          <a:pt x="105" y="114"/>
                        </a:lnTo>
                        <a:lnTo>
                          <a:pt x="157" y="79"/>
                        </a:lnTo>
                        <a:lnTo>
                          <a:pt x="149" y="70"/>
                        </a:lnTo>
                        <a:lnTo>
                          <a:pt x="122" y="35"/>
                        </a:lnTo>
                        <a:lnTo>
                          <a:pt x="105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9" name="Freeform 547"/>
                  <p:cNvSpPr>
                    <a:spLocks/>
                  </p:cNvSpPr>
                  <p:nvPr/>
                </p:nvSpPr>
                <p:spPr bwMode="auto">
                  <a:xfrm>
                    <a:off x="5165726" y="4618038"/>
                    <a:ext cx="26988" cy="53975"/>
                  </a:xfrm>
                  <a:custGeom>
                    <a:avLst/>
                    <a:gdLst>
                      <a:gd name="T0" fmla="*/ 2147483647 w 17"/>
                      <a:gd name="T1" fmla="*/ 0 h 34"/>
                      <a:gd name="T2" fmla="*/ 0 w 17"/>
                      <a:gd name="T3" fmla="*/ 2147483647 h 34"/>
                      <a:gd name="T4" fmla="*/ 0 w 17"/>
                      <a:gd name="T5" fmla="*/ 2147483647 h 34"/>
                      <a:gd name="T6" fmla="*/ 2147483647 w 17"/>
                      <a:gd name="T7" fmla="*/ 2147483647 h 34"/>
                      <a:gd name="T8" fmla="*/ 2147483647 w 17"/>
                      <a:gd name="T9" fmla="*/ 2147483647 h 34"/>
                      <a:gd name="T10" fmla="*/ 2147483647 w 17"/>
                      <a:gd name="T11" fmla="*/ 0 h 3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34"/>
                      <a:gd name="T20" fmla="*/ 17 w 17"/>
                      <a:gd name="T21" fmla="*/ 34 h 3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34">
                        <a:moveTo>
                          <a:pt x="17" y="0"/>
                        </a:moveTo>
                        <a:lnTo>
                          <a:pt x="0" y="17"/>
                        </a:lnTo>
                        <a:lnTo>
                          <a:pt x="0" y="34"/>
                        </a:lnTo>
                        <a:lnTo>
                          <a:pt x="8" y="34"/>
                        </a:lnTo>
                        <a:lnTo>
                          <a:pt x="17" y="26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0" name="Freeform 548"/>
                  <p:cNvSpPr>
                    <a:spLocks/>
                  </p:cNvSpPr>
                  <p:nvPr/>
                </p:nvSpPr>
                <p:spPr bwMode="auto">
                  <a:xfrm>
                    <a:off x="5165726" y="4618038"/>
                    <a:ext cx="26988" cy="53975"/>
                  </a:xfrm>
                  <a:custGeom>
                    <a:avLst/>
                    <a:gdLst>
                      <a:gd name="T0" fmla="*/ 2147483647 w 17"/>
                      <a:gd name="T1" fmla="*/ 0 h 34"/>
                      <a:gd name="T2" fmla="*/ 0 w 17"/>
                      <a:gd name="T3" fmla="*/ 2147483647 h 34"/>
                      <a:gd name="T4" fmla="*/ 0 w 17"/>
                      <a:gd name="T5" fmla="*/ 2147483647 h 34"/>
                      <a:gd name="T6" fmla="*/ 2147483647 w 17"/>
                      <a:gd name="T7" fmla="*/ 2147483647 h 34"/>
                      <a:gd name="T8" fmla="*/ 2147483647 w 17"/>
                      <a:gd name="T9" fmla="*/ 2147483647 h 34"/>
                      <a:gd name="T10" fmla="*/ 2147483647 w 17"/>
                      <a:gd name="T11" fmla="*/ 0 h 3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34"/>
                      <a:gd name="T20" fmla="*/ 17 w 17"/>
                      <a:gd name="T21" fmla="*/ 34 h 3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34">
                        <a:moveTo>
                          <a:pt x="17" y="0"/>
                        </a:moveTo>
                        <a:lnTo>
                          <a:pt x="0" y="17"/>
                        </a:lnTo>
                        <a:lnTo>
                          <a:pt x="0" y="34"/>
                        </a:lnTo>
                        <a:lnTo>
                          <a:pt x="8" y="34"/>
                        </a:lnTo>
                        <a:lnTo>
                          <a:pt x="17" y="26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1" name="Freeform 549"/>
                  <p:cNvSpPr>
                    <a:spLocks/>
                  </p:cNvSpPr>
                  <p:nvPr/>
                </p:nvSpPr>
                <p:spPr bwMode="auto">
                  <a:xfrm>
                    <a:off x="5151439" y="4202113"/>
                    <a:ext cx="276225" cy="457200"/>
                  </a:xfrm>
                  <a:custGeom>
                    <a:avLst/>
                    <a:gdLst>
                      <a:gd name="T0" fmla="*/ 2147483647 w 174"/>
                      <a:gd name="T1" fmla="*/ 2147483647 h 288"/>
                      <a:gd name="T2" fmla="*/ 0 w 174"/>
                      <a:gd name="T3" fmla="*/ 2147483647 h 288"/>
                      <a:gd name="T4" fmla="*/ 2147483647 w 174"/>
                      <a:gd name="T5" fmla="*/ 2147483647 h 288"/>
                      <a:gd name="T6" fmla="*/ 2147483647 w 174"/>
                      <a:gd name="T7" fmla="*/ 2147483647 h 288"/>
                      <a:gd name="T8" fmla="*/ 2147483647 w 174"/>
                      <a:gd name="T9" fmla="*/ 2147483647 h 288"/>
                      <a:gd name="T10" fmla="*/ 2147483647 w 174"/>
                      <a:gd name="T11" fmla="*/ 2147483647 h 288"/>
                      <a:gd name="T12" fmla="*/ 2147483647 w 174"/>
                      <a:gd name="T13" fmla="*/ 2147483647 h 288"/>
                      <a:gd name="T14" fmla="*/ 2147483647 w 174"/>
                      <a:gd name="T15" fmla="*/ 2147483647 h 288"/>
                      <a:gd name="T16" fmla="*/ 2147483647 w 174"/>
                      <a:gd name="T17" fmla="*/ 2147483647 h 288"/>
                      <a:gd name="T18" fmla="*/ 2147483647 w 174"/>
                      <a:gd name="T19" fmla="*/ 2147483647 h 288"/>
                      <a:gd name="T20" fmla="*/ 2147483647 w 174"/>
                      <a:gd name="T21" fmla="*/ 2147483647 h 288"/>
                      <a:gd name="T22" fmla="*/ 2147483647 w 174"/>
                      <a:gd name="T23" fmla="*/ 2147483647 h 288"/>
                      <a:gd name="T24" fmla="*/ 2147483647 w 174"/>
                      <a:gd name="T25" fmla="*/ 2147483647 h 288"/>
                      <a:gd name="T26" fmla="*/ 2147483647 w 174"/>
                      <a:gd name="T27" fmla="*/ 2147483647 h 288"/>
                      <a:gd name="T28" fmla="*/ 2147483647 w 174"/>
                      <a:gd name="T29" fmla="*/ 2147483647 h 288"/>
                      <a:gd name="T30" fmla="*/ 2147483647 w 174"/>
                      <a:gd name="T31" fmla="*/ 2147483647 h 288"/>
                      <a:gd name="T32" fmla="*/ 2147483647 w 174"/>
                      <a:gd name="T33" fmla="*/ 2147483647 h 288"/>
                      <a:gd name="T34" fmla="*/ 2147483647 w 174"/>
                      <a:gd name="T35" fmla="*/ 2147483647 h 288"/>
                      <a:gd name="T36" fmla="*/ 2147483647 w 174"/>
                      <a:gd name="T37" fmla="*/ 2147483647 h 288"/>
                      <a:gd name="T38" fmla="*/ 2147483647 w 174"/>
                      <a:gd name="T39" fmla="*/ 2147483647 h 288"/>
                      <a:gd name="T40" fmla="*/ 2147483647 w 174"/>
                      <a:gd name="T41" fmla="*/ 0 h 288"/>
                      <a:gd name="T42" fmla="*/ 2147483647 w 174"/>
                      <a:gd name="T43" fmla="*/ 2147483647 h 288"/>
                      <a:gd name="T44" fmla="*/ 2147483647 w 174"/>
                      <a:gd name="T45" fmla="*/ 2147483647 h 288"/>
                      <a:gd name="T46" fmla="*/ 2147483647 w 174"/>
                      <a:gd name="T47" fmla="*/ 2147483647 h 288"/>
                      <a:gd name="T48" fmla="*/ 2147483647 w 174"/>
                      <a:gd name="T49" fmla="*/ 2147483647 h 288"/>
                      <a:gd name="T50" fmla="*/ 2147483647 w 174"/>
                      <a:gd name="T51" fmla="*/ 2147483647 h 288"/>
                      <a:gd name="T52" fmla="*/ 2147483647 w 174"/>
                      <a:gd name="T53" fmla="*/ 2147483647 h 288"/>
                      <a:gd name="T54" fmla="*/ 2147483647 w 174"/>
                      <a:gd name="T55" fmla="*/ 2147483647 h 288"/>
                      <a:gd name="T56" fmla="*/ 2147483647 w 174"/>
                      <a:gd name="T57" fmla="*/ 2147483647 h 288"/>
                      <a:gd name="T58" fmla="*/ 2147483647 w 174"/>
                      <a:gd name="T59" fmla="*/ 2147483647 h 288"/>
                      <a:gd name="T60" fmla="*/ 2147483647 w 174"/>
                      <a:gd name="T61" fmla="*/ 2147483647 h 288"/>
                      <a:gd name="T62" fmla="*/ 2147483647 w 174"/>
                      <a:gd name="T63" fmla="*/ 2147483647 h 288"/>
                      <a:gd name="T64" fmla="*/ 2147483647 w 174"/>
                      <a:gd name="T65" fmla="*/ 2147483647 h 288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74"/>
                      <a:gd name="T100" fmla="*/ 0 h 288"/>
                      <a:gd name="T101" fmla="*/ 174 w 174"/>
                      <a:gd name="T102" fmla="*/ 288 h 288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74" h="288">
                        <a:moveTo>
                          <a:pt x="52" y="70"/>
                        </a:moveTo>
                        <a:lnTo>
                          <a:pt x="0" y="78"/>
                        </a:lnTo>
                        <a:lnTo>
                          <a:pt x="9" y="96"/>
                        </a:lnTo>
                        <a:lnTo>
                          <a:pt x="52" y="113"/>
                        </a:lnTo>
                        <a:lnTo>
                          <a:pt x="52" y="157"/>
                        </a:lnTo>
                        <a:lnTo>
                          <a:pt x="35" y="192"/>
                        </a:lnTo>
                        <a:lnTo>
                          <a:pt x="35" y="201"/>
                        </a:lnTo>
                        <a:lnTo>
                          <a:pt x="17" y="218"/>
                        </a:lnTo>
                        <a:lnTo>
                          <a:pt x="26" y="262"/>
                        </a:lnTo>
                        <a:lnTo>
                          <a:pt x="26" y="288"/>
                        </a:lnTo>
                        <a:lnTo>
                          <a:pt x="35" y="288"/>
                        </a:lnTo>
                        <a:lnTo>
                          <a:pt x="78" y="244"/>
                        </a:lnTo>
                        <a:lnTo>
                          <a:pt x="78" y="201"/>
                        </a:lnTo>
                        <a:lnTo>
                          <a:pt x="70" y="183"/>
                        </a:lnTo>
                        <a:lnTo>
                          <a:pt x="78" y="166"/>
                        </a:lnTo>
                        <a:lnTo>
                          <a:pt x="104" y="148"/>
                        </a:lnTo>
                        <a:lnTo>
                          <a:pt x="113" y="131"/>
                        </a:lnTo>
                        <a:lnTo>
                          <a:pt x="148" y="122"/>
                        </a:lnTo>
                        <a:lnTo>
                          <a:pt x="165" y="96"/>
                        </a:lnTo>
                        <a:lnTo>
                          <a:pt x="174" y="61"/>
                        </a:lnTo>
                        <a:lnTo>
                          <a:pt x="174" y="0"/>
                        </a:lnTo>
                        <a:lnTo>
                          <a:pt x="131" y="26"/>
                        </a:lnTo>
                        <a:lnTo>
                          <a:pt x="87" y="17"/>
                        </a:lnTo>
                        <a:lnTo>
                          <a:pt x="78" y="44"/>
                        </a:lnTo>
                        <a:lnTo>
                          <a:pt x="96" y="61"/>
                        </a:lnTo>
                        <a:lnTo>
                          <a:pt x="104" y="96"/>
                        </a:lnTo>
                        <a:lnTo>
                          <a:pt x="96" y="105"/>
                        </a:lnTo>
                        <a:lnTo>
                          <a:pt x="87" y="105"/>
                        </a:lnTo>
                        <a:lnTo>
                          <a:pt x="87" y="122"/>
                        </a:lnTo>
                        <a:lnTo>
                          <a:pt x="70" y="113"/>
                        </a:lnTo>
                        <a:lnTo>
                          <a:pt x="70" y="105"/>
                        </a:lnTo>
                        <a:lnTo>
                          <a:pt x="78" y="87"/>
                        </a:lnTo>
                        <a:lnTo>
                          <a:pt x="52" y="7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2" name="Freeform 550"/>
                  <p:cNvSpPr>
                    <a:spLocks/>
                  </p:cNvSpPr>
                  <p:nvPr/>
                </p:nvSpPr>
                <p:spPr bwMode="auto">
                  <a:xfrm>
                    <a:off x="5151439" y="4202113"/>
                    <a:ext cx="276225" cy="457200"/>
                  </a:xfrm>
                  <a:custGeom>
                    <a:avLst/>
                    <a:gdLst>
                      <a:gd name="T0" fmla="*/ 2147483647 w 174"/>
                      <a:gd name="T1" fmla="*/ 2147483647 h 288"/>
                      <a:gd name="T2" fmla="*/ 0 w 174"/>
                      <a:gd name="T3" fmla="*/ 2147483647 h 288"/>
                      <a:gd name="T4" fmla="*/ 2147483647 w 174"/>
                      <a:gd name="T5" fmla="*/ 2147483647 h 288"/>
                      <a:gd name="T6" fmla="*/ 2147483647 w 174"/>
                      <a:gd name="T7" fmla="*/ 2147483647 h 288"/>
                      <a:gd name="T8" fmla="*/ 2147483647 w 174"/>
                      <a:gd name="T9" fmla="*/ 2147483647 h 288"/>
                      <a:gd name="T10" fmla="*/ 2147483647 w 174"/>
                      <a:gd name="T11" fmla="*/ 2147483647 h 288"/>
                      <a:gd name="T12" fmla="*/ 2147483647 w 174"/>
                      <a:gd name="T13" fmla="*/ 2147483647 h 288"/>
                      <a:gd name="T14" fmla="*/ 2147483647 w 174"/>
                      <a:gd name="T15" fmla="*/ 2147483647 h 288"/>
                      <a:gd name="T16" fmla="*/ 2147483647 w 174"/>
                      <a:gd name="T17" fmla="*/ 2147483647 h 288"/>
                      <a:gd name="T18" fmla="*/ 2147483647 w 174"/>
                      <a:gd name="T19" fmla="*/ 2147483647 h 288"/>
                      <a:gd name="T20" fmla="*/ 2147483647 w 174"/>
                      <a:gd name="T21" fmla="*/ 2147483647 h 288"/>
                      <a:gd name="T22" fmla="*/ 2147483647 w 174"/>
                      <a:gd name="T23" fmla="*/ 2147483647 h 288"/>
                      <a:gd name="T24" fmla="*/ 2147483647 w 174"/>
                      <a:gd name="T25" fmla="*/ 2147483647 h 288"/>
                      <a:gd name="T26" fmla="*/ 2147483647 w 174"/>
                      <a:gd name="T27" fmla="*/ 2147483647 h 288"/>
                      <a:gd name="T28" fmla="*/ 2147483647 w 174"/>
                      <a:gd name="T29" fmla="*/ 2147483647 h 288"/>
                      <a:gd name="T30" fmla="*/ 2147483647 w 174"/>
                      <a:gd name="T31" fmla="*/ 2147483647 h 288"/>
                      <a:gd name="T32" fmla="*/ 2147483647 w 174"/>
                      <a:gd name="T33" fmla="*/ 2147483647 h 288"/>
                      <a:gd name="T34" fmla="*/ 2147483647 w 174"/>
                      <a:gd name="T35" fmla="*/ 2147483647 h 288"/>
                      <a:gd name="T36" fmla="*/ 2147483647 w 174"/>
                      <a:gd name="T37" fmla="*/ 2147483647 h 288"/>
                      <a:gd name="T38" fmla="*/ 2147483647 w 174"/>
                      <a:gd name="T39" fmla="*/ 2147483647 h 288"/>
                      <a:gd name="T40" fmla="*/ 2147483647 w 174"/>
                      <a:gd name="T41" fmla="*/ 0 h 288"/>
                      <a:gd name="T42" fmla="*/ 2147483647 w 174"/>
                      <a:gd name="T43" fmla="*/ 2147483647 h 288"/>
                      <a:gd name="T44" fmla="*/ 2147483647 w 174"/>
                      <a:gd name="T45" fmla="*/ 2147483647 h 288"/>
                      <a:gd name="T46" fmla="*/ 2147483647 w 174"/>
                      <a:gd name="T47" fmla="*/ 2147483647 h 288"/>
                      <a:gd name="T48" fmla="*/ 2147483647 w 174"/>
                      <a:gd name="T49" fmla="*/ 2147483647 h 288"/>
                      <a:gd name="T50" fmla="*/ 2147483647 w 174"/>
                      <a:gd name="T51" fmla="*/ 2147483647 h 288"/>
                      <a:gd name="T52" fmla="*/ 2147483647 w 174"/>
                      <a:gd name="T53" fmla="*/ 2147483647 h 288"/>
                      <a:gd name="T54" fmla="*/ 2147483647 w 174"/>
                      <a:gd name="T55" fmla="*/ 2147483647 h 288"/>
                      <a:gd name="T56" fmla="*/ 2147483647 w 174"/>
                      <a:gd name="T57" fmla="*/ 2147483647 h 288"/>
                      <a:gd name="T58" fmla="*/ 2147483647 w 174"/>
                      <a:gd name="T59" fmla="*/ 2147483647 h 288"/>
                      <a:gd name="T60" fmla="*/ 2147483647 w 174"/>
                      <a:gd name="T61" fmla="*/ 2147483647 h 288"/>
                      <a:gd name="T62" fmla="*/ 2147483647 w 174"/>
                      <a:gd name="T63" fmla="*/ 2147483647 h 288"/>
                      <a:gd name="T64" fmla="*/ 2147483647 w 174"/>
                      <a:gd name="T65" fmla="*/ 2147483647 h 288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74"/>
                      <a:gd name="T100" fmla="*/ 0 h 288"/>
                      <a:gd name="T101" fmla="*/ 174 w 174"/>
                      <a:gd name="T102" fmla="*/ 288 h 288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74" h="288">
                        <a:moveTo>
                          <a:pt x="52" y="70"/>
                        </a:moveTo>
                        <a:lnTo>
                          <a:pt x="0" y="78"/>
                        </a:lnTo>
                        <a:lnTo>
                          <a:pt x="9" y="96"/>
                        </a:lnTo>
                        <a:lnTo>
                          <a:pt x="52" y="113"/>
                        </a:lnTo>
                        <a:lnTo>
                          <a:pt x="52" y="157"/>
                        </a:lnTo>
                        <a:lnTo>
                          <a:pt x="35" y="192"/>
                        </a:lnTo>
                        <a:lnTo>
                          <a:pt x="35" y="201"/>
                        </a:lnTo>
                        <a:lnTo>
                          <a:pt x="17" y="218"/>
                        </a:lnTo>
                        <a:lnTo>
                          <a:pt x="26" y="262"/>
                        </a:lnTo>
                        <a:lnTo>
                          <a:pt x="26" y="288"/>
                        </a:lnTo>
                        <a:lnTo>
                          <a:pt x="35" y="288"/>
                        </a:lnTo>
                        <a:lnTo>
                          <a:pt x="78" y="244"/>
                        </a:lnTo>
                        <a:lnTo>
                          <a:pt x="78" y="201"/>
                        </a:lnTo>
                        <a:lnTo>
                          <a:pt x="70" y="183"/>
                        </a:lnTo>
                        <a:lnTo>
                          <a:pt x="78" y="166"/>
                        </a:lnTo>
                        <a:lnTo>
                          <a:pt x="104" y="148"/>
                        </a:lnTo>
                        <a:lnTo>
                          <a:pt x="113" y="131"/>
                        </a:lnTo>
                        <a:lnTo>
                          <a:pt x="148" y="122"/>
                        </a:lnTo>
                        <a:lnTo>
                          <a:pt x="165" y="96"/>
                        </a:lnTo>
                        <a:lnTo>
                          <a:pt x="174" y="61"/>
                        </a:lnTo>
                        <a:lnTo>
                          <a:pt x="174" y="0"/>
                        </a:lnTo>
                        <a:lnTo>
                          <a:pt x="131" y="26"/>
                        </a:lnTo>
                        <a:lnTo>
                          <a:pt x="87" y="17"/>
                        </a:lnTo>
                        <a:lnTo>
                          <a:pt x="78" y="44"/>
                        </a:lnTo>
                        <a:lnTo>
                          <a:pt x="96" y="61"/>
                        </a:lnTo>
                        <a:lnTo>
                          <a:pt x="104" y="96"/>
                        </a:lnTo>
                        <a:lnTo>
                          <a:pt x="96" y="105"/>
                        </a:lnTo>
                        <a:lnTo>
                          <a:pt x="87" y="105"/>
                        </a:lnTo>
                        <a:lnTo>
                          <a:pt x="87" y="122"/>
                        </a:lnTo>
                        <a:lnTo>
                          <a:pt x="70" y="113"/>
                        </a:lnTo>
                        <a:lnTo>
                          <a:pt x="70" y="105"/>
                        </a:lnTo>
                        <a:lnTo>
                          <a:pt x="78" y="87"/>
                        </a:lnTo>
                        <a:lnTo>
                          <a:pt x="52" y="7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3" name="Freeform 551"/>
                  <p:cNvSpPr>
                    <a:spLocks/>
                  </p:cNvSpPr>
                  <p:nvPr/>
                </p:nvSpPr>
                <p:spPr bwMode="auto">
                  <a:xfrm>
                    <a:off x="5233989" y="4175125"/>
                    <a:ext cx="82550" cy="220663"/>
                  </a:xfrm>
                  <a:custGeom>
                    <a:avLst/>
                    <a:gdLst>
                      <a:gd name="T0" fmla="*/ 2147483647 w 52"/>
                      <a:gd name="T1" fmla="*/ 0 h 139"/>
                      <a:gd name="T2" fmla="*/ 2147483647 w 52"/>
                      <a:gd name="T3" fmla="*/ 2147483647 h 139"/>
                      <a:gd name="T4" fmla="*/ 2147483647 w 52"/>
                      <a:gd name="T5" fmla="*/ 2147483647 h 139"/>
                      <a:gd name="T6" fmla="*/ 0 w 52"/>
                      <a:gd name="T7" fmla="*/ 2147483647 h 139"/>
                      <a:gd name="T8" fmla="*/ 0 w 52"/>
                      <a:gd name="T9" fmla="*/ 2147483647 h 139"/>
                      <a:gd name="T10" fmla="*/ 2147483647 w 52"/>
                      <a:gd name="T11" fmla="*/ 2147483647 h 139"/>
                      <a:gd name="T12" fmla="*/ 2147483647 w 52"/>
                      <a:gd name="T13" fmla="*/ 2147483647 h 139"/>
                      <a:gd name="T14" fmla="*/ 2147483647 w 52"/>
                      <a:gd name="T15" fmla="*/ 2147483647 h 139"/>
                      <a:gd name="T16" fmla="*/ 2147483647 w 52"/>
                      <a:gd name="T17" fmla="*/ 2147483647 h 139"/>
                      <a:gd name="T18" fmla="*/ 2147483647 w 52"/>
                      <a:gd name="T19" fmla="*/ 2147483647 h 139"/>
                      <a:gd name="T20" fmla="*/ 2147483647 w 52"/>
                      <a:gd name="T21" fmla="*/ 2147483647 h 139"/>
                      <a:gd name="T22" fmla="*/ 2147483647 w 52"/>
                      <a:gd name="T23" fmla="*/ 2147483647 h 139"/>
                      <a:gd name="T24" fmla="*/ 2147483647 w 52"/>
                      <a:gd name="T25" fmla="*/ 2147483647 h 139"/>
                      <a:gd name="T26" fmla="*/ 2147483647 w 52"/>
                      <a:gd name="T27" fmla="*/ 2147483647 h 139"/>
                      <a:gd name="T28" fmla="*/ 2147483647 w 52"/>
                      <a:gd name="T29" fmla="*/ 2147483647 h 139"/>
                      <a:gd name="T30" fmla="*/ 2147483647 w 52"/>
                      <a:gd name="T31" fmla="*/ 0 h 139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52"/>
                      <a:gd name="T49" fmla="*/ 0 h 139"/>
                      <a:gd name="T50" fmla="*/ 52 w 52"/>
                      <a:gd name="T51" fmla="*/ 139 h 139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52" h="139">
                        <a:moveTo>
                          <a:pt x="26" y="0"/>
                        </a:moveTo>
                        <a:lnTo>
                          <a:pt x="18" y="8"/>
                        </a:lnTo>
                        <a:lnTo>
                          <a:pt x="18" y="26"/>
                        </a:lnTo>
                        <a:lnTo>
                          <a:pt x="0" y="43"/>
                        </a:lnTo>
                        <a:lnTo>
                          <a:pt x="0" y="87"/>
                        </a:lnTo>
                        <a:lnTo>
                          <a:pt x="26" y="104"/>
                        </a:lnTo>
                        <a:lnTo>
                          <a:pt x="18" y="122"/>
                        </a:lnTo>
                        <a:lnTo>
                          <a:pt x="18" y="130"/>
                        </a:lnTo>
                        <a:lnTo>
                          <a:pt x="35" y="139"/>
                        </a:lnTo>
                        <a:lnTo>
                          <a:pt x="35" y="122"/>
                        </a:lnTo>
                        <a:lnTo>
                          <a:pt x="44" y="122"/>
                        </a:lnTo>
                        <a:lnTo>
                          <a:pt x="52" y="113"/>
                        </a:lnTo>
                        <a:lnTo>
                          <a:pt x="44" y="78"/>
                        </a:lnTo>
                        <a:lnTo>
                          <a:pt x="26" y="61"/>
                        </a:lnTo>
                        <a:lnTo>
                          <a:pt x="35" y="34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4" name="Freeform 552"/>
                  <p:cNvSpPr>
                    <a:spLocks/>
                  </p:cNvSpPr>
                  <p:nvPr/>
                </p:nvSpPr>
                <p:spPr bwMode="auto">
                  <a:xfrm>
                    <a:off x="5233989" y="4175125"/>
                    <a:ext cx="82550" cy="220663"/>
                  </a:xfrm>
                  <a:custGeom>
                    <a:avLst/>
                    <a:gdLst>
                      <a:gd name="T0" fmla="*/ 2147483647 w 52"/>
                      <a:gd name="T1" fmla="*/ 0 h 139"/>
                      <a:gd name="T2" fmla="*/ 2147483647 w 52"/>
                      <a:gd name="T3" fmla="*/ 2147483647 h 139"/>
                      <a:gd name="T4" fmla="*/ 2147483647 w 52"/>
                      <a:gd name="T5" fmla="*/ 2147483647 h 139"/>
                      <a:gd name="T6" fmla="*/ 0 w 52"/>
                      <a:gd name="T7" fmla="*/ 2147483647 h 139"/>
                      <a:gd name="T8" fmla="*/ 0 w 52"/>
                      <a:gd name="T9" fmla="*/ 2147483647 h 139"/>
                      <a:gd name="T10" fmla="*/ 2147483647 w 52"/>
                      <a:gd name="T11" fmla="*/ 2147483647 h 139"/>
                      <a:gd name="T12" fmla="*/ 2147483647 w 52"/>
                      <a:gd name="T13" fmla="*/ 2147483647 h 139"/>
                      <a:gd name="T14" fmla="*/ 2147483647 w 52"/>
                      <a:gd name="T15" fmla="*/ 2147483647 h 139"/>
                      <a:gd name="T16" fmla="*/ 2147483647 w 52"/>
                      <a:gd name="T17" fmla="*/ 2147483647 h 139"/>
                      <a:gd name="T18" fmla="*/ 2147483647 w 52"/>
                      <a:gd name="T19" fmla="*/ 2147483647 h 139"/>
                      <a:gd name="T20" fmla="*/ 2147483647 w 52"/>
                      <a:gd name="T21" fmla="*/ 2147483647 h 139"/>
                      <a:gd name="T22" fmla="*/ 2147483647 w 52"/>
                      <a:gd name="T23" fmla="*/ 2147483647 h 139"/>
                      <a:gd name="T24" fmla="*/ 2147483647 w 52"/>
                      <a:gd name="T25" fmla="*/ 2147483647 h 139"/>
                      <a:gd name="T26" fmla="*/ 2147483647 w 52"/>
                      <a:gd name="T27" fmla="*/ 2147483647 h 139"/>
                      <a:gd name="T28" fmla="*/ 2147483647 w 52"/>
                      <a:gd name="T29" fmla="*/ 2147483647 h 139"/>
                      <a:gd name="T30" fmla="*/ 2147483647 w 52"/>
                      <a:gd name="T31" fmla="*/ 0 h 139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52"/>
                      <a:gd name="T49" fmla="*/ 0 h 139"/>
                      <a:gd name="T50" fmla="*/ 52 w 52"/>
                      <a:gd name="T51" fmla="*/ 139 h 139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52" h="139">
                        <a:moveTo>
                          <a:pt x="26" y="0"/>
                        </a:moveTo>
                        <a:lnTo>
                          <a:pt x="18" y="8"/>
                        </a:lnTo>
                        <a:lnTo>
                          <a:pt x="18" y="26"/>
                        </a:lnTo>
                        <a:lnTo>
                          <a:pt x="0" y="43"/>
                        </a:lnTo>
                        <a:lnTo>
                          <a:pt x="0" y="87"/>
                        </a:lnTo>
                        <a:lnTo>
                          <a:pt x="26" y="104"/>
                        </a:lnTo>
                        <a:lnTo>
                          <a:pt x="18" y="122"/>
                        </a:lnTo>
                        <a:lnTo>
                          <a:pt x="18" y="130"/>
                        </a:lnTo>
                        <a:lnTo>
                          <a:pt x="35" y="139"/>
                        </a:lnTo>
                        <a:lnTo>
                          <a:pt x="35" y="122"/>
                        </a:lnTo>
                        <a:lnTo>
                          <a:pt x="44" y="122"/>
                        </a:lnTo>
                        <a:lnTo>
                          <a:pt x="52" y="113"/>
                        </a:lnTo>
                        <a:lnTo>
                          <a:pt x="44" y="78"/>
                        </a:lnTo>
                        <a:lnTo>
                          <a:pt x="26" y="61"/>
                        </a:lnTo>
                        <a:lnTo>
                          <a:pt x="35" y="34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5" name="Freeform 553"/>
                  <p:cNvSpPr>
                    <a:spLocks/>
                  </p:cNvSpPr>
                  <p:nvPr/>
                </p:nvSpPr>
                <p:spPr bwMode="auto">
                  <a:xfrm>
                    <a:off x="4943476" y="4146550"/>
                    <a:ext cx="319088" cy="276225"/>
                  </a:xfrm>
                  <a:custGeom>
                    <a:avLst/>
                    <a:gdLst>
                      <a:gd name="T0" fmla="*/ 2147483647 w 201"/>
                      <a:gd name="T1" fmla="*/ 2147483647 h 174"/>
                      <a:gd name="T2" fmla="*/ 2147483647 w 201"/>
                      <a:gd name="T3" fmla="*/ 0 h 174"/>
                      <a:gd name="T4" fmla="*/ 2147483647 w 201"/>
                      <a:gd name="T5" fmla="*/ 0 h 174"/>
                      <a:gd name="T6" fmla="*/ 2147483647 w 201"/>
                      <a:gd name="T7" fmla="*/ 2147483647 h 174"/>
                      <a:gd name="T8" fmla="*/ 2147483647 w 201"/>
                      <a:gd name="T9" fmla="*/ 2147483647 h 174"/>
                      <a:gd name="T10" fmla="*/ 2147483647 w 201"/>
                      <a:gd name="T11" fmla="*/ 2147483647 h 174"/>
                      <a:gd name="T12" fmla="*/ 2147483647 w 201"/>
                      <a:gd name="T13" fmla="*/ 2147483647 h 174"/>
                      <a:gd name="T14" fmla="*/ 2147483647 w 201"/>
                      <a:gd name="T15" fmla="*/ 2147483647 h 174"/>
                      <a:gd name="T16" fmla="*/ 0 w 201"/>
                      <a:gd name="T17" fmla="*/ 2147483647 h 174"/>
                      <a:gd name="T18" fmla="*/ 0 w 201"/>
                      <a:gd name="T19" fmla="*/ 2147483647 h 174"/>
                      <a:gd name="T20" fmla="*/ 2147483647 w 201"/>
                      <a:gd name="T21" fmla="*/ 2147483647 h 174"/>
                      <a:gd name="T22" fmla="*/ 2147483647 w 201"/>
                      <a:gd name="T23" fmla="*/ 2147483647 h 174"/>
                      <a:gd name="T24" fmla="*/ 2147483647 w 201"/>
                      <a:gd name="T25" fmla="*/ 2147483647 h 174"/>
                      <a:gd name="T26" fmla="*/ 2147483647 w 201"/>
                      <a:gd name="T27" fmla="*/ 2147483647 h 174"/>
                      <a:gd name="T28" fmla="*/ 2147483647 w 201"/>
                      <a:gd name="T29" fmla="*/ 2147483647 h 174"/>
                      <a:gd name="T30" fmla="*/ 2147483647 w 201"/>
                      <a:gd name="T31" fmla="*/ 2147483647 h 174"/>
                      <a:gd name="T32" fmla="*/ 2147483647 w 201"/>
                      <a:gd name="T33" fmla="*/ 2147483647 h 174"/>
                      <a:gd name="T34" fmla="*/ 2147483647 w 201"/>
                      <a:gd name="T35" fmla="*/ 2147483647 h 174"/>
                      <a:gd name="T36" fmla="*/ 2147483647 w 201"/>
                      <a:gd name="T37" fmla="*/ 2147483647 h 174"/>
                      <a:gd name="T38" fmla="*/ 2147483647 w 201"/>
                      <a:gd name="T39" fmla="*/ 2147483647 h 174"/>
                      <a:gd name="T40" fmla="*/ 2147483647 w 201"/>
                      <a:gd name="T41" fmla="*/ 2147483647 h 174"/>
                      <a:gd name="T42" fmla="*/ 2147483647 w 201"/>
                      <a:gd name="T43" fmla="*/ 2147483647 h 174"/>
                      <a:gd name="T44" fmla="*/ 2147483647 w 201"/>
                      <a:gd name="T45" fmla="*/ 2147483647 h 174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01"/>
                      <a:gd name="T70" fmla="*/ 0 h 174"/>
                      <a:gd name="T71" fmla="*/ 201 w 201"/>
                      <a:gd name="T72" fmla="*/ 174 h 174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01" h="174">
                        <a:moveTo>
                          <a:pt x="183" y="18"/>
                        </a:moveTo>
                        <a:lnTo>
                          <a:pt x="148" y="0"/>
                        </a:lnTo>
                        <a:lnTo>
                          <a:pt x="122" y="0"/>
                        </a:lnTo>
                        <a:lnTo>
                          <a:pt x="96" y="61"/>
                        </a:lnTo>
                        <a:lnTo>
                          <a:pt x="70" y="70"/>
                        </a:lnTo>
                        <a:lnTo>
                          <a:pt x="52" y="52"/>
                        </a:lnTo>
                        <a:lnTo>
                          <a:pt x="35" y="52"/>
                        </a:lnTo>
                        <a:lnTo>
                          <a:pt x="26" y="79"/>
                        </a:lnTo>
                        <a:lnTo>
                          <a:pt x="0" y="87"/>
                        </a:lnTo>
                        <a:lnTo>
                          <a:pt x="0" y="148"/>
                        </a:lnTo>
                        <a:lnTo>
                          <a:pt x="17" y="166"/>
                        </a:lnTo>
                        <a:lnTo>
                          <a:pt x="52" y="166"/>
                        </a:lnTo>
                        <a:lnTo>
                          <a:pt x="52" y="174"/>
                        </a:lnTo>
                        <a:lnTo>
                          <a:pt x="78" y="174"/>
                        </a:lnTo>
                        <a:lnTo>
                          <a:pt x="87" y="157"/>
                        </a:lnTo>
                        <a:lnTo>
                          <a:pt x="122" y="140"/>
                        </a:lnTo>
                        <a:lnTo>
                          <a:pt x="140" y="131"/>
                        </a:lnTo>
                        <a:lnTo>
                          <a:pt x="131" y="113"/>
                        </a:lnTo>
                        <a:lnTo>
                          <a:pt x="183" y="105"/>
                        </a:lnTo>
                        <a:lnTo>
                          <a:pt x="183" y="61"/>
                        </a:lnTo>
                        <a:lnTo>
                          <a:pt x="201" y="44"/>
                        </a:lnTo>
                        <a:lnTo>
                          <a:pt x="201" y="26"/>
                        </a:lnTo>
                        <a:lnTo>
                          <a:pt x="183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6" name="Freeform 554"/>
                  <p:cNvSpPr>
                    <a:spLocks/>
                  </p:cNvSpPr>
                  <p:nvPr/>
                </p:nvSpPr>
                <p:spPr bwMode="auto">
                  <a:xfrm>
                    <a:off x="4943476" y="4146550"/>
                    <a:ext cx="319088" cy="276225"/>
                  </a:xfrm>
                  <a:custGeom>
                    <a:avLst/>
                    <a:gdLst>
                      <a:gd name="T0" fmla="*/ 2147483647 w 201"/>
                      <a:gd name="T1" fmla="*/ 2147483647 h 174"/>
                      <a:gd name="T2" fmla="*/ 2147483647 w 201"/>
                      <a:gd name="T3" fmla="*/ 0 h 174"/>
                      <a:gd name="T4" fmla="*/ 2147483647 w 201"/>
                      <a:gd name="T5" fmla="*/ 0 h 174"/>
                      <a:gd name="T6" fmla="*/ 2147483647 w 201"/>
                      <a:gd name="T7" fmla="*/ 2147483647 h 174"/>
                      <a:gd name="T8" fmla="*/ 2147483647 w 201"/>
                      <a:gd name="T9" fmla="*/ 2147483647 h 174"/>
                      <a:gd name="T10" fmla="*/ 2147483647 w 201"/>
                      <a:gd name="T11" fmla="*/ 2147483647 h 174"/>
                      <a:gd name="T12" fmla="*/ 2147483647 w 201"/>
                      <a:gd name="T13" fmla="*/ 2147483647 h 174"/>
                      <a:gd name="T14" fmla="*/ 2147483647 w 201"/>
                      <a:gd name="T15" fmla="*/ 2147483647 h 174"/>
                      <a:gd name="T16" fmla="*/ 0 w 201"/>
                      <a:gd name="T17" fmla="*/ 2147483647 h 174"/>
                      <a:gd name="T18" fmla="*/ 0 w 201"/>
                      <a:gd name="T19" fmla="*/ 2147483647 h 174"/>
                      <a:gd name="T20" fmla="*/ 2147483647 w 201"/>
                      <a:gd name="T21" fmla="*/ 2147483647 h 174"/>
                      <a:gd name="T22" fmla="*/ 2147483647 w 201"/>
                      <a:gd name="T23" fmla="*/ 2147483647 h 174"/>
                      <a:gd name="T24" fmla="*/ 2147483647 w 201"/>
                      <a:gd name="T25" fmla="*/ 2147483647 h 174"/>
                      <a:gd name="T26" fmla="*/ 2147483647 w 201"/>
                      <a:gd name="T27" fmla="*/ 2147483647 h 174"/>
                      <a:gd name="T28" fmla="*/ 2147483647 w 201"/>
                      <a:gd name="T29" fmla="*/ 2147483647 h 174"/>
                      <a:gd name="T30" fmla="*/ 2147483647 w 201"/>
                      <a:gd name="T31" fmla="*/ 2147483647 h 174"/>
                      <a:gd name="T32" fmla="*/ 2147483647 w 201"/>
                      <a:gd name="T33" fmla="*/ 2147483647 h 174"/>
                      <a:gd name="T34" fmla="*/ 2147483647 w 201"/>
                      <a:gd name="T35" fmla="*/ 2147483647 h 174"/>
                      <a:gd name="T36" fmla="*/ 2147483647 w 201"/>
                      <a:gd name="T37" fmla="*/ 2147483647 h 174"/>
                      <a:gd name="T38" fmla="*/ 2147483647 w 201"/>
                      <a:gd name="T39" fmla="*/ 2147483647 h 174"/>
                      <a:gd name="T40" fmla="*/ 2147483647 w 201"/>
                      <a:gd name="T41" fmla="*/ 2147483647 h 174"/>
                      <a:gd name="T42" fmla="*/ 2147483647 w 201"/>
                      <a:gd name="T43" fmla="*/ 2147483647 h 174"/>
                      <a:gd name="T44" fmla="*/ 2147483647 w 201"/>
                      <a:gd name="T45" fmla="*/ 2147483647 h 174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01"/>
                      <a:gd name="T70" fmla="*/ 0 h 174"/>
                      <a:gd name="T71" fmla="*/ 201 w 201"/>
                      <a:gd name="T72" fmla="*/ 174 h 174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01" h="174">
                        <a:moveTo>
                          <a:pt x="183" y="18"/>
                        </a:moveTo>
                        <a:lnTo>
                          <a:pt x="148" y="0"/>
                        </a:lnTo>
                        <a:lnTo>
                          <a:pt x="122" y="0"/>
                        </a:lnTo>
                        <a:lnTo>
                          <a:pt x="96" y="61"/>
                        </a:lnTo>
                        <a:lnTo>
                          <a:pt x="70" y="70"/>
                        </a:lnTo>
                        <a:lnTo>
                          <a:pt x="52" y="52"/>
                        </a:lnTo>
                        <a:lnTo>
                          <a:pt x="35" y="52"/>
                        </a:lnTo>
                        <a:lnTo>
                          <a:pt x="26" y="79"/>
                        </a:lnTo>
                        <a:lnTo>
                          <a:pt x="0" y="87"/>
                        </a:lnTo>
                        <a:lnTo>
                          <a:pt x="0" y="148"/>
                        </a:lnTo>
                        <a:lnTo>
                          <a:pt x="17" y="166"/>
                        </a:lnTo>
                        <a:lnTo>
                          <a:pt x="52" y="166"/>
                        </a:lnTo>
                        <a:lnTo>
                          <a:pt x="52" y="174"/>
                        </a:lnTo>
                        <a:lnTo>
                          <a:pt x="78" y="174"/>
                        </a:lnTo>
                        <a:lnTo>
                          <a:pt x="87" y="157"/>
                        </a:lnTo>
                        <a:lnTo>
                          <a:pt x="122" y="140"/>
                        </a:lnTo>
                        <a:lnTo>
                          <a:pt x="140" y="131"/>
                        </a:lnTo>
                        <a:lnTo>
                          <a:pt x="131" y="113"/>
                        </a:lnTo>
                        <a:lnTo>
                          <a:pt x="183" y="105"/>
                        </a:lnTo>
                        <a:lnTo>
                          <a:pt x="183" y="61"/>
                        </a:lnTo>
                        <a:lnTo>
                          <a:pt x="201" y="44"/>
                        </a:lnTo>
                        <a:lnTo>
                          <a:pt x="201" y="26"/>
                        </a:lnTo>
                        <a:lnTo>
                          <a:pt x="183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7" name="Freeform 555"/>
                  <p:cNvSpPr>
                    <a:spLocks/>
                  </p:cNvSpPr>
                  <p:nvPr/>
                </p:nvSpPr>
                <p:spPr bwMode="auto">
                  <a:xfrm>
                    <a:off x="4652964" y="4078288"/>
                    <a:ext cx="346075" cy="344488"/>
                  </a:xfrm>
                  <a:custGeom>
                    <a:avLst/>
                    <a:gdLst>
                      <a:gd name="T0" fmla="*/ 2147483647 w 218"/>
                      <a:gd name="T1" fmla="*/ 2147483647 h 217"/>
                      <a:gd name="T2" fmla="*/ 2147483647 w 218"/>
                      <a:gd name="T3" fmla="*/ 0 h 217"/>
                      <a:gd name="T4" fmla="*/ 2147483647 w 218"/>
                      <a:gd name="T5" fmla="*/ 0 h 217"/>
                      <a:gd name="T6" fmla="*/ 2147483647 w 218"/>
                      <a:gd name="T7" fmla="*/ 2147483647 h 217"/>
                      <a:gd name="T8" fmla="*/ 2147483647 w 218"/>
                      <a:gd name="T9" fmla="*/ 2147483647 h 217"/>
                      <a:gd name="T10" fmla="*/ 2147483647 w 218"/>
                      <a:gd name="T11" fmla="*/ 2147483647 h 217"/>
                      <a:gd name="T12" fmla="*/ 2147483647 w 218"/>
                      <a:gd name="T13" fmla="*/ 2147483647 h 217"/>
                      <a:gd name="T14" fmla="*/ 2147483647 w 218"/>
                      <a:gd name="T15" fmla="*/ 2147483647 h 217"/>
                      <a:gd name="T16" fmla="*/ 2147483647 w 218"/>
                      <a:gd name="T17" fmla="*/ 2147483647 h 217"/>
                      <a:gd name="T18" fmla="*/ 0 w 218"/>
                      <a:gd name="T19" fmla="*/ 2147483647 h 217"/>
                      <a:gd name="T20" fmla="*/ 2147483647 w 218"/>
                      <a:gd name="T21" fmla="*/ 2147483647 h 217"/>
                      <a:gd name="T22" fmla="*/ 2147483647 w 218"/>
                      <a:gd name="T23" fmla="*/ 2147483647 h 217"/>
                      <a:gd name="T24" fmla="*/ 2147483647 w 218"/>
                      <a:gd name="T25" fmla="*/ 2147483647 h 217"/>
                      <a:gd name="T26" fmla="*/ 2147483647 w 218"/>
                      <a:gd name="T27" fmla="*/ 2147483647 h 217"/>
                      <a:gd name="T28" fmla="*/ 2147483647 w 218"/>
                      <a:gd name="T29" fmla="*/ 2147483647 h 217"/>
                      <a:gd name="T30" fmla="*/ 2147483647 w 218"/>
                      <a:gd name="T31" fmla="*/ 2147483647 h 217"/>
                      <a:gd name="T32" fmla="*/ 2147483647 w 218"/>
                      <a:gd name="T33" fmla="*/ 2147483647 h 217"/>
                      <a:gd name="T34" fmla="*/ 2147483647 w 218"/>
                      <a:gd name="T35" fmla="*/ 2147483647 h 217"/>
                      <a:gd name="T36" fmla="*/ 2147483647 w 218"/>
                      <a:gd name="T37" fmla="*/ 2147483647 h 217"/>
                      <a:gd name="T38" fmla="*/ 2147483647 w 218"/>
                      <a:gd name="T39" fmla="*/ 2147483647 h 217"/>
                      <a:gd name="T40" fmla="*/ 2147483647 w 218"/>
                      <a:gd name="T41" fmla="*/ 2147483647 h 217"/>
                      <a:gd name="T42" fmla="*/ 2147483647 w 218"/>
                      <a:gd name="T43" fmla="*/ 2147483647 h 217"/>
                      <a:gd name="T44" fmla="*/ 2147483647 w 218"/>
                      <a:gd name="T45" fmla="*/ 2147483647 h 217"/>
                      <a:gd name="T46" fmla="*/ 2147483647 w 218"/>
                      <a:gd name="T47" fmla="*/ 2147483647 h 217"/>
                      <a:gd name="T48" fmla="*/ 2147483647 w 218"/>
                      <a:gd name="T49" fmla="*/ 2147483647 h 217"/>
                      <a:gd name="T50" fmla="*/ 2147483647 w 218"/>
                      <a:gd name="T51" fmla="*/ 2147483647 h 217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218"/>
                      <a:gd name="T79" fmla="*/ 0 h 217"/>
                      <a:gd name="T80" fmla="*/ 218 w 218"/>
                      <a:gd name="T81" fmla="*/ 217 h 217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218" h="217">
                        <a:moveTo>
                          <a:pt x="105" y="34"/>
                        </a:moveTo>
                        <a:lnTo>
                          <a:pt x="96" y="0"/>
                        </a:lnTo>
                        <a:lnTo>
                          <a:pt x="17" y="0"/>
                        </a:lnTo>
                        <a:lnTo>
                          <a:pt x="35" y="43"/>
                        </a:lnTo>
                        <a:lnTo>
                          <a:pt x="26" y="61"/>
                        </a:lnTo>
                        <a:lnTo>
                          <a:pt x="44" y="95"/>
                        </a:lnTo>
                        <a:lnTo>
                          <a:pt x="35" y="113"/>
                        </a:lnTo>
                        <a:lnTo>
                          <a:pt x="9" y="139"/>
                        </a:lnTo>
                        <a:lnTo>
                          <a:pt x="9" y="174"/>
                        </a:lnTo>
                        <a:lnTo>
                          <a:pt x="0" y="209"/>
                        </a:lnTo>
                        <a:lnTo>
                          <a:pt x="17" y="209"/>
                        </a:lnTo>
                        <a:lnTo>
                          <a:pt x="44" y="200"/>
                        </a:lnTo>
                        <a:lnTo>
                          <a:pt x="78" y="209"/>
                        </a:lnTo>
                        <a:lnTo>
                          <a:pt x="122" y="209"/>
                        </a:lnTo>
                        <a:lnTo>
                          <a:pt x="122" y="217"/>
                        </a:lnTo>
                        <a:lnTo>
                          <a:pt x="166" y="217"/>
                        </a:lnTo>
                        <a:lnTo>
                          <a:pt x="200" y="209"/>
                        </a:lnTo>
                        <a:lnTo>
                          <a:pt x="183" y="191"/>
                        </a:lnTo>
                        <a:lnTo>
                          <a:pt x="183" y="130"/>
                        </a:lnTo>
                        <a:lnTo>
                          <a:pt x="218" y="122"/>
                        </a:lnTo>
                        <a:lnTo>
                          <a:pt x="218" y="95"/>
                        </a:lnTo>
                        <a:lnTo>
                          <a:pt x="183" y="69"/>
                        </a:lnTo>
                        <a:lnTo>
                          <a:pt x="183" y="17"/>
                        </a:lnTo>
                        <a:lnTo>
                          <a:pt x="139" y="17"/>
                        </a:lnTo>
                        <a:lnTo>
                          <a:pt x="131" y="34"/>
                        </a:lnTo>
                        <a:lnTo>
                          <a:pt x="105" y="3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8" name="Freeform 556"/>
                  <p:cNvSpPr>
                    <a:spLocks/>
                  </p:cNvSpPr>
                  <p:nvPr/>
                </p:nvSpPr>
                <p:spPr bwMode="auto">
                  <a:xfrm>
                    <a:off x="4652964" y="4078288"/>
                    <a:ext cx="346075" cy="344488"/>
                  </a:xfrm>
                  <a:custGeom>
                    <a:avLst/>
                    <a:gdLst>
                      <a:gd name="T0" fmla="*/ 2147483647 w 218"/>
                      <a:gd name="T1" fmla="*/ 2147483647 h 217"/>
                      <a:gd name="T2" fmla="*/ 2147483647 w 218"/>
                      <a:gd name="T3" fmla="*/ 0 h 217"/>
                      <a:gd name="T4" fmla="*/ 2147483647 w 218"/>
                      <a:gd name="T5" fmla="*/ 0 h 217"/>
                      <a:gd name="T6" fmla="*/ 2147483647 w 218"/>
                      <a:gd name="T7" fmla="*/ 2147483647 h 217"/>
                      <a:gd name="T8" fmla="*/ 2147483647 w 218"/>
                      <a:gd name="T9" fmla="*/ 2147483647 h 217"/>
                      <a:gd name="T10" fmla="*/ 2147483647 w 218"/>
                      <a:gd name="T11" fmla="*/ 2147483647 h 217"/>
                      <a:gd name="T12" fmla="*/ 2147483647 w 218"/>
                      <a:gd name="T13" fmla="*/ 2147483647 h 217"/>
                      <a:gd name="T14" fmla="*/ 2147483647 w 218"/>
                      <a:gd name="T15" fmla="*/ 2147483647 h 217"/>
                      <a:gd name="T16" fmla="*/ 2147483647 w 218"/>
                      <a:gd name="T17" fmla="*/ 2147483647 h 217"/>
                      <a:gd name="T18" fmla="*/ 0 w 218"/>
                      <a:gd name="T19" fmla="*/ 2147483647 h 217"/>
                      <a:gd name="T20" fmla="*/ 2147483647 w 218"/>
                      <a:gd name="T21" fmla="*/ 2147483647 h 217"/>
                      <a:gd name="T22" fmla="*/ 2147483647 w 218"/>
                      <a:gd name="T23" fmla="*/ 2147483647 h 217"/>
                      <a:gd name="T24" fmla="*/ 2147483647 w 218"/>
                      <a:gd name="T25" fmla="*/ 2147483647 h 217"/>
                      <a:gd name="T26" fmla="*/ 2147483647 w 218"/>
                      <a:gd name="T27" fmla="*/ 2147483647 h 217"/>
                      <a:gd name="T28" fmla="*/ 2147483647 w 218"/>
                      <a:gd name="T29" fmla="*/ 2147483647 h 217"/>
                      <a:gd name="T30" fmla="*/ 2147483647 w 218"/>
                      <a:gd name="T31" fmla="*/ 2147483647 h 217"/>
                      <a:gd name="T32" fmla="*/ 2147483647 w 218"/>
                      <a:gd name="T33" fmla="*/ 2147483647 h 217"/>
                      <a:gd name="T34" fmla="*/ 2147483647 w 218"/>
                      <a:gd name="T35" fmla="*/ 2147483647 h 217"/>
                      <a:gd name="T36" fmla="*/ 2147483647 w 218"/>
                      <a:gd name="T37" fmla="*/ 2147483647 h 217"/>
                      <a:gd name="T38" fmla="*/ 2147483647 w 218"/>
                      <a:gd name="T39" fmla="*/ 2147483647 h 217"/>
                      <a:gd name="T40" fmla="*/ 2147483647 w 218"/>
                      <a:gd name="T41" fmla="*/ 2147483647 h 217"/>
                      <a:gd name="T42" fmla="*/ 2147483647 w 218"/>
                      <a:gd name="T43" fmla="*/ 2147483647 h 217"/>
                      <a:gd name="T44" fmla="*/ 2147483647 w 218"/>
                      <a:gd name="T45" fmla="*/ 2147483647 h 217"/>
                      <a:gd name="T46" fmla="*/ 2147483647 w 218"/>
                      <a:gd name="T47" fmla="*/ 2147483647 h 217"/>
                      <a:gd name="T48" fmla="*/ 2147483647 w 218"/>
                      <a:gd name="T49" fmla="*/ 2147483647 h 217"/>
                      <a:gd name="T50" fmla="*/ 2147483647 w 218"/>
                      <a:gd name="T51" fmla="*/ 2147483647 h 217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218"/>
                      <a:gd name="T79" fmla="*/ 0 h 217"/>
                      <a:gd name="T80" fmla="*/ 218 w 218"/>
                      <a:gd name="T81" fmla="*/ 217 h 217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218" h="217">
                        <a:moveTo>
                          <a:pt x="105" y="34"/>
                        </a:moveTo>
                        <a:lnTo>
                          <a:pt x="96" y="0"/>
                        </a:lnTo>
                        <a:lnTo>
                          <a:pt x="17" y="0"/>
                        </a:lnTo>
                        <a:lnTo>
                          <a:pt x="35" y="43"/>
                        </a:lnTo>
                        <a:lnTo>
                          <a:pt x="26" y="61"/>
                        </a:lnTo>
                        <a:lnTo>
                          <a:pt x="44" y="95"/>
                        </a:lnTo>
                        <a:lnTo>
                          <a:pt x="35" y="113"/>
                        </a:lnTo>
                        <a:lnTo>
                          <a:pt x="9" y="139"/>
                        </a:lnTo>
                        <a:lnTo>
                          <a:pt x="9" y="174"/>
                        </a:lnTo>
                        <a:lnTo>
                          <a:pt x="0" y="209"/>
                        </a:lnTo>
                        <a:lnTo>
                          <a:pt x="17" y="209"/>
                        </a:lnTo>
                        <a:lnTo>
                          <a:pt x="44" y="200"/>
                        </a:lnTo>
                        <a:lnTo>
                          <a:pt x="78" y="209"/>
                        </a:lnTo>
                        <a:lnTo>
                          <a:pt x="122" y="209"/>
                        </a:lnTo>
                        <a:lnTo>
                          <a:pt x="122" y="217"/>
                        </a:lnTo>
                        <a:lnTo>
                          <a:pt x="166" y="217"/>
                        </a:lnTo>
                        <a:lnTo>
                          <a:pt x="200" y="209"/>
                        </a:lnTo>
                        <a:lnTo>
                          <a:pt x="183" y="191"/>
                        </a:lnTo>
                        <a:lnTo>
                          <a:pt x="183" y="130"/>
                        </a:lnTo>
                        <a:lnTo>
                          <a:pt x="218" y="122"/>
                        </a:lnTo>
                        <a:lnTo>
                          <a:pt x="218" y="95"/>
                        </a:lnTo>
                        <a:lnTo>
                          <a:pt x="183" y="69"/>
                        </a:lnTo>
                        <a:lnTo>
                          <a:pt x="183" y="17"/>
                        </a:lnTo>
                        <a:lnTo>
                          <a:pt x="139" y="17"/>
                        </a:lnTo>
                        <a:lnTo>
                          <a:pt x="131" y="34"/>
                        </a:lnTo>
                        <a:lnTo>
                          <a:pt x="105" y="3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9" name="Freeform 557"/>
                  <p:cNvSpPr>
                    <a:spLocks/>
                  </p:cNvSpPr>
                  <p:nvPr/>
                </p:nvSpPr>
                <p:spPr bwMode="auto">
                  <a:xfrm>
                    <a:off x="5137151" y="3925888"/>
                    <a:ext cx="290513" cy="317500"/>
                  </a:xfrm>
                  <a:custGeom>
                    <a:avLst/>
                    <a:gdLst>
                      <a:gd name="T0" fmla="*/ 2147483647 w 183"/>
                      <a:gd name="T1" fmla="*/ 2147483647 h 200"/>
                      <a:gd name="T2" fmla="*/ 2147483647 w 183"/>
                      <a:gd name="T3" fmla="*/ 2147483647 h 200"/>
                      <a:gd name="T4" fmla="*/ 2147483647 w 183"/>
                      <a:gd name="T5" fmla="*/ 0 h 200"/>
                      <a:gd name="T6" fmla="*/ 2147483647 w 183"/>
                      <a:gd name="T7" fmla="*/ 2147483647 h 200"/>
                      <a:gd name="T8" fmla="*/ 2147483647 w 183"/>
                      <a:gd name="T9" fmla="*/ 2147483647 h 200"/>
                      <a:gd name="T10" fmla="*/ 2147483647 w 183"/>
                      <a:gd name="T11" fmla="*/ 2147483647 h 200"/>
                      <a:gd name="T12" fmla="*/ 2147483647 w 183"/>
                      <a:gd name="T13" fmla="*/ 0 h 200"/>
                      <a:gd name="T14" fmla="*/ 2147483647 w 183"/>
                      <a:gd name="T15" fmla="*/ 0 h 200"/>
                      <a:gd name="T16" fmla="*/ 2147483647 w 183"/>
                      <a:gd name="T17" fmla="*/ 2147483647 h 200"/>
                      <a:gd name="T18" fmla="*/ 2147483647 w 183"/>
                      <a:gd name="T19" fmla="*/ 2147483647 h 200"/>
                      <a:gd name="T20" fmla="*/ 2147483647 w 183"/>
                      <a:gd name="T21" fmla="*/ 2147483647 h 200"/>
                      <a:gd name="T22" fmla="*/ 0 w 183"/>
                      <a:gd name="T23" fmla="*/ 2147483647 h 200"/>
                      <a:gd name="T24" fmla="*/ 2147483647 w 183"/>
                      <a:gd name="T25" fmla="*/ 2147483647 h 200"/>
                      <a:gd name="T26" fmla="*/ 2147483647 w 183"/>
                      <a:gd name="T27" fmla="*/ 2147483647 h 200"/>
                      <a:gd name="T28" fmla="*/ 2147483647 w 183"/>
                      <a:gd name="T29" fmla="*/ 2147483647 h 200"/>
                      <a:gd name="T30" fmla="*/ 2147483647 w 183"/>
                      <a:gd name="T31" fmla="*/ 2147483647 h 200"/>
                      <a:gd name="T32" fmla="*/ 2147483647 w 183"/>
                      <a:gd name="T33" fmla="*/ 2147483647 h 200"/>
                      <a:gd name="T34" fmla="*/ 2147483647 w 183"/>
                      <a:gd name="T35" fmla="*/ 2147483647 h 200"/>
                      <a:gd name="T36" fmla="*/ 2147483647 w 183"/>
                      <a:gd name="T37" fmla="*/ 2147483647 h 200"/>
                      <a:gd name="T38" fmla="*/ 2147483647 w 183"/>
                      <a:gd name="T39" fmla="*/ 2147483647 h 200"/>
                      <a:gd name="T40" fmla="*/ 2147483647 w 183"/>
                      <a:gd name="T41" fmla="*/ 2147483647 h 200"/>
                      <a:gd name="T42" fmla="*/ 2147483647 w 183"/>
                      <a:gd name="T43" fmla="*/ 2147483647 h 200"/>
                      <a:gd name="T44" fmla="*/ 2147483647 w 183"/>
                      <a:gd name="T45" fmla="*/ 2147483647 h 200"/>
                      <a:gd name="T46" fmla="*/ 2147483647 w 183"/>
                      <a:gd name="T47" fmla="*/ 2147483647 h 200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183"/>
                      <a:gd name="T73" fmla="*/ 0 h 200"/>
                      <a:gd name="T74" fmla="*/ 183 w 183"/>
                      <a:gd name="T75" fmla="*/ 200 h 200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183" h="200">
                        <a:moveTo>
                          <a:pt x="174" y="61"/>
                        </a:moveTo>
                        <a:lnTo>
                          <a:pt x="140" y="35"/>
                        </a:lnTo>
                        <a:lnTo>
                          <a:pt x="87" y="0"/>
                        </a:lnTo>
                        <a:lnTo>
                          <a:pt x="79" y="8"/>
                        </a:lnTo>
                        <a:lnTo>
                          <a:pt x="7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lnTo>
                          <a:pt x="26" y="0"/>
                        </a:lnTo>
                        <a:lnTo>
                          <a:pt x="26" y="26"/>
                        </a:lnTo>
                        <a:lnTo>
                          <a:pt x="26" y="52"/>
                        </a:lnTo>
                        <a:lnTo>
                          <a:pt x="9" y="69"/>
                        </a:lnTo>
                        <a:lnTo>
                          <a:pt x="0" y="96"/>
                        </a:lnTo>
                        <a:lnTo>
                          <a:pt x="26" y="130"/>
                        </a:lnTo>
                        <a:lnTo>
                          <a:pt x="26" y="139"/>
                        </a:lnTo>
                        <a:lnTo>
                          <a:pt x="61" y="157"/>
                        </a:lnTo>
                        <a:lnTo>
                          <a:pt x="79" y="165"/>
                        </a:lnTo>
                        <a:lnTo>
                          <a:pt x="87" y="157"/>
                        </a:lnTo>
                        <a:lnTo>
                          <a:pt x="96" y="191"/>
                        </a:lnTo>
                        <a:lnTo>
                          <a:pt x="140" y="200"/>
                        </a:lnTo>
                        <a:lnTo>
                          <a:pt x="183" y="174"/>
                        </a:lnTo>
                        <a:lnTo>
                          <a:pt x="166" y="157"/>
                        </a:lnTo>
                        <a:lnTo>
                          <a:pt x="166" y="96"/>
                        </a:lnTo>
                        <a:lnTo>
                          <a:pt x="157" y="87"/>
                        </a:lnTo>
                        <a:lnTo>
                          <a:pt x="174" y="6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0" name="Freeform 558"/>
                  <p:cNvSpPr>
                    <a:spLocks/>
                  </p:cNvSpPr>
                  <p:nvPr/>
                </p:nvSpPr>
                <p:spPr bwMode="auto">
                  <a:xfrm>
                    <a:off x="5137151" y="3925888"/>
                    <a:ext cx="290513" cy="317500"/>
                  </a:xfrm>
                  <a:custGeom>
                    <a:avLst/>
                    <a:gdLst>
                      <a:gd name="T0" fmla="*/ 2147483647 w 183"/>
                      <a:gd name="T1" fmla="*/ 2147483647 h 200"/>
                      <a:gd name="T2" fmla="*/ 2147483647 w 183"/>
                      <a:gd name="T3" fmla="*/ 2147483647 h 200"/>
                      <a:gd name="T4" fmla="*/ 2147483647 w 183"/>
                      <a:gd name="T5" fmla="*/ 0 h 200"/>
                      <a:gd name="T6" fmla="*/ 2147483647 w 183"/>
                      <a:gd name="T7" fmla="*/ 2147483647 h 200"/>
                      <a:gd name="T8" fmla="*/ 2147483647 w 183"/>
                      <a:gd name="T9" fmla="*/ 2147483647 h 200"/>
                      <a:gd name="T10" fmla="*/ 2147483647 w 183"/>
                      <a:gd name="T11" fmla="*/ 2147483647 h 200"/>
                      <a:gd name="T12" fmla="*/ 2147483647 w 183"/>
                      <a:gd name="T13" fmla="*/ 0 h 200"/>
                      <a:gd name="T14" fmla="*/ 2147483647 w 183"/>
                      <a:gd name="T15" fmla="*/ 0 h 200"/>
                      <a:gd name="T16" fmla="*/ 2147483647 w 183"/>
                      <a:gd name="T17" fmla="*/ 2147483647 h 200"/>
                      <a:gd name="T18" fmla="*/ 2147483647 w 183"/>
                      <a:gd name="T19" fmla="*/ 2147483647 h 200"/>
                      <a:gd name="T20" fmla="*/ 2147483647 w 183"/>
                      <a:gd name="T21" fmla="*/ 2147483647 h 200"/>
                      <a:gd name="T22" fmla="*/ 0 w 183"/>
                      <a:gd name="T23" fmla="*/ 2147483647 h 200"/>
                      <a:gd name="T24" fmla="*/ 2147483647 w 183"/>
                      <a:gd name="T25" fmla="*/ 2147483647 h 200"/>
                      <a:gd name="T26" fmla="*/ 2147483647 w 183"/>
                      <a:gd name="T27" fmla="*/ 2147483647 h 200"/>
                      <a:gd name="T28" fmla="*/ 2147483647 w 183"/>
                      <a:gd name="T29" fmla="*/ 2147483647 h 200"/>
                      <a:gd name="T30" fmla="*/ 2147483647 w 183"/>
                      <a:gd name="T31" fmla="*/ 2147483647 h 200"/>
                      <a:gd name="T32" fmla="*/ 2147483647 w 183"/>
                      <a:gd name="T33" fmla="*/ 2147483647 h 200"/>
                      <a:gd name="T34" fmla="*/ 2147483647 w 183"/>
                      <a:gd name="T35" fmla="*/ 2147483647 h 200"/>
                      <a:gd name="T36" fmla="*/ 2147483647 w 183"/>
                      <a:gd name="T37" fmla="*/ 2147483647 h 200"/>
                      <a:gd name="T38" fmla="*/ 2147483647 w 183"/>
                      <a:gd name="T39" fmla="*/ 2147483647 h 200"/>
                      <a:gd name="T40" fmla="*/ 2147483647 w 183"/>
                      <a:gd name="T41" fmla="*/ 2147483647 h 200"/>
                      <a:gd name="T42" fmla="*/ 2147483647 w 183"/>
                      <a:gd name="T43" fmla="*/ 2147483647 h 200"/>
                      <a:gd name="T44" fmla="*/ 2147483647 w 183"/>
                      <a:gd name="T45" fmla="*/ 2147483647 h 200"/>
                      <a:gd name="T46" fmla="*/ 2147483647 w 183"/>
                      <a:gd name="T47" fmla="*/ 2147483647 h 200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183"/>
                      <a:gd name="T73" fmla="*/ 0 h 200"/>
                      <a:gd name="T74" fmla="*/ 183 w 183"/>
                      <a:gd name="T75" fmla="*/ 200 h 200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183" h="200">
                        <a:moveTo>
                          <a:pt x="174" y="61"/>
                        </a:moveTo>
                        <a:lnTo>
                          <a:pt x="140" y="35"/>
                        </a:lnTo>
                        <a:lnTo>
                          <a:pt x="87" y="0"/>
                        </a:lnTo>
                        <a:lnTo>
                          <a:pt x="79" y="8"/>
                        </a:lnTo>
                        <a:lnTo>
                          <a:pt x="7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lnTo>
                          <a:pt x="26" y="0"/>
                        </a:lnTo>
                        <a:lnTo>
                          <a:pt x="26" y="26"/>
                        </a:lnTo>
                        <a:lnTo>
                          <a:pt x="26" y="52"/>
                        </a:lnTo>
                        <a:lnTo>
                          <a:pt x="9" y="69"/>
                        </a:lnTo>
                        <a:lnTo>
                          <a:pt x="0" y="96"/>
                        </a:lnTo>
                        <a:lnTo>
                          <a:pt x="26" y="130"/>
                        </a:lnTo>
                        <a:lnTo>
                          <a:pt x="26" y="139"/>
                        </a:lnTo>
                        <a:lnTo>
                          <a:pt x="61" y="157"/>
                        </a:lnTo>
                        <a:lnTo>
                          <a:pt x="79" y="165"/>
                        </a:lnTo>
                        <a:lnTo>
                          <a:pt x="87" y="157"/>
                        </a:lnTo>
                        <a:lnTo>
                          <a:pt x="96" y="191"/>
                        </a:lnTo>
                        <a:lnTo>
                          <a:pt x="140" y="200"/>
                        </a:lnTo>
                        <a:lnTo>
                          <a:pt x="183" y="174"/>
                        </a:lnTo>
                        <a:lnTo>
                          <a:pt x="166" y="157"/>
                        </a:lnTo>
                        <a:lnTo>
                          <a:pt x="166" y="96"/>
                        </a:lnTo>
                        <a:lnTo>
                          <a:pt x="157" y="87"/>
                        </a:lnTo>
                        <a:lnTo>
                          <a:pt x="174" y="61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1" name="Freeform 559"/>
                  <p:cNvSpPr>
                    <a:spLocks/>
                  </p:cNvSpPr>
                  <p:nvPr/>
                </p:nvSpPr>
                <p:spPr bwMode="auto">
                  <a:xfrm>
                    <a:off x="5275264" y="3773488"/>
                    <a:ext cx="207963" cy="249238"/>
                  </a:xfrm>
                  <a:custGeom>
                    <a:avLst/>
                    <a:gdLst>
                      <a:gd name="T0" fmla="*/ 2147483647 w 131"/>
                      <a:gd name="T1" fmla="*/ 2147483647 h 157"/>
                      <a:gd name="T2" fmla="*/ 2147483647 w 131"/>
                      <a:gd name="T3" fmla="*/ 2147483647 h 157"/>
                      <a:gd name="T4" fmla="*/ 2147483647 w 131"/>
                      <a:gd name="T5" fmla="*/ 0 h 157"/>
                      <a:gd name="T6" fmla="*/ 0 w 131"/>
                      <a:gd name="T7" fmla="*/ 0 h 157"/>
                      <a:gd name="T8" fmla="*/ 0 w 131"/>
                      <a:gd name="T9" fmla="*/ 2147483647 h 157"/>
                      <a:gd name="T10" fmla="*/ 2147483647 w 131"/>
                      <a:gd name="T11" fmla="*/ 2147483647 h 157"/>
                      <a:gd name="T12" fmla="*/ 0 w 131"/>
                      <a:gd name="T13" fmla="*/ 2147483647 h 157"/>
                      <a:gd name="T14" fmla="*/ 0 w 131"/>
                      <a:gd name="T15" fmla="*/ 2147483647 h 157"/>
                      <a:gd name="T16" fmla="*/ 2147483647 w 131"/>
                      <a:gd name="T17" fmla="*/ 2147483647 h 157"/>
                      <a:gd name="T18" fmla="*/ 2147483647 w 131"/>
                      <a:gd name="T19" fmla="*/ 2147483647 h 157"/>
                      <a:gd name="T20" fmla="*/ 2147483647 w 131"/>
                      <a:gd name="T21" fmla="*/ 2147483647 h 157"/>
                      <a:gd name="T22" fmla="*/ 2147483647 w 131"/>
                      <a:gd name="T23" fmla="*/ 2147483647 h 157"/>
                      <a:gd name="T24" fmla="*/ 2147483647 w 131"/>
                      <a:gd name="T25" fmla="*/ 2147483647 h 157"/>
                      <a:gd name="T26" fmla="*/ 2147483647 w 131"/>
                      <a:gd name="T27" fmla="*/ 2147483647 h 157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31"/>
                      <a:gd name="T43" fmla="*/ 0 h 157"/>
                      <a:gd name="T44" fmla="*/ 131 w 131"/>
                      <a:gd name="T45" fmla="*/ 157 h 157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31" h="157">
                        <a:moveTo>
                          <a:pt x="114" y="9"/>
                        </a:moveTo>
                        <a:lnTo>
                          <a:pt x="87" y="17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0" y="9"/>
                        </a:lnTo>
                        <a:lnTo>
                          <a:pt x="9" y="52"/>
                        </a:lnTo>
                        <a:lnTo>
                          <a:pt x="0" y="78"/>
                        </a:lnTo>
                        <a:lnTo>
                          <a:pt x="0" y="96"/>
                        </a:lnTo>
                        <a:lnTo>
                          <a:pt x="53" y="131"/>
                        </a:lnTo>
                        <a:lnTo>
                          <a:pt x="79" y="157"/>
                        </a:lnTo>
                        <a:lnTo>
                          <a:pt x="114" y="104"/>
                        </a:lnTo>
                        <a:lnTo>
                          <a:pt x="114" y="26"/>
                        </a:lnTo>
                        <a:lnTo>
                          <a:pt x="131" y="9"/>
                        </a:lnTo>
                        <a:lnTo>
                          <a:pt x="114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2" name="Freeform 560"/>
                  <p:cNvSpPr>
                    <a:spLocks/>
                  </p:cNvSpPr>
                  <p:nvPr/>
                </p:nvSpPr>
                <p:spPr bwMode="auto">
                  <a:xfrm>
                    <a:off x="5275264" y="3773488"/>
                    <a:ext cx="207963" cy="249238"/>
                  </a:xfrm>
                  <a:custGeom>
                    <a:avLst/>
                    <a:gdLst>
                      <a:gd name="T0" fmla="*/ 2147483647 w 131"/>
                      <a:gd name="T1" fmla="*/ 2147483647 h 157"/>
                      <a:gd name="T2" fmla="*/ 2147483647 w 131"/>
                      <a:gd name="T3" fmla="*/ 2147483647 h 157"/>
                      <a:gd name="T4" fmla="*/ 2147483647 w 131"/>
                      <a:gd name="T5" fmla="*/ 0 h 157"/>
                      <a:gd name="T6" fmla="*/ 0 w 131"/>
                      <a:gd name="T7" fmla="*/ 0 h 157"/>
                      <a:gd name="T8" fmla="*/ 0 w 131"/>
                      <a:gd name="T9" fmla="*/ 2147483647 h 157"/>
                      <a:gd name="T10" fmla="*/ 2147483647 w 131"/>
                      <a:gd name="T11" fmla="*/ 2147483647 h 157"/>
                      <a:gd name="T12" fmla="*/ 0 w 131"/>
                      <a:gd name="T13" fmla="*/ 2147483647 h 157"/>
                      <a:gd name="T14" fmla="*/ 0 w 131"/>
                      <a:gd name="T15" fmla="*/ 2147483647 h 157"/>
                      <a:gd name="T16" fmla="*/ 2147483647 w 131"/>
                      <a:gd name="T17" fmla="*/ 2147483647 h 157"/>
                      <a:gd name="T18" fmla="*/ 2147483647 w 131"/>
                      <a:gd name="T19" fmla="*/ 2147483647 h 157"/>
                      <a:gd name="T20" fmla="*/ 2147483647 w 131"/>
                      <a:gd name="T21" fmla="*/ 2147483647 h 157"/>
                      <a:gd name="T22" fmla="*/ 2147483647 w 131"/>
                      <a:gd name="T23" fmla="*/ 2147483647 h 157"/>
                      <a:gd name="T24" fmla="*/ 2147483647 w 131"/>
                      <a:gd name="T25" fmla="*/ 2147483647 h 157"/>
                      <a:gd name="T26" fmla="*/ 2147483647 w 131"/>
                      <a:gd name="T27" fmla="*/ 2147483647 h 157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31"/>
                      <a:gd name="T43" fmla="*/ 0 h 157"/>
                      <a:gd name="T44" fmla="*/ 131 w 131"/>
                      <a:gd name="T45" fmla="*/ 157 h 157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31" h="157">
                        <a:moveTo>
                          <a:pt x="114" y="9"/>
                        </a:moveTo>
                        <a:lnTo>
                          <a:pt x="87" y="17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0" y="9"/>
                        </a:lnTo>
                        <a:lnTo>
                          <a:pt x="9" y="52"/>
                        </a:lnTo>
                        <a:lnTo>
                          <a:pt x="0" y="78"/>
                        </a:lnTo>
                        <a:lnTo>
                          <a:pt x="0" y="96"/>
                        </a:lnTo>
                        <a:lnTo>
                          <a:pt x="53" y="131"/>
                        </a:lnTo>
                        <a:lnTo>
                          <a:pt x="79" y="157"/>
                        </a:lnTo>
                        <a:lnTo>
                          <a:pt x="114" y="104"/>
                        </a:lnTo>
                        <a:lnTo>
                          <a:pt x="114" y="26"/>
                        </a:lnTo>
                        <a:lnTo>
                          <a:pt x="131" y="9"/>
                        </a:lnTo>
                        <a:lnTo>
                          <a:pt x="114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3" name="Freeform 561"/>
                  <p:cNvSpPr>
                    <a:spLocks/>
                  </p:cNvSpPr>
                  <p:nvPr/>
                </p:nvSpPr>
                <p:spPr bwMode="auto">
                  <a:xfrm>
                    <a:off x="4679951" y="3744913"/>
                    <a:ext cx="527050" cy="512763"/>
                  </a:xfrm>
                  <a:custGeom>
                    <a:avLst/>
                    <a:gdLst>
                      <a:gd name="T0" fmla="*/ 2147483647 w 332"/>
                      <a:gd name="T1" fmla="*/ 2147483647 h 323"/>
                      <a:gd name="T2" fmla="*/ 2147483647 w 332"/>
                      <a:gd name="T3" fmla="*/ 2147483647 h 323"/>
                      <a:gd name="T4" fmla="*/ 2147483647 w 332"/>
                      <a:gd name="T5" fmla="*/ 2147483647 h 323"/>
                      <a:gd name="T6" fmla="*/ 2147483647 w 332"/>
                      <a:gd name="T7" fmla="*/ 0 h 323"/>
                      <a:gd name="T8" fmla="*/ 2147483647 w 332"/>
                      <a:gd name="T9" fmla="*/ 2147483647 h 323"/>
                      <a:gd name="T10" fmla="*/ 2147483647 w 332"/>
                      <a:gd name="T11" fmla="*/ 2147483647 h 323"/>
                      <a:gd name="T12" fmla="*/ 2147483647 w 332"/>
                      <a:gd name="T13" fmla="*/ 2147483647 h 323"/>
                      <a:gd name="T14" fmla="*/ 2147483647 w 332"/>
                      <a:gd name="T15" fmla="*/ 2147483647 h 323"/>
                      <a:gd name="T16" fmla="*/ 2147483647 w 332"/>
                      <a:gd name="T17" fmla="*/ 2147483647 h 323"/>
                      <a:gd name="T18" fmla="*/ 2147483647 w 332"/>
                      <a:gd name="T19" fmla="*/ 2147483647 h 323"/>
                      <a:gd name="T20" fmla="*/ 2147483647 w 332"/>
                      <a:gd name="T21" fmla="*/ 2147483647 h 323"/>
                      <a:gd name="T22" fmla="*/ 2147483647 w 332"/>
                      <a:gd name="T23" fmla="*/ 2147483647 h 323"/>
                      <a:gd name="T24" fmla="*/ 2147483647 w 332"/>
                      <a:gd name="T25" fmla="*/ 2147483647 h 323"/>
                      <a:gd name="T26" fmla="*/ 2147483647 w 332"/>
                      <a:gd name="T27" fmla="*/ 2147483647 h 323"/>
                      <a:gd name="T28" fmla="*/ 2147483647 w 332"/>
                      <a:gd name="T29" fmla="*/ 2147483647 h 323"/>
                      <a:gd name="T30" fmla="*/ 0 w 332"/>
                      <a:gd name="T31" fmla="*/ 2147483647 h 323"/>
                      <a:gd name="T32" fmla="*/ 2147483647 w 332"/>
                      <a:gd name="T33" fmla="*/ 2147483647 h 323"/>
                      <a:gd name="T34" fmla="*/ 2147483647 w 332"/>
                      <a:gd name="T35" fmla="*/ 2147483647 h 323"/>
                      <a:gd name="T36" fmla="*/ 2147483647 w 332"/>
                      <a:gd name="T37" fmla="*/ 2147483647 h 323"/>
                      <a:gd name="T38" fmla="*/ 2147483647 w 332"/>
                      <a:gd name="T39" fmla="*/ 2147483647 h 323"/>
                      <a:gd name="T40" fmla="*/ 2147483647 w 332"/>
                      <a:gd name="T41" fmla="*/ 2147483647 h 323"/>
                      <a:gd name="T42" fmla="*/ 2147483647 w 332"/>
                      <a:gd name="T43" fmla="*/ 2147483647 h 323"/>
                      <a:gd name="T44" fmla="*/ 2147483647 w 332"/>
                      <a:gd name="T45" fmla="*/ 2147483647 h 323"/>
                      <a:gd name="T46" fmla="*/ 2147483647 w 332"/>
                      <a:gd name="T47" fmla="*/ 2147483647 h 323"/>
                      <a:gd name="T48" fmla="*/ 2147483647 w 332"/>
                      <a:gd name="T49" fmla="*/ 2147483647 h 323"/>
                      <a:gd name="T50" fmla="*/ 2147483647 w 332"/>
                      <a:gd name="T51" fmla="*/ 2147483647 h 323"/>
                      <a:gd name="T52" fmla="*/ 2147483647 w 332"/>
                      <a:gd name="T53" fmla="*/ 2147483647 h 323"/>
                      <a:gd name="T54" fmla="*/ 2147483647 w 332"/>
                      <a:gd name="T55" fmla="*/ 2147483647 h 323"/>
                      <a:gd name="T56" fmla="*/ 2147483647 w 332"/>
                      <a:gd name="T57" fmla="*/ 2147483647 h 323"/>
                      <a:gd name="T58" fmla="*/ 2147483647 w 332"/>
                      <a:gd name="T59" fmla="*/ 2147483647 h 323"/>
                      <a:gd name="T60" fmla="*/ 2147483647 w 332"/>
                      <a:gd name="T61" fmla="*/ 2147483647 h 323"/>
                      <a:gd name="T62" fmla="*/ 2147483647 w 332"/>
                      <a:gd name="T63" fmla="*/ 2147483647 h 323"/>
                      <a:gd name="T64" fmla="*/ 2147483647 w 332"/>
                      <a:gd name="T65" fmla="*/ 2147483647 h 323"/>
                      <a:gd name="T66" fmla="*/ 2147483647 w 332"/>
                      <a:gd name="T67" fmla="*/ 2147483647 h 323"/>
                      <a:gd name="T68" fmla="*/ 2147483647 w 332"/>
                      <a:gd name="T69" fmla="*/ 2147483647 h 323"/>
                      <a:gd name="T70" fmla="*/ 2147483647 w 332"/>
                      <a:gd name="T71" fmla="*/ 2147483647 h 323"/>
                      <a:gd name="T72" fmla="*/ 2147483647 w 332"/>
                      <a:gd name="T73" fmla="*/ 2147483647 h 323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332"/>
                      <a:gd name="T112" fmla="*/ 0 h 323"/>
                      <a:gd name="T113" fmla="*/ 332 w 332"/>
                      <a:gd name="T114" fmla="*/ 323 h 323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332" h="323">
                        <a:moveTo>
                          <a:pt x="323" y="35"/>
                        </a:moveTo>
                        <a:lnTo>
                          <a:pt x="297" y="18"/>
                        </a:lnTo>
                        <a:lnTo>
                          <a:pt x="253" y="18"/>
                        </a:lnTo>
                        <a:lnTo>
                          <a:pt x="253" y="0"/>
                        </a:lnTo>
                        <a:lnTo>
                          <a:pt x="244" y="9"/>
                        </a:lnTo>
                        <a:lnTo>
                          <a:pt x="157" y="27"/>
                        </a:lnTo>
                        <a:lnTo>
                          <a:pt x="131" y="9"/>
                        </a:lnTo>
                        <a:lnTo>
                          <a:pt x="105" y="35"/>
                        </a:lnTo>
                        <a:lnTo>
                          <a:pt x="96" y="61"/>
                        </a:lnTo>
                        <a:lnTo>
                          <a:pt x="88" y="122"/>
                        </a:lnTo>
                        <a:lnTo>
                          <a:pt x="70" y="131"/>
                        </a:lnTo>
                        <a:lnTo>
                          <a:pt x="70" y="166"/>
                        </a:lnTo>
                        <a:lnTo>
                          <a:pt x="44" y="183"/>
                        </a:lnTo>
                        <a:lnTo>
                          <a:pt x="18" y="183"/>
                        </a:lnTo>
                        <a:lnTo>
                          <a:pt x="9" y="201"/>
                        </a:lnTo>
                        <a:lnTo>
                          <a:pt x="0" y="210"/>
                        </a:lnTo>
                        <a:lnTo>
                          <a:pt x="79" y="210"/>
                        </a:lnTo>
                        <a:lnTo>
                          <a:pt x="88" y="244"/>
                        </a:lnTo>
                        <a:lnTo>
                          <a:pt x="114" y="244"/>
                        </a:lnTo>
                        <a:lnTo>
                          <a:pt x="122" y="227"/>
                        </a:lnTo>
                        <a:lnTo>
                          <a:pt x="166" y="227"/>
                        </a:lnTo>
                        <a:lnTo>
                          <a:pt x="166" y="279"/>
                        </a:lnTo>
                        <a:lnTo>
                          <a:pt x="201" y="305"/>
                        </a:lnTo>
                        <a:lnTo>
                          <a:pt x="218" y="305"/>
                        </a:lnTo>
                        <a:lnTo>
                          <a:pt x="236" y="323"/>
                        </a:lnTo>
                        <a:lnTo>
                          <a:pt x="262" y="314"/>
                        </a:lnTo>
                        <a:lnTo>
                          <a:pt x="288" y="253"/>
                        </a:lnTo>
                        <a:lnTo>
                          <a:pt x="314" y="253"/>
                        </a:lnTo>
                        <a:lnTo>
                          <a:pt x="314" y="244"/>
                        </a:lnTo>
                        <a:lnTo>
                          <a:pt x="288" y="210"/>
                        </a:lnTo>
                        <a:lnTo>
                          <a:pt x="297" y="183"/>
                        </a:lnTo>
                        <a:lnTo>
                          <a:pt x="288" y="149"/>
                        </a:lnTo>
                        <a:lnTo>
                          <a:pt x="279" y="140"/>
                        </a:lnTo>
                        <a:lnTo>
                          <a:pt x="297" y="122"/>
                        </a:lnTo>
                        <a:lnTo>
                          <a:pt x="297" y="96"/>
                        </a:lnTo>
                        <a:lnTo>
                          <a:pt x="332" y="61"/>
                        </a:lnTo>
                        <a:lnTo>
                          <a:pt x="323" y="3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4" name="Freeform 562"/>
                  <p:cNvSpPr>
                    <a:spLocks/>
                  </p:cNvSpPr>
                  <p:nvPr/>
                </p:nvSpPr>
                <p:spPr bwMode="auto">
                  <a:xfrm>
                    <a:off x="4679951" y="3744913"/>
                    <a:ext cx="527050" cy="512763"/>
                  </a:xfrm>
                  <a:custGeom>
                    <a:avLst/>
                    <a:gdLst>
                      <a:gd name="T0" fmla="*/ 2147483647 w 332"/>
                      <a:gd name="T1" fmla="*/ 2147483647 h 323"/>
                      <a:gd name="T2" fmla="*/ 2147483647 w 332"/>
                      <a:gd name="T3" fmla="*/ 2147483647 h 323"/>
                      <a:gd name="T4" fmla="*/ 2147483647 w 332"/>
                      <a:gd name="T5" fmla="*/ 2147483647 h 323"/>
                      <a:gd name="T6" fmla="*/ 2147483647 w 332"/>
                      <a:gd name="T7" fmla="*/ 0 h 323"/>
                      <a:gd name="T8" fmla="*/ 2147483647 w 332"/>
                      <a:gd name="T9" fmla="*/ 2147483647 h 323"/>
                      <a:gd name="T10" fmla="*/ 2147483647 w 332"/>
                      <a:gd name="T11" fmla="*/ 2147483647 h 323"/>
                      <a:gd name="T12" fmla="*/ 2147483647 w 332"/>
                      <a:gd name="T13" fmla="*/ 2147483647 h 323"/>
                      <a:gd name="T14" fmla="*/ 2147483647 w 332"/>
                      <a:gd name="T15" fmla="*/ 2147483647 h 323"/>
                      <a:gd name="T16" fmla="*/ 2147483647 w 332"/>
                      <a:gd name="T17" fmla="*/ 2147483647 h 323"/>
                      <a:gd name="T18" fmla="*/ 2147483647 w 332"/>
                      <a:gd name="T19" fmla="*/ 2147483647 h 323"/>
                      <a:gd name="T20" fmla="*/ 2147483647 w 332"/>
                      <a:gd name="T21" fmla="*/ 2147483647 h 323"/>
                      <a:gd name="T22" fmla="*/ 2147483647 w 332"/>
                      <a:gd name="T23" fmla="*/ 2147483647 h 323"/>
                      <a:gd name="T24" fmla="*/ 2147483647 w 332"/>
                      <a:gd name="T25" fmla="*/ 2147483647 h 323"/>
                      <a:gd name="T26" fmla="*/ 2147483647 w 332"/>
                      <a:gd name="T27" fmla="*/ 2147483647 h 323"/>
                      <a:gd name="T28" fmla="*/ 2147483647 w 332"/>
                      <a:gd name="T29" fmla="*/ 2147483647 h 323"/>
                      <a:gd name="T30" fmla="*/ 0 w 332"/>
                      <a:gd name="T31" fmla="*/ 2147483647 h 323"/>
                      <a:gd name="T32" fmla="*/ 2147483647 w 332"/>
                      <a:gd name="T33" fmla="*/ 2147483647 h 323"/>
                      <a:gd name="T34" fmla="*/ 2147483647 w 332"/>
                      <a:gd name="T35" fmla="*/ 2147483647 h 323"/>
                      <a:gd name="T36" fmla="*/ 2147483647 w 332"/>
                      <a:gd name="T37" fmla="*/ 2147483647 h 323"/>
                      <a:gd name="T38" fmla="*/ 2147483647 w 332"/>
                      <a:gd name="T39" fmla="*/ 2147483647 h 323"/>
                      <a:gd name="T40" fmla="*/ 2147483647 w 332"/>
                      <a:gd name="T41" fmla="*/ 2147483647 h 323"/>
                      <a:gd name="T42" fmla="*/ 2147483647 w 332"/>
                      <a:gd name="T43" fmla="*/ 2147483647 h 323"/>
                      <a:gd name="T44" fmla="*/ 2147483647 w 332"/>
                      <a:gd name="T45" fmla="*/ 2147483647 h 323"/>
                      <a:gd name="T46" fmla="*/ 2147483647 w 332"/>
                      <a:gd name="T47" fmla="*/ 2147483647 h 323"/>
                      <a:gd name="T48" fmla="*/ 2147483647 w 332"/>
                      <a:gd name="T49" fmla="*/ 2147483647 h 323"/>
                      <a:gd name="T50" fmla="*/ 2147483647 w 332"/>
                      <a:gd name="T51" fmla="*/ 2147483647 h 323"/>
                      <a:gd name="T52" fmla="*/ 2147483647 w 332"/>
                      <a:gd name="T53" fmla="*/ 2147483647 h 323"/>
                      <a:gd name="T54" fmla="*/ 2147483647 w 332"/>
                      <a:gd name="T55" fmla="*/ 2147483647 h 323"/>
                      <a:gd name="T56" fmla="*/ 2147483647 w 332"/>
                      <a:gd name="T57" fmla="*/ 2147483647 h 323"/>
                      <a:gd name="T58" fmla="*/ 2147483647 w 332"/>
                      <a:gd name="T59" fmla="*/ 2147483647 h 323"/>
                      <a:gd name="T60" fmla="*/ 2147483647 w 332"/>
                      <a:gd name="T61" fmla="*/ 2147483647 h 323"/>
                      <a:gd name="T62" fmla="*/ 2147483647 w 332"/>
                      <a:gd name="T63" fmla="*/ 2147483647 h 323"/>
                      <a:gd name="T64" fmla="*/ 2147483647 w 332"/>
                      <a:gd name="T65" fmla="*/ 2147483647 h 323"/>
                      <a:gd name="T66" fmla="*/ 2147483647 w 332"/>
                      <a:gd name="T67" fmla="*/ 2147483647 h 323"/>
                      <a:gd name="T68" fmla="*/ 2147483647 w 332"/>
                      <a:gd name="T69" fmla="*/ 2147483647 h 323"/>
                      <a:gd name="T70" fmla="*/ 2147483647 w 332"/>
                      <a:gd name="T71" fmla="*/ 2147483647 h 323"/>
                      <a:gd name="T72" fmla="*/ 2147483647 w 332"/>
                      <a:gd name="T73" fmla="*/ 2147483647 h 323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332"/>
                      <a:gd name="T112" fmla="*/ 0 h 323"/>
                      <a:gd name="T113" fmla="*/ 332 w 332"/>
                      <a:gd name="T114" fmla="*/ 323 h 323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332" h="323">
                        <a:moveTo>
                          <a:pt x="323" y="35"/>
                        </a:moveTo>
                        <a:lnTo>
                          <a:pt x="297" y="18"/>
                        </a:lnTo>
                        <a:lnTo>
                          <a:pt x="253" y="18"/>
                        </a:lnTo>
                        <a:lnTo>
                          <a:pt x="253" y="0"/>
                        </a:lnTo>
                        <a:lnTo>
                          <a:pt x="244" y="9"/>
                        </a:lnTo>
                        <a:lnTo>
                          <a:pt x="157" y="27"/>
                        </a:lnTo>
                        <a:lnTo>
                          <a:pt x="131" y="9"/>
                        </a:lnTo>
                        <a:lnTo>
                          <a:pt x="105" y="35"/>
                        </a:lnTo>
                        <a:lnTo>
                          <a:pt x="96" y="61"/>
                        </a:lnTo>
                        <a:lnTo>
                          <a:pt x="88" y="122"/>
                        </a:lnTo>
                        <a:lnTo>
                          <a:pt x="70" y="131"/>
                        </a:lnTo>
                        <a:lnTo>
                          <a:pt x="70" y="166"/>
                        </a:lnTo>
                        <a:lnTo>
                          <a:pt x="44" y="183"/>
                        </a:lnTo>
                        <a:lnTo>
                          <a:pt x="18" y="183"/>
                        </a:lnTo>
                        <a:lnTo>
                          <a:pt x="9" y="201"/>
                        </a:lnTo>
                        <a:lnTo>
                          <a:pt x="0" y="210"/>
                        </a:lnTo>
                        <a:lnTo>
                          <a:pt x="79" y="210"/>
                        </a:lnTo>
                        <a:lnTo>
                          <a:pt x="88" y="244"/>
                        </a:lnTo>
                        <a:lnTo>
                          <a:pt x="114" y="244"/>
                        </a:lnTo>
                        <a:lnTo>
                          <a:pt x="122" y="227"/>
                        </a:lnTo>
                        <a:lnTo>
                          <a:pt x="166" y="227"/>
                        </a:lnTo>
                        <a:lnTo>
                          <a:pt x="166" y="279"/>
                        </a:lnTo>
                        <a:lnTo>
                          <a:pt x="201" y="305"/>
                        </a:lnTo>
                        <a:lnTo>
                          <a:pt x="218" y="305"/>
                        </a:lnTo>
                        <a:lnTo>
                          <a:pt x="236" y="323"/>
                        </a:lnTo>
                        <a:lnTo>
                          <a:pt x="262" y="314"/>
                        </a:lnTo>
                        <a:lnTo>
                          <a:pt x="288" y="253"/>
                        </a:lnTo>
                        <a:lnTo>
                          <a:pt x="314" y="253"/>
                        </a:lnTo>
                        <a:lnTo>
                          <a:pt x="314" y="244"/>
                        </a:lnTo>
                        <a:lnTo>
                          <a:pt x="288" y="210"/>
                        </a:lnTo>
                        <a:lnTo>
                          <a:pt x="297" y="183"/>
                        </a:lnTo>
                        <a:lnTo>
                          <a:pt x="288" y="149"/>
                        </a:lnTo>
                        <a:lnTo>
                          <a:pt x="279" y="140"/>
                        </a:lnTo>
                        <a:lnTo>
                          <a:pt x="297" y="122"/>
                        </a:lnTo>
                        <a:lnTo>
                          <a:pt x="297" y="96"/>
                        </a:lnTo>
                        <a:lnTo>
                          <a:pt x="332" y="61"/>
                        </a:lnTo>
                        <a:lnTo>
                          <a:pt x="323" y="3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5" name="Freeform 563"/>
                  <p:cNvSpPr>
                    <a:spLocks/>
                  </p:cNvSpPr>
                  <p:nvPr/>
                </p:nvSpPr>
                <p:spPr bwMode="auto">
                  <a:xfrm>
                    <a:off x="4638676" y="3800475"/>
                    <a:ext cx="207963" cy="234950"/>
                  </a:xfrm>
                  <a:custGeom>
                    <a:avLst/>
                    <a:gdLst>
                      <a:gd name="T0" fmla="*/ 2147483647 w 131"/>
                      <a:gd name="T1" fmla="*/ 2147483647 h 148"/>
                      <a:gd name="T2" fmla="*/ 2147483647 w 131"/>
                      <a:gd name="T3" fmla="*/ 0 h 148"/>
                      <a:gd name="T4" fmla="*/ 2147483647 w 131"/>
                      <a:gd name="T5" fmla="*/ 2147483647 h 148"/>
                      <a:gd name="T6" fmla="*/ 2147483647 w 131"/>
                      <a:gd name="T7" fmla="*/ 2147483647 h 148"/>
                      <a:gd name="T8" fmla="*/ 2147483647 w 131"/>
                      <a:gd name="T9" fmla="*/ 2147483647 h 148"/>
                      <a:gd name="T10" fmla="*/ 2147483647 w 131"/>
                      <a:gd name="T11" fmla="*/ 2147483647 h 148"/>
                      <a:gd name="T12" fmla="*/ 2147483647 w 131"/>
                      <a:gd name="T13" fmla="*/ 2147483647 h 148"/>
                      <a:gd name="T14" fmla="*/ 2147483647 w 131"/>
                      <a:gd name="T15" fmla="*/ 2147483647 h 148"/>
                      <a:gd name="T16" fmla="*/ 2147483647 w 131"/>
                      <a:gd name="T17" fmla="*/ 2147483647 h 148"/>
                      <a:gd name="T18" fmla="*/ 2147483647 w 131"/>
                      <a:gd name="T19" fmla="*/ 2147483647 h 148"/>
                      <a:gd name="T20" fmla="*/ 2147483647 w 131"/>
                      <a:gd name="T21" fmla="*/ 2147483647 h 148"/>
                      <a:gd name="T22" fmla="*/ 2147483647 w 131"/>
                      <a:gd name="T23" fmla="*/ 2147483647 h 148"/>
                      <a:gd name="T24" fmla="*/ 0 w 131"/>
                      <a:gd name="T25" fmla="*/ 2147483647 h 148"/>
                      <a:gd name="T26" fmla="*/ 2147483647 w 131"/>
                      <a:gd name="T27" fmla="*/ 2147483647 h 148"/>
                      <a:gd name="T28" fmla="*/ 2147483647 w 131"/>
                      <a:gd name="T29" fmla="*/ 2147483647 h 148"/>
                      <a:gd name="T30" fmla="*/ 2147483647 w 131"/>
                      <a:gd name="T31" fmla="*/ 2147483647 h 148"/>
                      <a:gd name="T32" fmla="*/ 2147483647 w 131"/>
                      <a:gd name="T33" fmla="*/ 2147483647 h 148"/>
                      <a:gd name="T34" fmla="*/ 2147483647 w 131"/>
                      <a:gd name="T35" fmla="*/ 2147483647 h 148"/>
                      <a:gd name="T36" fmla="*/ 2147483647 w 131"/>
                      <a:gd name="T37" fmla="*/ 2147483647 h 148"/>
                      <a:gd name="T38" fmla="*/ 2147483647 w 131"/>
                      <a:gd name="T39" fmla="*/ 2147483647 h 148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148"/>
                      <a:gd name="T62" fmla="*/ 131 w 131"/>
                      <a:gd name="T63" fmla="*/ 148 h 148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148">
                        <a:moveTo>
                          <a:pt x="122" y="26"/>
                        </a:moveTo>
                        <a:lnTo>
                          <a:pt x="131" y="0"/>
                        </a:lnTo>
                        <a:lnTo>
                          <a:pt x="96" y="9"/>
                        </a:lnTo>
                        <a:lnTo>
                          <a:pt x="87" y="35"/>
                        </a:lnTo>
                        <a:lnTo>
                          <a:pt x="44" y="26"/>
                        </a:lnTo>
                        <a:lnTo>
                          <a:pt x="53" y="44"/>
                        </a:lnTo>
                        <a:lnTo>
                          <a:pt x="61" y="44"/>
                        </a:lnTo>
                        <a:lnTo>
                          <a:pt x="61" y="61"/>
                        </a:lnTo>
                        <a:lnTo>
                          <a:pt x="70" y="87"/>
                        </a:lnTo>
                        <a:lnTo>
                          <a:pt x="61" y="105"/>
                        </a:lnTo>
                        <a:lnTo>
                          <a:pt x="26" y="105"/>
                        </a:lnTo>
                        <a:lnTo>
                          <a:pt x="26" y="131"/>
                        </a:lnTo>
                        <a:lnTo>
                          <a:pt x="0" y="140"/>
                        </a:lnTo>
                        <a:lnTo>
                          <a:pt x="18" y="148"/>
                        </a:lnTo>
                        <a:lnTo>
                          <a:pt x="44" y="148"/>
                        </a:lnTo>
                        <a:lnTo>
                          <a:pt x="70" y="148"/>
                        </a:lnTo>
                        <a:lnTo>
                          <a:pt x="96" y="131"/>
                        </a:lnTo>
                        <a:lnTo>
                          <a:pt x="96" y="96"/>
                        </a:lnTo>
                        <a:lnTo>
                          <a:pt x="114" y="87"/>
                        </a:lnTo>
                        <a:lnTo>
                          <a:pt x="122" y="2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6" name="Freeform 564"/>
                  <p:cNvSpPr>
                    <a:spLocks/>
                  </p:cNvSpPr>
                  <p:nvPr/>
                </p:nvSpPr>
                <p:spPr bwMode="auto">
                  <a:xfrm>
                    <a:off x="4638676" y="3800475"/>
                    <a:ext cx="207963" cy="234950"/>
                  </a:xfrm>
                  <a:custGeom>
                    <a:avLst/>
                    <a:gdLst>
                      <a:gd name="T0" fmla="*/ 2147483647 w 131"/>
                      <a:gd name="T1" fmla="*/ 2147483647 h 148"/>
                      <a:gd name="T2" fmla="*/ 2147483647 w 131"/>
                      <a:gd name="T3" fmla="*/ 0 h 148"/>
                      <a:gd name="T4" fmla="*/ 2147483647 w 131"/>
                      <a:gd name="T5" fmla="*/ 2147483647 h 148"/>
                      <a:gd name="T6" fmla="*/ 2147483647 w 131"/>
                      <a:gd name="T7" fmla="*/ 2147483647 h 148"/>
                      <a:gd name="T8" fmla="*/ 2147483647 w 131"/>
                      <a:gd name="T9" fmla="*/ 2147483647 h 148"/>
                      <a:gd name="T10" fmla="*/ 2147483647 w 131"/>
                      <a:gd name="T11" fmla="*/ 2147483647 h 148"/>
                      <a:gd name="T12" fmla="*/ 2147483647 w 131"/>
                      <a:gd name="T13" fmla="*/ 2147483647 h 148"/>
                      <a:gd name="T14" fmla="*/ 2147483647 w 131"/>
                      <a:gd name="T15" fmla="*/ 2147483647 h 148"/>
                      <a:gd name="T16" fmla="*/ 2147483647 w 131"/>
                      <a:gd name="T17" fmla="*/ 2147483647 h 148"/>
                      <a:gd name="T18" fmla="*/ 2147483647 w 131"/>
                      <a:gd name="T19" fmla="*/ 2147483647 h 148"/>
                      <a:gd name="T20" fmla="*/ 2147483647 w 131"/>
                      <a:gd name="T21" fmla="*/ 2147483647 h 148"/>
                      <a:gd name="T22" fmla="*/ 2147483647 w 131"/>
                      <a:gd name="T23" fmla="*/ 2147483647 h 148"/>
                      <a:gd name="T24" fmla="*/ 0 w 131"/>
                      <a:gd name="T25" fmla="*/ 2147483647 h 148"/>
                      <a:gd name="T26" fmla="*/ 2147483647 w 131"/>
                      <a:gd name="T27" fmla="*/ 2147483647 h 148"/>
                      <a:gd name="T28" fmla="*/ 2147483647 w 131"/>
                      <a:gd name="T29" fmla="*/ 2147483647 h 148"/>
                      <a:gd name="T30" fmla="*/ 2147483647 w 131"/>
                      <a:gd name="T31" fmla="*/ 2147483647 h 148"/>
                      <a:gd name="T32" fmla="*/ 2147483647 w 131"/>
                      <a:gd name="T33" fmla="*/ 2147483647 h 148"/>
                      <a:gd name="T34" fmla="*/ 2147483647 w 131"/>
                      <a:gd name="T35" fmla="*/ 2147483647 h 148"/>
                      <a:gd name="T36" fmla="*/ 2147483647 w 131"/>
                      <a:gd name="T37" fmla="*/ 2147483647 h 148"/>
                      <a:gd name="T38" fmla="*/ 2147483647 w 131"/>
                      <a:gd name="T39" fmla="*/ 2147483647 h 148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148"/>
                      <a:gd name="T62" fmla="*/ 131 w 131"/>
                      <a:gd name="T63" fmla="*/ 148 h 148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148">
                        <a:moveTo>
                          <a:pt x="122" y="26"/>
                        </a:moveTo>
                        <a:lnTo>
                          <a:pt x="131" y="0"/>
                        </a:lnTo>
                        <a:lnTo>
                          <a:pt x="96" y="9"/>
                        </a:lnTo>
                        <a:lnTo>
                          <a:pt x="87" y="35"/>
                        </a:lnTo>
                        <a:lnTo>
                          <a:pt x="44" y="26"/>
                        </a:lnTo>
                        <a:lnTo>
                          <a:pt x="53" y="44"/>
                        </a:lnTo>
                        <a:lnTo>
                          <a:pt x="61" y="44"/>
                        </a:lnTo>
                        <a:lnTo>
                          <a:pt x="61" y="61"/>
                        </a:lnTo>
                        <a:lnTo>
                          <a:pt x="70" y="87"/>
                        </a:lnTo>
                        <a:lnTo>
                          <a:pt x="61" y="105"/>
                        </a:lnTo>
                        <a:lnTo>
                          <a:pt x="26" y="105"/>
                        </a:lnTo>
                        <a:lnTo>
                          <a:pt x="26" y="131"/>
                        </a:lnTo>
                        <a:lnTo>
                          <a:pt x="0" y="140"/>
                        </a:lnTo>
                        <a:lnTo>
                          <a:pt x="18" y="148"/>
                        </a:lnTo>
                        <a:lnTo>
                          <a:pt x="44" y="148"/>
                        </a:lnTo>
                        <a:lnTo>
                          <a:pt x="70" y="148"/>
                        </a:lnTo>
                        <a:lnTo>
                          <a:pt x="96" y="131"/>
                        </a:lnTo>
                        <a:lnTo>
                          <a:pt x="96" y="96"/>
                        </a:lnTo>
                        <a:lnTo>
                          <a:pt x="114" y="87"/>
                        </a:lnTo>
                        <a:lnTo>
                          <a:pt x="122" y="26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7" name="Freeform 565"/>
                  <p:cNvSpPr>
                    <a:spLocks/>
                  </p:cNvSpPr>
                  <p:nvPr/>
                </p:nvSpPr>
                <p:spPr bwMode="auto">
                  <a:xfrm>
                    <a:off x="5137151" y="3967163"/>
                    <a:ext cx="41275" cy="68263"/>
                  </a:xfrm>
                  <a:custGeom>
                    <a:avLst/>
                    <a:gdLst>
                      <a:gd name="T0" fmla="*/ 2147483647 w 26"/>
                      <a:gd name="T1" fmla="*/ 2147483647 h 43"/>
                      <a:gd name="T2" fmla="*/ 2147483647 w 26"/>
                      <a:gd name="T3" fmla="*/ 2147483647 h 43"/>
                      <a:gd name="T4" fmla="*/ 2147483647 w 26"/>
                      <a:gd name="T5" fmla="*/ 0 h 43"/>
                      <a:gd name="T6" fmla="*/ 0 w 26"/>
                      <a:gd name="T7" fmla="*/ 2147483647 h 43"/>
                      <a:gd name="T8" fmla="*/ 2147483647 w 26"/>
                      <a:gd name="T9" fmla="*/ 2147483647 h 4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43"/>
                      <a:gd name="T17" fmla="*/ 26 w 26"/>
                      <a:gd name="T18" fmla="*/ 43 h 4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43">
                        <a:moveTo>
                          <a:pt x="9" y="43"/>
                        </a:moveTo>
                        <a:lnTo>
                          <a:pt x="26" y="26"/>
                        </a:lnTo>
                        <a:lnTo>
                          <a:pt x="26" y="0"/>
                        </a:lnTo>
                        <a:lnTo>
                          <a:pt x="0" y="9"/>
                        </a:lnTo>
                        <a:lnTo>
                          <a:pt x="9" y="4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8" name="Freeform 566"/>
                  <p:cNvSpPr>
                    <a:spLocks/>
                  </p:cNvSpPr>
                  <p:nvPr/>
                </p:nvSpPr>
                <p:spPr bwMode="auto">
                  <a:xfrm>
                    <a:off x="5137151" y="3967163"/>
                    <a:ext cx="41275" cy="68263"/>
                  </a:xfrm>
                  <a:custGeom>
                    <a:avLst/>
                    <a:gdLst>
                      <a:gd name="T0" fmla="*/ 2147483647 w 26"/>
                      <a:gd name="T1" fmla="*/ 2147483647 h 43"/>
                      <a:gd name="T2" fmla="*/ 2147483647 w 26"/>
                      <a:gd name="T3" fmla="*/ 2147483647 h 43"/>
                      <a:gd name="T4" fmla="*/ 2147483647 w 26"/>
                      <a:gd name="T5" fmla="*/ 0 h 43"/>
                      <a:gd name="T6" fmla="*/ 0 w 26"/>
                      <a:gd name="T7" fmla="*/ 2147483647 h 43"/>
                      <a:gd name="T8" fmla="*/ 2147483647 w 26"/>
                      <a:gd name="T9" fmla="*/ 2147483647 h 4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43"/>
                      <a:gd name="T17" fmla="*/ 26 w 26"/>
                      <a:gd name="T18" fmla="*/ 43 h 4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43">
                        <a:moveTo>
                          <a:pt x="9" y="43"/>
                        </a:moveTo>
                        <a:lnTo>
                          <a:pt x="26" y="26"/>
                        </a:lnTo>
                        <a:lnTo>
                          <a:pt x="26" y="0"/>
                        </a:lnTo>
                        <a:lnTo>
                          <a:pt x="0" y="9"/>
                        </a:lnTo>
                        <a:lnTo>
                          <a:pt x="9" y="43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9" name="Freeform 567"/>
                  <p:cNvSpPr>
                    <a:spLocks/>
                  </p:cNvSpPr>
                  <p:nvPr/>
                </p:nvSpPr>
                <p:spPr bwMode="auto">
                  <a:xfrm>
                    <a:off x="5122864" y="3925888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2147483647 w 35"/>
                      <a:gd name="T3" fmla="*/ 2147483647 h 35"/>
                      <a:gd name="T4" fmla="*/ 0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35" y="0"/>
                        </a:moveTo>
                        <a:lnTo>
                          <a:pt x="18" y="8"/>
                        </a:lnTo>
                        <a:lnTo>
                          <a:pt x="0" y="26"/>
                        </a:lnTo>
                        <a:lnTo>
                          <a:pt x="9" y="35"/>
                        </a:lnTo>
                        <a:lnTo>
                          <a:pt x="35" y="26"/>
                        </a:lnTo>
                        <a:lnTo>
                          <a:pt x="35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0" name="Freeform 568"/>
                  <p:cNvSpPr>
                    <a:spLocks/>
                  </p:cNvSpPr>
                  <p:nvPr/>
                </p:nvSpPr>
                <p:spPr bwMode="auto">
                  <a:xfrm>
                    <a:off x="5122864" y="3925888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2147483647 w 35"/>
                      <a:gd name="T3" fmla="*/ 2147483647 h 35"/>
                      <a:gd name="T4" fmla="*/ 0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35" y="0"/>
                        </a:moveTo>
                        <a:lnTo>
                          <a:pt x="18" y="8"/>
                        </a:lnTo>
                        <a:lnTo>
                          <a:pt x="0" y="26"/>
                        </a:lnTo>
                        <a:lnTo>
                          <a:pt x="9" y="35"/>
                        </a:lnTo>
                        <a:lnTo>
                          <a:pt x="35" y="26"/>
                        </a:lnTo>
                        <a:lnTo>
                          <a:pt x="35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1" name="Freeform 569"/>
                  <p:cNvSpPr>
                    <a:spLocks/>
                  </p:cNvSpPr>
                  <p:nvPr/>
                </p:nvSpPr>
                <p:spPr bwMode="auto">
                  <a:xfrm>
                    <a:off x="5151439" y="3787775"/>
                    <a:ext cx="138113" cy="150813"/>
                  </a:xfrm>
                  <a:custGeom>
                    <a:avLst/>
                    <a:gdLst>
                      <a:gd name="T0" fmla="*/ 2147483647 w 87"/>
                      <a:gd name="T1" fmla="*/ 2147483647 h 95"/>
                      <a:gd name="T2" fmla="*/ 2147483647 w 87"/>
                      <a:gd name="T3" fmla="*/ 0 h 95"/>
                      <a:gd name="T4" fmla="*/ 2147483647 w 87"/>
                      <a:gd name="T5" fmla="*/ 2147483647 h 95"/>
                      <a:gd name="T6" fmla="*/ 2147483647 w 87"/>
                      <a:gd name="T7" fmla="*/ 2147483647 h 95"/>
                      <a:gd name="T8" fmla="*/ 0 w 87"/>
                      <a:gd name="T9" fmla="*/ 2147483647 h 95"/>
                      <a:gd name="T10" fmla="*/ 0 w 87"/>
                      <a:gd name="T11" fmla="*/ 2147483647 h 95"/>
                      <a:gd name="T12" fmla="*/ 2147483647 w 87"/>
                      <a:gd name="T13" fmla="*/ 2147483647 h 95"/>
                      <a:gd name="T14" fmla="*/ 2147483647 w 87"/>
                      <a:gd name="T15" fmla="*/ 2147483647 h 95"/>
                      <a:gd name="T16" fmla="*/ 2147483647 w 87"/>
                      <a:gd name="T17" fmla="*/ 2147483647 h 95"/>
                      <a:gd name="T18" fmla="*/ 2147483647 w 87"/>
                      <a:gd name="T19" fmla="*/ 2147483647 h 95"/>
                      <a:gd name="T20" fmla="*/ 2147483647 w 87"/>
                      <a:gd name="T21" fmla="*/ 2147483647 h 95"/>
                      <a:gd name="T22" fmla="*/ 2147483647 w 87"/>
                      <a:gd name="T23" fmla="*/ 2147483647 h 95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87"/>
                      <a:gd name="T37" fmla="*/ 0 h 95"/>
                      <a:gd name="T38" fmla="*/ 87 w 87"/>
                      <a:gd name="T39" fmla="*/ 95 h 95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87" h="95">
                        <a:moveTo>
                          <a:pt x="87" y="43"/>
                        </a:moveTo>
                        <a:lnTo>
                          <a:pt x="78" y="0"/>
                        </a:lnTo>
                        <a:lnTo>
                          <a:pt x="26" y="8"/>
                        </a:lnTo>
                        <a:lnTo>
                          <a:pt x="35" y="34"/>
                        </a:lnTo>
                        <a:lnTo>
                          <a:pt x="0" y="69"/>
                        </a:lnTo>
                        <a:lnTo>
                          <a:pt x="0" y="95"/>
                        </a:lnTo>
                        <a:lnTo>
                          <a:pt x="17" y="87"/>
                        </a:lnTo>
                        <a:lnTo>
                          <a:pt x="35" y="87"/>
                        </a:lnTo>
                        <a:lnTo>
                          <a:pt x="43" y="78"/>
                        </a:lnTo>
                        <a:lnTo>
                          <a:pt x="70" y="52"/>
                        </a:lnTo>
                        <a:lnTo>
                          <a:pt x="78" y="69"/>
                        </a:lnTo>
                        <a:lnTo>
                          <a:pt x="87" y="4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2" name="Freeform 570"/>
                  <p:cNvSpPr>
                    <a:spLocks/>
                  </p:cNvSpPr>
                  <p:nvPr/>
                </p:nvSpPr>
                <p:spPr bwMode="auto">
                  <a:xfrm>
                    <a:off x="5151439" y="3787775"/>
                    <a:ext cx="138113" cy="150813"/>
                  </a:xfrm>
                  <a:custGeom>
                    <a:avLst/>
                    <a:gdLst>
                      <a:gd name="T0" fmla="*/ 2147483647 w 87"/>
                      <a:gd name="T1" fmla="*/ 2147483647 h 95"/>
                      <a:gd name="T2" fmla="*/ 2147483647 w 87"/>
                      <a:gd name="T3" fmla="*/ 0 h 95"/>
                      <a:gd name="T4" fmla="*/ 2147483647 w 87"/>
                      <a:gd name="T5" fmla="*/ 2147483647 h 95"/>
                      <a:gd name="T6" fmla="*/ 2147483647 w 87"/>
                      <a:gd name="T7" fmla="*/ 2147483647 h 95"/>
                      <a:gd name="T8" fmla="*/ 0 w 87"/>
                      <a:gd name="T9" fmla="*/ 2147483647 h 95"/>
                      <a:gd name="T10" fmla="*/ 0 w 87"/>
                      <a:gd name="T11" fmla="*/ 2147483647 h 95"/>
                      <a:gd name="T12" fmla="*/ 2147483647 w 87"/>
                      <a:gd name="T13" fmla="*/ 2147483647 h 95"/>
                      <a:gd name="T14" fmla="*/ 2147483647 w 87"/>
                      <a:gd name="T15" fmla="*/ 2147483647 h 95"/>
                      <a:gd name="T16" fmla="*/ 2147483647 w 87"/>
                      <a:gd name="T17" fmla="*/ 2147483647 h 95"/>
                      <a:gd name="T18" fmla="*/ 2147483647 w 87"/>
                      <a:gd name="T19" fmla="*/ 2147483647 h 95"/>
                      <a:gd name="T20" fmla="*/ 2147483647 w 87"/>
                      <a:gd name="T21" fmla="*/ 2147483647 h 95"/>
                      <a:gd name="T22" fmla="*/ 2147483647 w 87"/>
                      <a:gd name="T23" fmla="*/ 2147483647 h 95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87"/>
                      <a:gd name="T37" fmla="*/ 0 h 95"/>
                      <a:gd name="T38" fmla="*/ 87 w 87"/>
                      <a:gd name="T39" fmla="*/ 95 h 95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87" h="95">
                        <a:moveTo>
                          <a:pt x="87" y="43"/>
                        </a:moveTo>
                        <a:lnTo>
                          <a:pt x="78" y="0"/>
                        </a:lnTo>
                        <a:lnTo>
                          <a:pt x="26" y="8"/>
                        </a:lnTo>
                        <a:lnTo>
                          <a:pt x="35" y="34"/>
                        </a:lnTo>
                        <a:lnTo>
                          <a:pt x="0" y="69"/>
                        </a:lnTo>
                        <a:lnTo>
                          <a:pt x="0" y="95"/>
                        </a:lnTo>
                        <a:lnTo>
                          <a:pt x="17" y="87"/>
                        </a:lnTo>
                        <a:lnTo>
                          <a:pt x="35" y="87"/>
                        </a:lnTo>
                        <a:lnTo>
                          <a:pt x="43" y="78"/>
                        </a:lnTo>
                        <a:lnTo>
                          <a:pt x="70" y="52"/>
                        </a:lnTo>
                        <a:lnTo>
                          <a:pt x="78" y="69"/>
                        </a:lnTo>
                        <a:lnTo>
                          <a:pt x="87" y="43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3" name="Freeform 571"/>
                  <p:cNvSpPr>
                    <a:spLocks/>
                  </p:cNvSpPr>
                  <p:nvPr/>
                </p:nvSpPr>
                <p:spPr bwMode="auto">
                  <a:xfrm>
                    <a:off x="4722814" y="3233738"/>
                    <a:ext cx="261938" cy="457200"/>
                  </a:xfrm>
                  <a:custGeom>
                    <a:avLst/>
                    <a:gdLst>
                      <a:gd name="T0" fmla="*/ 2147483647 w 165"/>
                      <a:gd name="T1" fmla="*/ 0 h 288"/>
                      <a:gd name="T2" fmla="*/ 2147483647 w 165"/>
                      <a:gd name="T3" fmla="*/ 2147483647 h 288"/>
                      <a:gd name="T4" fmla="*/ 2147483647 w 165"/>
                      <a:gd name="T5" fmla="*/ 2147483647 h 288"/>
                      <a:gd name="T6" fmla="*/ 2147483647 w 165"/>
                      <a:gd name="T7" fmla="*/ 2147483647 h 288"/>
                      <a:gd name="T8" fmla="*/ 2147483647 w 165"/>
                      <a:gd name="T9" fmla="*/ 2147483647 h 288"/>
                      <a:gd name="T10" fmla="*/ 2147483647 w 165"/>
                      <a:gd name="T11" fmla="*/ 2147483647 h 288"/>
                      <a:gd name="T12" fmla="*/ 2147483647 w 165"/>
                      <a:gd name="T13" fmla="*/ 2147483647 h 288"/>
                      <a:gd name="T14" fmla="*/ 0 w 165"/>
                      <a:gd name="T15" fmla="*/ 2147483647 h 288"/>
                      <a:gd name="T16" fmla="*/ 2147483647 w 165"/>
                      <a:gd name="T17" fmla="*/ 2147483647 h 288"/>
                      <a:gd name="T18" fmla="*/ 2147483647 w 165"/>
                      <a:gd name="T19" fmla="*/ 2147483647 h 288"/>
                      <a:gd name="T20" fmla="*/ 2147483647 w 165"/>
                      <a:gd name="T21" fmla="*/ 2147483647 h 288"/>
                      <a:gd name="T22" fmla="*/ 2147483647 w 165"/>
                      <a:gd name="T23" fmla="*/ 2147483647 h 288"/>
                      <a:gd name="T24" fmla="*/ 2147483647 w 165"/>
                      <a:gd name="T25" fmla="*/ 2147483647 h 288"/>
                      <a:gd name="T26" fmla="*/ 2147483647 w 165"/>
                      <a:gd name="T27" fmla="*/ 2147483647 h 288"/>
                      <a:gd name="T28" fmla="*/ 2147483647 w 165"/>
                      <a:gd name="T29" fmla="*/ 2147483647 h 288"/>
                      <a:gd name="T30" fmla="*/ 2147483647 w 165"/>
                      <a:gd name="T31" fmla="*/ 2147483647 h 288"/>
                      <a:gd name="T32" fmla="*/ 2147483647 w 165"/>
                      <a:gd name="T33" fmla="*/ 2147483647 h 288"/>
                      <a:gd name="T34" fmla="*/ 2147483647 w 165"/>
                      <a:gd name="T35" fmla="*/ 2147483647 h 288"/>
                      <a:gd name="T36" fmla="*/ 2147483647 w 165"/>
                      <a:gd name="T37" fmla="*/ 2147483647 h 288"/>
                      <a:gd name="T38" fmla="*/ 2147483647 w 165"/>
                      <a:gd name="T39" fmla="*/ 2147483647 h 288"/>
                      <a:gd name="T40" fmla="*/ 2147483647 w 165"/>
                      <a:gd name="T41" fmla="*/ 2147483647 h 288"/>
                      <a:gd name="T42" fmla="*/ 2147483647 w 165"/>
                      <a:gd name="T43" fmla="*/ 0 h 288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165"/>
                      <a:gd name="T67" fmla="*/ 0 h 288"/>
                      <a:gd name="T68" fmla="*/ 165 w 165"/>
                      <a:gd name="T69" fmla="*/ 288 h 288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165" h="288">
                        <a:moveTo>
                          <a:pt x="34" y="0"/>
                        </a:moveTo>
                        <a:lnTo>
                          <a:pt x="17" y="9"/>
                        </a:lnTo>
                        <a:lnTo>
                          <a:pt x="17" y="26"/>
                        </a:lnTo>
                        <a:lnTo>
                          <a:pt x="34" y="61"/>
                        </a:lnTo>
                        <a:lnTo>
                          <a:pt x="26" y="70"/>
                        </a:lnTo>
                        <a:lnTo>
                          <a:pt x="26" y="113"/>
                        </a:lnTo>
                        <a:lnTo>
                          <a:pt x="8" y="139"/>
                        </a:lnTo>
                        <a:lnTo>
                          <a:pt x="0" y="174"/>
                        </a:lnTo>
                        <a:lnTo>
                          <a:pt x="17" y="183"/>
                        </a:lnTo>
                        <a:lnTo>
                          <a:pt x="34" y="235"/>
                        </a:lnTo>
                        <a:lnTo>
                          <a:pt x="8" y="244"/>
                        </a:lnTo>
                        <a:lnTo>
                          <a:pt x="26" y="288"/>
                        </a:lnTo>
                        <a:lnTo>
                          <a:pt x="87" y="261"/>
                        </a:lnTo>
                        <a:lnTo>
                          <a:pt x="104" y="261"/>
                        </a:lnTo>
                        <a:lnTo>
                          <a:pt x="130" y="235"/>
                        </a:lnTo>
                        <a:lnTo>
                          <a:pt x="148" y="227"/>
                        </a:lnTo>
                        <a:lnTo>
                          <a:pt x="130" y="192"/>
                        </a:lnTo>
                        <a:lnTo>
                          <a:pt x="139" y="166"/>
                        </a:lnTo>
                        <a:lnTo>
                          <a:pt x="165" y="139"/>
                        </a:lnTo>
                        <a:lnTo>
                          <a:pt x="165" y="70"/>
                        </a:lnTo>
                        <a:lnTo>
                          <a:pt x="34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4" name="Freeform 572"/>
                  <p:cNvSpPr>
                    <a:spLocks/>
                  </p:cNvSpPr>
                  <p:nvPr/>
                </p:nvSpPr>
                <p:spPr bwMode="auto">
                  <a:xfrm>
                    <a:off x="4722814" y="3233738"/>
                    <a:ext cx="261938" cy="457200"/>
                  </a:xfrm>
                  <a:custGeom>
                    <a:avLst/>
                    <a:gdLst>
                      <a:gd name="T0" fmla="*/ 2147483647 w 165"/>
                      <a:gd name="T1" fmla="*/ 0 h 288"/>
                      <a:gd name="T2" fmla="*/ 2147483647 w 165"/>
                      <a:gd name="T3" fmla="*/ 2147483647 h 288"/>
                      <a:gd name="T4" fmla="*/ 2147483647 w 165"/>
                      <a:gd name="T5" fmla="*/ 2147483647 h 288"/>
                      <a:gd name="T6" fmla="*/ 2147483647 w 165"/>
                      <a:gd name="T7" fmla="*/ 2147483647 h 288"/>
                      <a:gd name="T8" fmla="*/ 2147483647 w 165"/>
                      <a:gd name="T9" fmla="*/ 2147483647 h 288"/>
                      <a:gd name="T10" fmla="*/ 2147483647 w 165"/>
                      <a:gd name="T11" fmla="*/ 2147483647 h 288"/>
                      <a:gd name="T12" fmla="*/ 2147483647 w 165"/>
                      <a:gd name="T13" fmla="*/ 2147483647 h 288"/>
                      <a:gd name="T14" fmla="*/ 0 w 165"/>
                      <a:gd name="T15" fmla="*/ 2147483647 h 288"/>
                      <a:gd name="T16" fmla="*/ 2147483647 w 165"/>
                      <a:gd name="T17" fmla="*/ 2147483647 h 288"/>
                      <a:gd name="T18" fmla="*/ 2147483647 w 165"/>
                      <a:gd name="T19" fmla="*/ 2147483647 h 288"/>
                      <a:gd name="T20" fmla="*/ 2147483647 w 165"/>
                      <a:gd name="T21" fmla="*/ 2147483647 h 288"/>
                      <a:gd name="T22" fmla="*/ 2147483647 w 165"/>
                      <a:gd name="T23" fmla="*/ 2147483647 h 288"/>
                      <a:gd name="T24" fmla="*/ 2147483647 w 165"/>
                      <a:gd name="T25" fmla="*/ 2147483647 h 288"/>
                      <a:gd name="T26" fmla="*/ 2147483647 w 165"/>
                      <a:gd name="T27" fmla="*/ 2147483647 h 288"/>
                      <a:gd name="T28" fmla="*/ 2147483647 w 165"/>
                      <a:gd name="T29" fmla="*/ 2147483647 h 288"/>
                      <a:gd name="T30" fmla="*/ 2147483647 w 165"/>
                      <a:gd name="T31" fmla="*/ 2147483647 h 288"/>
                      <a:gd name="T32" fmla="*/ 2147483647 w 165"/>
                      <a:gd name="T33" fmla="*/ 2147483647 h 288"/>
                      <a:gd name="T34" fmla="*/ 2147483647 w 165"/>
                      <a:gd name="T35" fmla="*/ 2147483647 h 288"/>
                      <a:gd name="T36" fmla="*/ 2147483647 w 165"/>
                      <a:gd name="T37" fmla="*/ 2147483647 h 288"/>
                      <a:gd name="T38" fmla="*/ 2147483647 w 165"/>
                      <a:gd name="T39" fmla="*/ 2147483647 h 288"/>
                      <a:gd name="T40" fmla="*/ 2147483647 w 165"/>
                      <a:gd name="T41" fmla="*/ 2147483647 h 288"/>
                      <a:gd name="T42" fmla="*/ 2147483647 w 165"/>
                      <a:gd name="T43" fmla="*/ 0 h 288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165"/>
                      <a:gd name="T67" fmla="*/ 0 h 288"/>
                      <a:gd name="T68" fmla="*/ 165 w 165"/>
                      <a:gd name="T69" fmla="*/ 288 h 288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165" h="288">
                        <a:moveTo>
                          <a:pt x="34" y="0"/>
                        </a:moveTo>
                        <a:lnTo>
                          <a:pt x="17" y="9"/>
                        </a:lnTo>
                        <a:lnTo>
                          <a:pt x="17" y="26"/>
                        </a:lnTo>
                        <a:lnTo>
                          <a:pt x="34" y="61"/>
                        </a:lnTo>
                        <a:lnTo>
                          <a:pt x="26" y="70"/>
                        </a:lnTo>
                        <a:lnTo>
                          <a:pt x="26" y="113"/>
                        </a:lnTo>
                        <a:lnTo>
                          <a:pt x="8" y="139"/>
                        </a:lnTo>
                        <a:lnTo>
                          <a:pt x="0" y="174"/>
                        </a:lnTo>
                        <a:lnTo>
                          <a:pt x="17" y="183"/>
                        </a:lnTo>
                        <a:lnTo>
                          <a:pt x="34" y="235"/>
                        </a:lnTo>
                        <a:lnTo>
                          <a:pt x="8" y="244"/>
                        </a:lnTo>
                        <a:lnTo>
                          <a:pt x="26" y="288"/>
                        </a:lnTo>
                        <a:lnTo>
                          <a:pt x="87" y="261"/>
                        </a:lnTo>
                        <a:lnTo>
                          <a:pt x="104" y="261"/>
                        </a:lnTo>
                        <a:lnTo>
                          <a:pt x="130" y="235"/>
                        </a:lnTo>
                        <a:lnTo>
                          <a:pt x="148" y="227"/>
                        </a:lnTo>
                        <a:lnTo>
                          <a:pt x="130" y="192"/>
                        </a:lnTo>
                        <a:lnTo>
                          <a:pt x="139" y="166"/>
                        </a:lnTo>
                        <a:lnTo>
                          <a:pt x="165" y="139"/>
                        </a:lnTo>
                        <a:lnTo>
                          <a:pt x="165" y="70"/>
                        </a:lnTo>
                        <a:lnTo>
                          <a:pt x="34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5" name="Freeform 573"/>
                  <p:cNvSpPr>
                    <a:spLocks/>
                  </p:cNvSpPr>
                  <p:nvPr/>
                </p:nvSpPr>
                <p:spPr bwMode="auto">
                  <a:xfrm>
                    <a:off x="4735514" y="3594100"/>
                    <a:ext cx="346075" cy="220663"/>
                  </a:xfrm>
                  <a:custGeom>
                    <a:avLst/>
                    <a:gdLst>
                      <a:gd name="T0" fmla="*/ 2147483647 w 218"/>
                      <a:gd name="T1" fmla="*/ 2147483647 h 139"/>
                      <a:gd name="T2" fmla="*/ 2147483647 w 218"/>
                      <a:gd name="T3" fmla="*/ 2147483647 h 139"/>
                      <a:gd name="T4" fmla="*/ 2147483647 w 218"/>
                      <a:gd name="T5" fmla="*/ 2147483647 h 139"/>
                      <a:gd name="T6" fmla="*/ 2147483647 w 218"/>
                      <a:gd name="T7" fmla="*/ 0 h 139"/>
                      <a:gd name="T8" fmla="*/ 2147483647 w 218"/>
                      <a:gd name="T9" fmla="*/ 2147483647 h 139"/>
                      <a:gd name="T10" fmla="*/ 2147483647 w 218"/>
                      <a:gd name="T11" fmla="*/ 2147483647 h 139"/>
                      <a:gd name="T12" fmla="*/ 2147483647 w 218"/>
                      <a:gd name="T13" fmla="*/ 2147483647 h 139"/>
                      <a:gd name="T14" fmla="*/ 2147483647 w 218"/>
                      <a:gd name="T15" fmla="*/ 2147483647 h 139"/>
                      <a:gd name="T16" fmla="*/ 2147483647 w 218"/>
                      <a:gd name="T17" fmla="*/ 2147483647 h 139"/>
                      <a:gd name="T18" fmla="*/ 0 w 218"/>
                      <a:gd name="T19" fmla="*/ 2147483647 h 139"/>
                      <a:gd name="T20" fmla="*/ 0 w 218"/>
                      <a:gd name="T21" fmla="*/ 2147483647 h 139"/>
                      <a:gd name="T22" fmla="*/ 2147483647 w 218"/>
                      <a:gd name="T23" fmla="*/ 2147483647 h 139"/>
                      <a:gd name="T24" fmla="*/ 2147483647 w 218"/>
                      <a:gd name="T25" fmla="*/ 2147483647 h 139"/>
                      <a:gd name="T26" fmla="*/ 2147483647 w 218"/>
                      <a:gd name="T27" fmla="*/ 2147483647 h 139"/>
                      <a:gd name="T28" fmla="*/ 2147483647 w 218"/>
                      <a:gd name="T29" fmla="*/ 2147483647 h 139"/>
                      <a:gd name="T30" fmla="*/ 2147483647 w 218"/>
                      <a:gd name="T31" fmla="*/ 2147483647 h 139"/>
                      <a:gd name="T32" fmla="*/ 2147483647 w 218"/>
                      <a:gd name="T33" fmla="*/ 2147483647 h 139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218"/>
                      <a:gd name="T52" fmla="*/ 0 h 139"/>
                      <a:gd name="T53" fmla="*/ 218 w 218"/>
                      <a:gd name="T54" fmla="*/ 139 h 139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218" h="139">
                        <a:moveTo>
                          <a:pt x="218" y="95"/>
                        </a:moveTo>
                        <a:lnTo>
                          <a:pt x="183" y="52"/>
                        </a:lnTo>
                        <a:lnTo>
                          <a:pt x="166" y="52"/>
                        </a:lnTo>
                        <a:lnTo>
                          <a:pt x="140" y="0"/>
                        </a:lnTo>
                        <a:lnTo>
                          <a:pt x="122" y="8"/>
                        </a:lnTo>
                        <a:lnTo>
                          <a:pt x="96" y="34"/>
                        </a:lnTo>
                        <a:lnTo>
                          <a:pt x="79" y="34"/>
                        </a:lnTo>
                        <a:lnTo>
                          <a:pt x="18" y="61"/>
                        </a:lnTo>
                        <a:lnTo>
                          <a:pt x="0" y="104"/>
                        </a:lnTo>
                        <a:lnTo>
                          <a:pt x="0" y="122"/>
                        </a:lnTo>
                        <a:lnTo>
                          <a:pt x="35" y="139"/>
                        </a:lnTo>
                        <a:lnTo>
                          <a:pt x="70" y="130"/>
                        </a:lnTo>
                        <a:lnTo>
                          <a:pt x="96" y="104"/>
                        </a:lnTo>
                        <a:lnTo>
                          <a:pt x="122" y="122"/>
                        </a:lnTo>
                        <a:lnTo>
                          <a:pt x="209" y="104"/>
                        </a:lnTo>
                        <a:lnTo>
                          <a:pt x="218" y="9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6" name="Freeform 574"/>
                  <p:cNvSpPr>
                    <a:spLocks/>
                  </p:cNvSpPr>
                  <p:nvPr/>
                </p:nvSpPr>
                <p:spPr bwMode="auto">
                  <a:xfrm>
                    <a:off x="4735514" y="3594100"/>
                    <a:ext cx="346075" cy="220663"/>
                  </a:xfrm>
                  <a:custGeom>
                    <a:avLst/>
                    <a:gdLst>
                      <a:gd name="T0" fmla="*/ 2147483647 w 218"/>
                      <a:gd name="T1" fmla="*/ 2147483647 h 139"/>
                      <a:gd name="T2" fmla="*/ 2147483647 w 218"/>
                      <a:gd name="T3" fmla="*/ 2147483647 h 139"/>
                      <a:gd name="T4" fmla="*/ 2147483647 w 218"/>
                      <a:gd name="T5" fmla="*/ 2147483647 h 139"/>
                      <a:gd name="T6" fmla="*/ 2147483647 w 218"/>
                      <a:gd name="T7" fmla="*/ 0 h 139"/>
                      <a:gd name="T8" fmla="*/ 2147483647 w 218"/>
                      <a:gd name="T9" fmla="*/ 2147483647 h 139"/>
                      <a:gd name="T10" fmla="*/ 2147483647 w 218"/>
                      <a:gd name="T11" fmla="*/ 2147483647 h 139"/>
                      <a:gd name="T12" fmla="*/ 2147483647 w 218"/>
                      <a:gd name="T13" fmla="*/ 2147483647 h 139"/>
                      <a:gd name="T14" fmla="*/ 2147483647 w 218"/>
                      <a:gd name="T15" fmla="*/ 2147483647 h 139"/>
                      <a:gd name="T16" fmla="*/ 2147483647 w 218"/>
                      <a:gd name="T17" fmla="*/ 2147483647 h 139"/>
                      <a:gd name="T18" fmla="*/ 0 w 218"/>
                      <a:gd name="T19" fmla="*/ 2147483647 h 139"/>
                      <a:gd name="T20" fmla="*/ 0 w 218"/>
                      <a:gd name="T21" fmla="*/ 2147483647 h 139"/>
                      <a:gd name="T22" fmla="*/ 2147483647 w 218"/>
                      <a:gd name="T23" fmla="*/ 2147483647 h 139"/>
                      <a:gd name="T24" fmla="*/ 2147483647 w 218"/>
                      <a:gd name="T25" fmla="*/ 2147483647 h 139"/>
                      <a:gd name="T26" fmla="*/ 2147483647 w 218"/>
                      <a:gd name="T27" fmla="*/ 2147483647 h 139"/>
                      <a:gd name="T28" fmla="*/ 2147483647 w 218"/>
                      <a:gd name="T29" fmla="*/ 2147483647 h 139"/>
                      <a:gd name="T30" fmla="*/ 2147483647 w 218"/>
                      <a:gd name="T31" fmla="*/ 2147483647 h 139"/>
                      <a:gd name="T32" fmla="*/ 2147483647 w 218"/>
                      <a:gd name="T33" fmla="*/ 2147483647 h 139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218"/>
                      <a:gd name="T52" fmla="*/ 0 h 139"/>
                      <a:gd name="T53" fmla="*/ 218 w 218"/>
                      <a:gd name="T54" fmla="*/ 139 h 139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218" h="139">
                        <a:moveTo>
                          <a:pt x="218" y="95"/>
                        </a:moveTo>
                        <a:lnTo>
                          <a:pt x="183" y="52"/>
                        </a:lnTo>
                        <a:lnTo>
                          <a:pt x="166" y="52"/>
                        </a:lnTo>
                        <a:lnTo>
                          <a:pt x="140" y="0"/>
                        </a:lnTo>
                        <a:lnTo>
                          <a:pt x="122" y="8"/>
                        </a:lnTo>
                        <a:lnTo>
                          <a:pt x="96" y="34"/>
                        </a:lnTo>
                        <a:lnTo>
                          <a:pt x="79" y="34"/>
                        </a:lnTo>
                        <a:lnTo>
                          <a:pt x="18" y="61"/>
                        </a:lnTo>
                        <a:lnTo>
                          <a:pt x="0" y="104"/>
                        </a:lnTo>
                        <a:lnTo>
                          <a:pt x="0" y="122"/>
                        </a:lnTo>
                        <a:lnTo>
                          <a:pt x="35" y="139"/>
                        </a:lnTo>
                        <a:lnTo>
                          <a:pt x="70" y="130"/>
                        </a:lnTo>
                        <a:lnTo>
                          <a:pt x="96" y="104"/>
                        </a:lnTo>
                        <a:lnTo>
                          <a:pt x="122" y="122"/>
                        </a:lnTo>
                        <a:lnTo>
                          <a:pt x="209" y="104"/>
                        </a:lnTo>
                        <a:lnTo>
                          <a:pt x="218" y="9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7" name="Freeform 575"/>
                  <p:cNvSpPr>
                    <a:spLocks/>
                  </p:cNvSpPr>
                  <p:nvPr/>
                </p:nvSpPr>
                <p:spPr bwMode="auto">
                  <a:xfrm>
                    <a:off x="4583114" y="3524250"/>
                    <a:ext cx="207963" cy="331788"/>
                  </a:xfrm>
                  <a:custGeom>
                    <a:avLst/>
                    <a:gdLst>
                      <a:gd name="T0" fmla="*/ 2147483647 w 131"/>
                      <a:gd name="T1" fmla="*/ 0 h 209"/>
                      <a:gd name="T2" fmla="*/ 2147483647 w 131"/>
                      <a:gd name="T3" fmla="*/ 2147483647 h 209"/>
                      <a:gd name="T4" fmla="*/ 2147483647 w 131"/>
                      <a:gd name="T5" fmla="*/ 2147483647 h 209"/>
                      <a:gd name="T6" fmla="*/ 2147483647 w 131"/>
                      <a:gd name="T7" fmla="*/ 2147483647 h 209"/>
                      <a:gd name="T8" fmla="*/ 2147483647 w 131"/>
                      <a:gd name="T9" fmla="*/ 2147483647 h 209"/>
                      <a:gd name="T10" fmla="*/ 2147483647 w 131"/>
                      <a:gd name="T11" fmla="*/ 2147483647 h 209"/>
                      <a:gd name="T12" fmla="*/ 2147483647 w 131"/>
                      <a:gd name="T13" fmla="*/ 2147483647 h 209"/>
                      <a:gd name="T14" fmla="*/ 0 w 131"/>
                      <a:gd name="T15" fmla="*/ 2147483647 h 209"/>
                      <a:gd name="T16" fmla="*/ 0 w 131"/>
                      <a:gd name="T17" fmla="*/ 2147483647 h 209"/>
                      <a:gd name="T18" fmla="*/ 2147483647 w 131"/>
                      <a:gd name="T19" fmla="*/ 2147483647 h 209"/>
                      <a:gd name="T20" fmla="*/ 2147483647 w 131"/>
                      <a:gd name="T21" fmla="*/ 2147483647 h 209"/>
                      <a:gd name="T22" fmla="*/ 2147483647 w 131"/>
                      <a:gd name="T23" fmla="*/ 2147483647 h 209"/>
                      <a:gd name="T24" fmla="*/ 2147483647 w 131"/>
                      <a:gd name="T25" fmla="*/ 2147483647 h 209"/>
                      <a:gd name="T26" fmla="*/ 2147483647 w 131"/>
                      <a:gd name="T27" fmla="*/ 2147483647 h 209"/>
                      <a:gd name="T28" fmla="*/ 2147483647 w 131"/>
                      <a:gd name="T29" fmla="*/ 2147483647 h 209"/>
                      <a:gd name="T30" fmla="*/ 2147483647 w 131"/>
                      <a:gd name="T31" fmla="*/ 2147483647 h 209"/>
                      <a:gd name="T32" fmla="*/ 2147483647 w 131"/>
                      <a:gd name="T33" fmla="*/ 2147483647 h 209"/>
                      <a:gd name="T34" fmla="*/ 2147483647 w 131"/>
                      <a:gd name="T35" fmla="*/ 2147483647 h 209"/>
                      <a:gd name="T36" fmla="*/ 2147483647 w 131"/>
                      <a:gd name="T37" fmla="*/ 2147483647 h 209"/>
                      <a:gd name="T38" fmla="*/ 2147483647 w 131"/>
                      <a:gd name="T39" fmla="*/ 0 h 209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209"/>
                      <a:gd name="T62" fmla="*/ 131 w 131"/>
                      <a:gd name="T63" fmla="*/ 209 h 209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209">
                        <a:moveTo>
                          <a:pt x="105" y="0"/>
                        </a:moveTo>
                        <a:lnTo>
                          <a:pt x="88" y="17"/>
                        </a:lnTo>
                        <a:lnTo>
                          <a:pt x="88" y="26"/>
                        </a:lnTo>
                        <a:lnTo>
                          <a:pt x="79" y="52"/>
                        </a:lnTo>
                        <a:lnTo>
                          <a:pt x="53" y="122"/>
                        </a:lnTo>
                        <a:lnTo>
                          <a:pt x="26" y="113"/>
                        </a:lnTo>
                        <a:lnTo>
                          <a:pt x="9" y="122"/>
                        </a:lnTo>
                        <a:lnTo>
                          <a:pt x="0" y="157"/>
                        </a:lnTo>
                        <a:lnTo>
                          <a:pt x="0" y="166"/>
                        </a:lnTo>
                        <a:lnTo>
                          <a:pt x="18" y="166"/>
                        </a:lnTo>
                        <a:lnTo>
                          <a:pt x="18" y="200"/>
                        </a:lnTo>
                        <a:lnTo>
                          <a:pt x="79" y="200"/>
                        </a:lnTo>
                        <a:lnTo>
                          <a:pt x="122" y="209"/>
                        </a:lnTo>
                        <a:lnTo>
                          <a:pt x="131" y="183"/>
                        </a:lnTo>
                        <a:lnTo>
                          <a:pt x="96" y="166"/>
                        </a:lnTo>
                        <a:lnTo>
                          <a:pt x="96" y="148"/>
                        </a:lnTo>
                        <a:lnTo>
                          <a:pt x="114" y="105"/>
                        </a:lnTo>
                        <a:lnTo>
                          <a:pt x="96" y="61"/>
                        </a:lnTo>
                        <a:lnTo>
                          <a:pt x="122" y="52"/>
                        </a:lnTo>
                        <a:lnTo>
                          <a:pt x="105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8" name="Freeform 576"/>
                  <p:cNvSpPr>
                    <a:spLocks/>
                  </p:cNvSpPr>
                  <p:nvPr/>
                </p:nvSpPr>
                <p:spPr bwMode="auto">
                  <a:xfrm>
                    <a:off x="4583114" y="3524250"/>
                    <a:ext cx="207963" cy="331788"/>
                  </a:xfrm>
                  <a:custGeom>
                    <a:avLst/>
                    <a:gdLst>
                      <a:gd name="T0" fmla="*/ 2147483647 w 131"/>
                      <a:gd name="T1" fmla="*/ 0 h 209"/>
                      <a:gd name="T2" fmla="*/ 2147483647 w 131"/>
                      <a:gd name="T3" fmla="*/ 2147483647 h 209"/>
                      <a:gd name="T4" fmla="*/ 2147483647 w 131"/>
                      <a:gd name="T5" fmla="*/ 2147483647 h 209"/>
                      <a:gd name="T6" fmla="*/ 2147483647 w 131"/>
                      <a:gd name="T7" fmla="*/ 2147483647 h 209"/>
                      <a:gd name="T8" fmla="*/ 2147483647 w 131"/>
                      <a:gd name="T9" fmla="*/ 2147483647 h 209"/>
                      <a:gd name="T10" fmla="*/ 2147483647 w 131"/>
                      <a:gd name="T11" fmla="*/ 2147483647 h 209"/>
                      <a:gd name="T12" fmla="*/ 2147483647 w 131"/>
                      <a:gd name="T13" fmla="*/ 2147483647 h 209"/>
                      <a:gd name="T14" fmla="*/ 0 w 131"/>
                      <a:gd name="T15" fmla="*/ 2147483647 h 209"/>
                      <a:gd name="T16" fmla="*/ 0 w 131"/>
                      <a:gd name="T17" fmla="*/ 2147483647 h 209"/>
                      <a:gd name="T18" fmla="*/ 2147483647 w 131"/>
                      <a:gd name="T19" fmla="*/ 2147483647 h 209"/>
                      <a:gd name="T20" fmla="*/ 2147483647 w 131"/>
                      <a:gd name="T21" fmla="*/ 2147483647 h 209"/>
                      <a:gd name="T22" fmla="*/ 2147483647 w 131"/>
                      <a:gd name="T23" fmla="*/ 2147483647 h 209"/>
                      <a:gd name="T24" fmla="*/ 2147483647 w 131"/>
                      <a:gd name="T25" fmla="*/ 2147483647 h 209"/>
                      <a:gd name="T26" fmla="*/ 2147483647 w 131"/>
                      <a:gd name="T27" fmla="*/ 2147483647 h 209"/>
                      <a:gd name="T28" fmla="*/ 2147483647 w 131"/>
                      <a:gd name="T29" fmla="*/ 2147483647 h 209"/>
                      <a:gd name="T30" fmla="*/ 2147483647 w 131"/>
                      <a:gd name="T31" fmla="*/ 2147483647 h 209"/>
                      <a:gd name="T32" fmla="*/ 2147483647 w 131"/>
                      <a:gd name="T33" fmla="*/ 2147483647 h 209"/>
                      <a:gd name="T34" fmla="*/ 2147483647 w 131"/>
                      <a:gd name="T35" fmla="*/ 2147483647 h 209"/>
                      <a:gd name="T36" fmla="*/ 2147483647 w 131"/>
                      <a:gd name="T37" fmla="*/ 2147483647 h 209"/>
                      <a:gd name="T38" fmla="*/ 2147483647 w 131"/>
                      <a:gd name="T39" fmla="*/ 0 h 209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209"/>
                      <a:gd name="T62" fmla="*/ 131 w 131"/>
                      <a:gd name="T63" fmla="*/ 209 h 209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209">
                        <a:moveTo>
                          <a:pt x="105" y="0"/>
                        </a:moveTo>
                        <a:lnTo>
                          <a:pt x="88" y="17"/>
                        </a:lnTo>
                        <a:lnTo>
                          <a:pt x="88" y="26"/>
                        </a:lnTo>
                        <a:lnTo>
                          <a:pt x="79" y="52"/>
                        </a:lnTo>
                        <a:lnTo>
                          <a:pt x="53" y="122"/>
                        </a:lnTo>
                        <a:lnTo>
                          <a:pt x="26" y="113"/>
                        </a:lnTo>
                        <a:lnTo>
                          <a:pt x="9" y="122"/>
                        </a:lnTo>
                        <a:lnTo>
                          <a:pt x="0" y="157"/>
                        </a:lnTo>
                        <a:lnTo>
                          <a:pt x="0" y="166"/>
                        </a:lnTo>
                        <a:lnTo>
                          <a:pt x="18" y="166"/>
                        </a:lnTo>
                        <a:lnTo>
                          <a:pt x="18" y="200"/>
                        </a:lnTo>
                        <a:lnTo>
                          <a:pt x="79" y="200"/>
                        </a:lnTo>
                        <a:lnTo>
                          <a:pt x="122" y="209"/>
                        </a:lnTo>
                        <a:lnTo>
                          <a:pt x="131" y="183"/>
                        </a:lnTo>
                        <a:lnTo>
                          <a:pt x="96" y="166"/>
                        </a:lnTo>
                        <a:lnTo>
                          <a:pt x="96" y="148"/>
                        </a:lnTo>
                        <a:lnTo>
                          <a:pt x="114" y="105"/>
                        </a:lnTo>
                        <a:lnTo>
                          <a:pt x="96" y="61"/>
                        </a:lnTo>
                        <a:lnTo>
                          <a:pt x="122" y="52"/>
                        </a:lnTo>
                        <a:lnTo>
                          <a:pt x="105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9" name="Freeform 577"/>
                  <p:cNvSpPr>
                    <a:spLocks/>
                  </p:cNvSpPr>
                  <p:nvPr/>
                </p:nvSpPr>
                <p:spPr bwMode="auto">
                  <a:xfrm>
                    <a:off x="4430714" y="3509963"/>
                    <a:ext cx="292100" cy="263525"/>
                  </a:xfrm>
                  <a:custGeom>
                    <a:avLst/>
                    <a:gdLst>
                      <a:gd name="T0" fmla="*/ 2147483647 w 184"/>
                      <a:gd name="T1" fmla="*/ 0 h 166"/>
                      <a:gd name="T2" fmla="*/ 2147483647 w 184"/>
                      <a:gd name="T3" fmla="*/ 2147483647 h 166"/>
                      <a:gd name="T4" fmla="*/ 2147483647 w 184"/>
                      <a:gd name="T5" fmla="*/ 2147483647 h 166"/>
                      <a:gd name="T6" fmla="*/ 2147483647 w 184"/>
                      <a:gd name="T7" fmla="*/ 2147483647 h 166"/>
                      <a:gd name="T8" fmla="*/ 2147483647 w 184"/>
                      <a:gd name="T9" fmla="*/ 2147483647 h 166"/>
                      <a:gd name="T10" fmla="*/ 2147483647 w 184"/>
                      <a:gd name="T11" fmla="*/ 0 h 166"/>
                      <a:gd name="T12" fmla="*/ 2147483647 w 184"/>
                      <a:gd name="T13" fmla="*/ 2147483647 h 166"/>
                      <a:gd name="T14" fmla="*/ 2147483647 w 184"/>
                      <a:gd name="T15" fmla="*/ 2147483647 h 166"/>
                      <a:gd name="T16" fmla="*/ 2147483647 w 184"/>
                      <a:gd name="T17" fmla="*/ 2147483647 h 166"/>
                      <a:gd name="T18" fmla="*/ 0 w 184"/>
                      <a:gd name="T19" fmla="*/ 2147483647 h 166"/>
                      <a:gd name="T20" fmla="*/ 0 w 184"/>
                      <a:gd name="T21" fmla="*/ 2147483647 h 166"/>
                      <a:gd name="T22" fmla="*/ 2147483647 w 184"/>
                      <a:gd name="T23" fmla="*/ 2147483647 h 166"/>
                      <a:gd name="T24" fmla="*/ 2147483647 w 184"/>
                      <a:gd name="T25" fmla="*/ 2147483647 h 166"/>
                      <a:gd name="T26" fmla="*/ 2147483647 w 184"/>
                      <a:gd name="T27" fmla="*/ 2147483647 h 166"/>
                      <a:gd name="T28" fmla="*/ 2147483647 w 184"/>
                      <a:gd name="T29" fmla="*/ 2147483647 h 166"/>
                      <a:gd name="T30" fmla="*/ 2147483647 w 184"/>
                      <a:gd name="T31" fmla="*/ 2147483647 h 166"/>
                      <a:gd name="T32" fmla="*/ 2147483647 w 184"/>
                      <a:gd name="T33" fmla="*/ 2147483647 h 166"/>
                      <a:gd name="T34" fmla="*/ 2147483647 w 184"/>
                      <a:gd name="T35" fmla="*/ 2147483647 h 166"/>
                      <a:gd name="T36" fmla="*/ 2147483647 w 184"/>
                      <a:gd name="T37" fmla="*/ 2147483647 h 166"/>
                      <a:gd name="T38" fmla="*/ 2147483647 w 184"/>
                      <a:gd name="T39" fmla="*/ 2147483647 h 166"/>
                      <a:gd name="T40" fmla="*/ 2147483647 w 184"/>
                      <a:gd name="T41" fmla="*/ 2147483647 h 166"/>
                      <a:gd name="T42" fmla="*/ 2147483647 w 184"/>
                      <a:gd name="T43" fmla="*/ 2147483647 h 166"/>
                      <a:gd name="T44" fmla="*/ 2147483647 w 184"/>
                      <a:gd name="T45" fmla="*/ 0 h 16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184"/>
                      <a:gd name="T70" fmla="*/ 0 h 166"/>
                      <a:gd name="T71" fmla="*/ 184 w 184"/>
                      <a:gd name="T72" fmla="*/ 166 h 166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184" h="166">
                        <a:moveTo>
                          <a:pt x="140" y="0"/>
                        </a:moveTo>
                        <a:lnTo>
                          <a:pt x="122" y="9"/>
                        </a:lnTo>
                        <a:lnTo>
                          <a:pt x="105" y="26"/>
                        </a:lnTo>
                        <a:lnTo>
                          <a:pt x="88" y="9"/>
                        </a:lnTo>
                        <a:lnTo>
                          <a:pt x="79" y="18"/>
                        </a:lnTo>
                        <a:lnTo>
                          <a:pt x="44" y="0"/>
                        </a:lnTo>
                        <a:lnTo>
                          <a:pt x="27" y="9"/>
                        </a:lnTo>
                        <a:lnTo>
                          <a:pt x="18" y="35"/>
                        </a:lnTo>
                        <a:lnTo>
                          <a:pt x="18" y="53"/>
                        </a:lnTo>
                        <a:lnTo>
                          <a:pt x="0" y="96"/>
                        </a:lnTo>
                        <a:lnTo>
                          <a:pt x="0" y="131"/>
                        </a:lnTo>
                        <a:lnTo>
                          <a:pt x="35" y="140"/>
                        </a:lnTo>
                        <a:lnTo>
                          <a:pt x="53" y="166"/>
                        </a:lnTo>
                        <a:lnTo>
                          <a:pt x="96" y="166"/>
                        </a:lnTo>
                        <a:lnTo>
                          <a:pt x="105" y="131"/>
                        </a:lnTo>
                        <a:lnTo>
                          <a:pt x="122" y="122"/>
                        </a:lnTo>
                        <a:lnTo>
                          <a:pt x="149" y="131"/>
                        </a:lnTo>
                        <a:lnTo>
                          <a:pt x="175" y="61"/>
                        </a:lnTo>
                        <a:lnTo>
                          <a:pt x="184" y="35"/>
                        </a:lnTo>
                        <a:lnTo>
                          <a:pt x="184" y="26"/>
                        </a:lnTo>
                        <a:lnTo>
                          <a:pt x="175" y="9"/>
                        </a:lnTo>
                        <a:lnTo>
                          <a:pt x="157" y="18"/>
                        </a:lnTo>
                        <a:lnTo>
                          <a:pt x="14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0" name="Freeform 578"/>
                  <p:cNvSpPr>
                    <a:spLocks/>
                  </p:cNvSpPr>
                  <p:nvPr/>
                </p:nvSpPr>
                <p:spPr bwMode="auto">
                  <a:xfrm>
                    <a:off x="4430714" y="3509963"/>
                    <a:ext cx="292100" cy="263525"/>
                  </a:xfrm>
                  <a:custGeom>
                    <a:avLst/>
                    <a:gdLst>
                      <a:gd name="T0" fmla="*/ 2147483647 w 184"/>
                      <a:gd name="T1" fmla="*/ 0 h 166"/>
                      <a:gd name="T2" fmla="*/ 2147483647 w 184"/>
                      <a:gd name="T3" fmla="*/ 2147483647 h 166"/>
                      <a:gd name="T4" fmla="*/ 2147483647 w 184"/>
                      <a:gd name="T5" fmla="*/ 2147483647 h 166"/>
                      <a:gd name="T6" fmla="*/ 2147483647 w 184"/>
                      <a:gd name="T7" fmla="*/ 2147483647 h 166"/>
                      <a:gd name="T8" fmla="*/ 2147483647 w 184"/>
                      <a:gd name="T9" fmla="*/ 2147483647 h 166"/>
                      <a:gd name="T10" fmla="*/ 2147483647 w 184"/>
                      <a:gd name="T11" fmla="*/ 0 h 166"/>
                      <a:gd name="T12" fmla="*/ 2147483647 w 184"/>
                      <a:gd name="T13" fmla="*/ 2147483647 h 166"/>
                      <a:gd name="T14" fmla="*/ 2147483647 w 184"/>
                      <a:gd name="T15" fmla="*/ 2147483647 h 166"/>
                      <a:gd name="T16" fmla="*/ 2147483647 w 184"/>
                      <a:gd name="T17" fmla="*/ 2147483647 h 166"/>
                      <a:gd name="T18" fmla="*/ 0 w 184"/>
                      <a:gd name="T19" fmla="*/ 2147483647 h 166"/>
                      <a:gd name="T20" fmla="*/ 0 w 184"/>
                      <a:gd name="T21" fmla="*/ 2147483647 h 166"/>
                      <a:gd name="T22" fmla="*/ 2147483647 w 184"/>
                      <a:gd name="T23" fmla="*/ 2147483647 h 166"/>
                      <a:gd name="T24" fmla="*/ 2147483647 w 184"/>
                      <a:gd name="T25" fmla="*/ 2147483647 h 166"/>
                      <a:gd name="T26" fmla="*/ 2147483647 w 184"/>
                      <a:gd name="T27" fmla="*/ 2147483647 h 166"/>
                      <a:gd name="T28" fmla="*/ 2147483647 w 184"/>
                      <a:gd name="T29" fmla="*/ 2147483647 h 166"/>
                      <a:gd name="T30" fmla="*/ 2147483647 w 184"/>
                      <a:gd name="T31" fmla="*/ 2147483647 h 166"/>
                      <a:gd name="T32" fmla="*/ 2147483647 w 184"/>
                      <a:gd name="T33" fmla="*/ 2147483647 h 166"/>
                      <a:gd name="T34" fmla="*/ 2147483647 w 184"/>
                      <a:gd name="T35" fmla="*/ 2147483647 h 166"/>
                      <a:gd name="T36" fmla="*/ 2147483647 w 184"/>
                      <a:gd name="T37" fmla="*/ 2147483647 h 166"/>
                      <a:gd name="T38" fmla="*/ 2147483647 w 184"/>
                      <a:gd name="T39" fmla="*/ 2147483647 h 166"/>
                      <a:gd name="T40" fmla="*/ 2147483647 w 184"/>
                      <a:gd name="T41" fmla="*/ 2147483647 h 166"/>
                      <a:gd name="T42" fmla="*/ 2147483647 w 184"/>
                      <a:gd name="T43" fmla="*/ 2147483647 h 166"/>
                      <a:gd name="T44" fmla="*/ 2147483647 w 184"/>
                      <a:gd name="T45" fmla="*/ 0 h 16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184"/>
                      <a:gd name="T70" fmla="*/ 0 h 166"/>
                      <a:gd name="T71" fmla="*/ 184 w 184"/>
                      <a:gd name="T72" fmla="*/ 166 h 166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184" h="166">
                        <a:moveTo>
                          <a:pt x="140" y="0"/>
                        </a:moveTo>
                        <a:lnTo>
                          <a:pt x="122" y="9"/>
                        </a:lnTo>
                        <a:lnTo>
                          <a:pt x="105" y="26"/>
                        </a:lnTo>
                        <a:lnTo>
                          <a:pt x="88" y="9"/>
                        </a:lnTo>
                        <a:lnTo>
                          <a:pt x="79" y="18"/>
                        </a:lnTo>
                        <a:lnTo>
                          <a:pt x="44" y="0"/>
                        </a:lnTo>
                        <a:lnTo>
                          <a:pt x="27" y="9"/>
                        </a:lnTo>
                        <a:lnTo>
                          <a:pt x="18" y="35"/>
                        </a:lnTo>
                        <a:lnTo>
                          <a:pt x="18" y="53"/>
                        </a:lnTo>
                        <a:lnTo>
                          <a:pt x="0" y="96"/>
                        </a:lnTo>
                        <a:lnTo>
                          <a:pt x="0" y="131"/>
                        </a:lnTo>
                        <a:lnTo>
                          <a:pt x="35" y="140"/>
                        </a:lnTo>
                        <a:lnTo>
                          <a:pt x="53" y="166"/>
                        </a:lnTo>
                        <a:lnTo>
                          <a:pt x="96" y="166"/>
                        </a:lnTo>
                        <a:lnTo>
                          <a:pt x="105" y="131"/>
                        </a:lnTo>
                        <a:lnTo>
                          <a:pt x="122" y="122"/>
                        </a:lnTo>
                        <a:lnTo>
                          <a:pt x="149" y="131"/>
                        </a:lnTo>
                        <a:lnTo>
                          <a:pt x="175" y="61"/>
                        </a:lnTo>
                        <a:lnTo>
                          <a:pt x="184" y="35"/>
                        </a:lnTo>
                        <a:lnTo>
                          <a:pt x="184" y="26"/>
                        </a:lnTo>
                        <a:lnTo>
                          <a:pt x="175" y="9"/>
                        </a:lnTo>
                        <a:lnTo>
                          <a:pt x="157" y="18"/>
                        </a:lnTo>
                        <a:lnTo>
                          <a:pt x="140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1" name="Freeform 579"/>
                  <p:cNvSpPr>
                    <a:spLocks/>
                  </p:cNvSpPr>
                  <p:nvPr/>
                </p:nvSpPr>
                <p:spPr bwMode="auto">
                  <a:xfrm>
                    <a:off x="4389439" y="3551238"/>
                    <a:ext cx="69850" cy="166688"/>
                  </a:xfrm>
                  <a:custGeom>
                    <a:avLst/>
                    <a:gdLst>
                      <a:gd name="T0" fmla="*/ 2147483647 w 44"/>
                      <a:gd name="T1" fmla="*/ 2147483647 h 105"/>
                      <a:gd name="T2" fmla="*/ 0 w 44"/>
                      <a:gd name="T3" fmla="*/ 2147483647 h 105"/>
                      <a:gd name="T4" fmla="*/ 2147483647 w 44"/>
                      <a:gd name="T5" fmla="*/ 2147483647 h 105"/>
                      <a:gd name="T6" fmla="*/ 2147483647 w 44"/>
                      <a:gd name="T7" fmla="*/ 2147483647 h 105"/>
                      <a:gd name="T8" fmla="*/ 2147483647 w 44"/>
                      <a:gd name="T9" fmla="*/ 2147483647 h 105"/>
                      <a:gd name="T10" fmla="*/ 2147483647 w 44"/>
                      <a:gd name="T11" fmla="*/ 2147483647 h 105"/>
                      <a:gd name="T12" fmla="*/ 2147483647 w 44"/>
                      <a:gd name="T13" fmla="*/ 2147483647 h 105"/>
                      <a:gd name="T14" fmla="*/ 2147483647 w 44"/>
                      <a:gd name="T15" fmla="*/ 2147483647 h 105"/>
                      <a:gd name="T16" fmla="*/ 2147483647 w 44"/>
                      <a:gd name="T17" fmla="*/ 0 h 105"/>
                      <a:gd name="T18" fmla="*/ 2147483647 w 44"/>
                      <a:gd name="T19" fmla="*/ 2147483647 h 105"/>
                      <a:gd name="T20" fmla="*/ 2147483647 w 44"/>
                      <a:gd name="T21" fmla="*/ 2147483647 h 105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44"/>
                      <a:gd name="T34" fmla="*/ 0 h 105"/>
                      <a:gd name="T35" fmla="*/ 44 w 44"/>
                      <a:gd name="T36" fmla="*/ 105 h 105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44" h="105">
                        <a:moveTo>
                          <a:pt x="9" y="18"/>
                        </a:moveTo>
                        <a:lnTo>
                          <a:pt x="0" y="27"/>
                        </a:lnTo>
                        <a:lnTo>
                          <a:pt x="9" y="61"/>
                        </a:lnTo>
                        <a:lnTo>
                          <a:pt x="9" y="105"/>
                        </a:lnTo>
                        <a:lnTo>
                          <a:pt x="26" y="105"/>
                        </a:lnTo>
                        <a:lnTo>
                          <a:pt x="26" y="70"/>
                        </a:lnTo>
                        <a:lnTo>
                          <a:pt x="44" y="27"/>
                        </a:lnTo>
                        <a:lnTo>
                          <a:pt x="44" y="9"/>
                        </a:lnTo>
                        <a:lnTo>
                          <a:pt x="26" y="0"/>
                        </a:lnTo>
                        <a:lnTo>
                          <a:pt x="18" y="18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2" name="Freeform 580"/>
                  <p:cNvSpPr>
                    <a:spLocks/>
                  </p:cNvSpPr>
                  <p:nvPr/>
                </p:nvSpPr>
                <p:spPr bwMode="auto">
                  <a:xfrm>
                    <a:off x="4389439" y="3551238"/>
                    <a:ext cx="69850" cy="166688"/>
                  </a:xfrm>
                  <a:custGeom>
                    <a:avLst/>
                    <a:gdLst>
                      <a:gd name="T0" fmla="*/ 2147483647 w 44"/>
                      <a:gd name="T1" fmla="*/ 2147483647 h 105"/>
                      <a:gd name="T2" fmla="*/ 0 w 44"/>
                      <a:gd name="T3" fmla="*/ 2147483647 h 105"/>
                      <a:gd name="T4" fmla="*/ 2147483647 w 44"/>
                      <a:gd name="T5" fmla="*/ 2147483647 h 105"/>
                      <a:gd name="T6" fmla="*/ 2147483647 w 44"/>
                      <a:gd name="T7" fmla="*/ 2147483647 h 105"/>
                      <a:gd name="T8" fmla="*/ 2147483647 w 44"/>
                      <a:gd name="T9" fmla="*/ 2147483647 h 105"/>
                      <a:gd name="T10" fmla="*/ 2147483647 w 44"/>
                      <a:gd name="T11" fmla="*/ 2147483647 h 105"/>
                      <a:gd name="T12" fmla="*/ 2147483647 w 44"/>
                      <a:gd name="T13" fmla="*/ 2147483647 h 105"/>
                      <a:gd name="T14" fmla="*/ 2147483647 w 44"/>
                      <a:gd name="T15" fmla="*/ 2147483647 h 105"/>
                      <a:gd name="T16" fmla="*/ 2147483647 w 44"/>
                      <a:gd name="T17" fmla="*/ 0 h 105"/>
                      <a:gd name="T18" fmla="*/ 2147483647 w 44"/>
                      <a:gd name="T19" fmla="*/ 2147483647 h 105"/>
                      <a:gd name="T20" fmla="*/ 2147483647 w 44"/>
                      <a:gd name="T21" fmla="*/ 2147483647 h 105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44"/>
                      <a:gd name="T34" fmla="*/ 0 h 105"/>
                      <a:gd name="T35" fmla="*/ 44 w 44"/>
                      <a:gd name="T36" fmla="*/ 105 h 105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44" h="105">
                        <a:moveTo>
                          <a:pt x="9" y="18"/>
                        </a:moveTo>
                        <a:lnTo>
                          <a:pt x="0" y="27"/>
                        </a:lnTo>
                        <a:lnTo>
                          <a:pt x="9" y="61"/>
                        </a:lnTo>
                        <a:lnTo>
                          <a:pt x="9" y="105"/>
                        </a:lnTo>
                        <a:lnTo>
                          <a:pt x="26" y="105"/>
                        </a:lnTo>
                        <a:lnTo>
                          <a:pt x="26" y="70"/>
                        </a:lnTo>
                        <a:lnTo>
                          <a:pt x="44" y="27"/>
                        </a:lnTo>
                        <a:lnTo>
                          <a:pt x="44" y="9"/>
                        </a:lnTo>
                        <a:lnTo>
                          <a:pt x="26" y="0"/>
                        </a:lnTo>
                        <a:lnTo>
                          <a:pt x="18" y="18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3" name="Freeform 581"/>
                  <p:cNvSpPr>
                    <a:spLocks/>
                  </p:cNvSpPr>
                  <p:nvPr/>
                </p:nvSpPr>
                <p:spPr bwMode="auto">
                  <a:xfrm>
                    <a:off x="4348164" y="3594100"/>
                    <a:ext cx="55563" cy="138113"/>
                  </a:xfrm>
                  <a:custGeom>
                    <a:avLst/>
                    <a:gdLst>
                      <a:gd name="T0" fmla="*/ 2147483647 w 35"/>
                      <a:gd name="T1" fmla="*/ 2147483647 h 87"/>
                      <a:gd name="T2" fmla="*/ 2147483647 w 35"/>
                      <a:gd name="T3" fmla="*/ 0 h 87"/>
                      <a:gd name="T4" fmla="*/ 0 w 35"/>
                      <a:gd name="T5" fmla="*/ 0 h 87"/>
                      <a:gd name="T6" fmla="*/ 2147483647 w 35"/>
                      <a:gd name="T7" fmla="*/ 2147483647 h 87"/>
                      <a:gd name="T8" fmla="*/ 2147483647 w 35"/>
                      <a:gd name="T9" fmla="*/ 2147483647 h 87"/>
                      <a:gd name="T10" fmla="*/ 2147483647 w 35"/>
                      <a:gd name="T11" fmla="*/ 2147483647 h 87"/>
                      <a:gd name="T12" fmla="*/ 2147483647 w 35"/>
                      <a:gd name="T13" fmla="*/ 2147483647 h 87"/>
                      <a:gd name="T14" fmla="*/ 2147483647 w 35"/>
                      <a:gd name="T15" fmla="*/ 2147483647 h 8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35"/>
                      <a:gd name="T25" fmla="*/ 0 h 87"/>
                      <a:gd name="T26" fmla="*/ 35 w 35"/>
                      <a:gd name="T27" fmla="*/ 87 h 8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35" h="87">
                        <a:moveTo>
                          <a:pt x="35" y="34"/>
                        </a:move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18" y="34"/>
                        </a:lnTo>
                        <a:lnTo>
                          <a:pt x="18" y="61"/>
                        </a:lnTo>
                        <a:lnTo>
                          <a:pt x="26" y="87"/>
                        </a:lnTo>
                        <a:lnTo>
                          <a:pt x="35" y="78"/>
                        </a:lnTo>
                        <a:lnTo>
                          <a:pt x="35" y="3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4" name="Freeform 582"/>
                  <p:cNvSpPr>
                    <a:spLocks/>
                  </p:cNvSpPr>
                  <p:nvPr/>
                </p:nvSpPr>
                <p:spPr bwMode="auto">
                  <a:xfrm>
                    <a:off x="4348164" y="3594100"/>
                    <a:ext cx="55563" cy="138113"/>
                  </a:xfrm>
                  <a:custGeom>
                    <a:avLst/>
                    <a:gdLst>
                      <a:gd name="T0" fmla="*/ 2147483647 w 35"/>
                      <a:gd name="T1" fmla="*/ 2147483647 h 87"/>
                      <a:gd name="T2" fmla="*/ 2147483647 w 35"/>
                      <a:gd name="T3" fmla="*/ 0 h 87"/>
                      <a:gd name="T4" fmla="*/ 0 w 35"/>
                      <a:gd name="T5" fmla="*/ 0 h 87"/>
                      <a:gd name="T6" fmla="*/ 2147483647 w 35"/>
                      <a:gd name="T7" fmla="*/ 2147483647 h 87"/>
                      <a:gd name="T8" fmla="*/ 2147483647 w 35"/>
                      <a:gd name="T9" fmla="*/ 2147483647 h 87"/>
                      <a:gd name="T10" fmla="*/ 2147483647 w 35"/>
                      <a:gd name="T11" fmla="*/ 2147483647 h 87"/>
                      <a:gd name="T12" fmla="*/ 2147483647 w 35"/>
                      <a:gd name="T13" fmla="*/ 2147483647 h 87"/>
                      <a:gd name="T14" fmla="*/ 2147483647 w 35"/>
                      <a:gd name="T15" fmla="*/ 2147483647 h 8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35"/>
                      <a:gd name="T25" fmla="*/ 0 h 87"/>
                      <a:gd name="T26" fmla="*/ 35 w 35"/>
                      <a:gd name="T27" fmla="*/ 87 h 8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35" h="87">
                        <a:moveTo>
                          <a:pt x="35" y="34"/>
                        </a:move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18" y="34"/>
                        </a:lnTo>
                        <a:lnTo>
                          <a:pt x="18" y="61"/>
                        </a:lnTo>
                        <a:lnTo>
                          <a:pt x="26" y="87"/>
                        </a:lnTo>
                        <a:lnTo>
                          <a:pt x="35" y="78"/>
                        </a:lnTo>
                        <a:lnTo>
                          <a:pt x="35" y="3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5" name="Freeform 583"/>
                  <p:cNvSpPr>
                    <a:spLocks/>
                  </p:cNvSpPr>
                  <p:nvPr/>
                </p:nvSpPr>
                <p:spPr bwMode="auto">
                  <a:xfrm>
                    <a:off x="4265614" y="3594100"/>
                    <a:ext cx="123825" cy="179388"/>
                  </a:xfrm>
                  <a:custGeom>
                    <a:avLst/>
                    <a:gdLst>
                      <a:gd name="T0" fmla="*/ 2147483647 w 78"/>
                      <a:gd name="T1" fmla="*/ 0 h 113"/>
                      <a:gd name="T2" fmla="*/ 2147483647 w 78"/>
                      <a:gd name="T3" fmla="*/ 0 h 113"/>
                      <a:gd name="T4" fmla="*/ 2147483647 w 78"/>
                      <a:gd name="T5" fmla="*/ 2147483647 h 113"/>
                      <a:gd name="T6" fmla="*/ 2147483647 w 78"/>
                      <a:gd name="T7" fmla="*/ 2147483647 h 113"/>
                      <a:gd name="T8" fmla="*/ 0 w 78"/>
                      <a:gd name="T9" fmla="*/ 2147483647 h 113"/>
                      <a:gd name="T10" fmla="*/ 2147483647 w 78"/>
                      <a:gd name="T11" fmla="*/ 2147483647 h 113"/>
                      <a:gd name="T12" fmla="*/ 2147483647 w 78"/>
                      <a:gd name="T13" fmla="*/ 2147483647 h 113"/>
                      <a:gd name="T14" fmla="*/ 2147483647 w 78"/>
                      <a:gd name="T15" fmla="*/ 2147483647 h 113"/>
                      <a:gd name="T16" fmla="*/ 2147483647 w 78"/>
                      <a:gd name="T17" fmla="*/ 2147483647 h 113"/>
                      <a:gd name="T18" fmla="*/ 2147483647 w 78"/>
                      <a:gd name="T19" fmla="*/ 2147483647 h 113"/>
                      <a:gd name="T20" fmla="*/ 2147483647 w 78"/>
                      <a:gd name="T21" fmla="*/ 0 h 113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78"/>
                      <a:gd name="T34" fmla="*/ 0 h 113"/>
                      <a:gd name="T35" fmla="*/ 78 w 78"/>
                      <a:gd name="T36" fmla="*/ 113 h 113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78" h="113">
                        <a:moveTo>
                          <a:pt x="52" y="0"/>
                        </a:moveTo>
                        <a:lnTo>
                          <a:pt x="9" y="0"/>
                        </a:lnTo>
                        <a:lnTo>
                          <a:pt x="9" y="17"/>
                        </a:lnTo>
                        <a:lnTo>
                          <a:pt x="17" y="43"/>
                        </a:lnTo>
                        <a:lnTo>
                          <a:pt x="0" y="78"/>
                        </a:lnTo>
                        <a:lnTo>
                          <a:pt x="9" y="95"/>
                        </a:lnTo>
                        <a:lnTo>
                          <a:pt x="9" y="113"/>
                        </a:lnTo>
                        <a:lnTo>
                          <a:pt x="78" y="87"/>
                        </a:lnTo>
                        <a:lnTo>
                          <a:pt x="70" y="61"/>
                        </a:lnTo>
                        <a:lnTo>
                          <a:pt x="70" y="34"/>
                        </a:lnTo>
                        <a:lnTo>
                          <a:pt x="52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6" name="Freeform 584"/>
                  <p:cNvSpPr>
                    <a:spLocks/>
                  </p:cNvSpPr>
                  <p:nvPr/>
                </p:nvSpPr>
                <p:spPr bwMode="auto">
                  <a:xfrm>
                    <a:off x="4265614" y="3594100"/>
                    <a:ext cx="123825" cy="179388"/>
                  </a:xfrm>
                  <a:custGeom>
                    <a:avLst/>
                    <a:gdLst>
                      <a:gd name="T0" fmla="*/ 2147483647 w 78"/>
                      <a:gd name="T1" fmla="*/ 0 h 113"/>
                      <a:gd name="T2" fmla="*/ 2147483647 w 78"/>
                      <a:gd name="T3" fmla="*/ 0 h 113"/>
                      <a:gd name="T4" fmla="*/ 2147483647 w 78"/>
                      <a:gd name="T5" fmla="*/ 2147483647 h 113"/>
                      <a:gd name="T6" fmla="*/ 2147483647 w 78"/>
                      <a:gd name="T7" fmla="*/ 2147483647 h 113"/>
                      <a:gd name="T8" fmla="*/ 0 w 78"/>
                      <a:gd name="T9" fmla="*/ 2147483647 h 113"/>
                      <a:gd name="T10" fmla="*/ 2147483647 w 78"/>
                      <a:gd name="T11" fmla="*/ 2147483647 h 113"/>
                      <a:gd name="T12" fmla="*/ 2147483647 w 78"/>
                      <a:gd name="T13" fmla="*/ 2147483647 h 113"/>
                      <a:gd name="T14" fmla="*/ 2147483647 w 78"/>
                      <a:gd name="T15" fmla="*/ 2147483647 h 113"/>
                      <a:gd name="T16" fmla="*/ 2147483647 w 78"/>
                      <a:gd name="T17" fmla="*/ 2147483647 h 113"/>
                      <a:gd name="T18" fmla="*/ 2147483647 w 78"/>
                      <a:gd name="T19" fmla="*/ 2147483647 h 113"/>
                      <a:gd name="T20" fmla="*/ 2147483647 w 78"/>
                      <a:gd name="T21" fmla="*/ 0 h 113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78"/>
                      <a:gd name="T34" fmla="*/ 0 h 113"/>
                      <a:gd name="T35" fmla="*/ 78 w 78"/>
                      <a:gd name="T36" fmla="*/ 113 h 113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78" h="113">
                        <a:moveTo>
                          <a:pt x="52" y="0"/>
                        </a:moveTo>
                        <a:lnTo>
                          <a:pt x="9" y="0"/>
                        </a:lnTo>
                        <a:lnTo>
                          <a:pt x="9" y="17"/>
                        </a:lnTo>
                        <a:lnTo>
                          <a:pt x="17" y="43"/>
                        </a:lnTo>
                        <a:lnTo>
                          <a:pt x="0" y="78"/>
                        </a:lnTo>
                        <a:lnTo>
                          <a:pt x="9" y="95"/>
                        </a:lnTo>
                        <a:lnTo>
                          <a:pt x="9" y="113"/>
                        </a:lnTo>
                        <a:lnTo>
                          <a:pt x="78" y="87"/>
                        </a:lnTo>
                        <a:lnTo>
                          <a:pt x="70" y="61"/>
                        </a:lnTo>
                        <a:lnTo>
                          <a:pt x="70" y="34"/>
                        </a:lnTo>
                        <a:lnTo>
                          <a:pt x="52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7" name="Freeform 585"/>
                  <p:cNvSpPr>
                    <a:spLocks/>
                  </p:cNvSpPr>
                  <p:nvPr/>
                </p:nvSpPr>
                <p:spPr bwMode="auto">
                  <a:xfrm>
                    <a:off x="4002089" y="2873375"/>
                    <a:ext cx="331788" cy="236538"/>
                  </a:xfrm>
                  <a:custGeom>
                    <a:avLst/>
                    <a:gdLst>
                      <a:gd name="T0" fmla="*/ 2147483647 w 209"/>
                      <a:gd name="T1" fmla="*/ 2147483647 h 149"/>
                      <a:gd name="T2" fmla="*/ 2147483647 w 209"/>
                      <a:gd name="T3" fmla="*/ 0 h 149"/>
                      <a:gd name="T4" fmla="*/ 2147483647 w 209"/>
                      <a:gd name="T5" fmla="*/ 0 h 149"/>
                      <a:gd name="T6" fmla="*/ 2147483647 w 209"/>
                      <a:gd name="T7" fmla="*/ 0 h 149"/>
                      <a:gd name="T8" fmla="*/ 2147483647 w 209"/>
                      <a:gd name="T9" fmla="*/ 2147483647 h 149"/>
                      <a:gd name="T10" fmla="*/ 2147483647 w 209"/>
                      <a:gd name="T11" fmla="*/ 2147483647 h 149"/>
                      <a:gd name="T12" fmla="*/ 2147483647 w 209"/>
                      <a:gd name="T13" fmla="*/ 2147483647 h 149"/>
                      <a:gd name="T14" fmla="*/ 2147483647 w 209"/>
                      <a:gd name="T15" fmla="*/ 2147483647 h 149"/>
                      <a:gd name="T16" fmla="*/ 2147483647 w 209"/>
                      <a:gd name="T17" fmla="*/ 2147483647 h 149"/>
                      <a:gd name="T18" fmla="*/ 2147483647 w 209"/>
                      <a:gd name="T19" fmla="*/ 2147483647 h 149"/>
                      <a:gd name="T20" fmla="*/ 2147483647 w 209"/>
                      <a:gd name="T21" fmla="*/ 2147483647 h 149"/>
                      <a:gd name="T22" fmla="*/ 0 w 209"/>
                      <a:gd name="T23" fmla="*/ 2147483647 h 149"/>
                      <a:gd name="T24" fmla="*/ 2147483647 w 209"/>
                      <a:gd name="T25" fmla="*/ 2147483647 h 149"/>
                      <a:gd name="T26" fmla="*/ 2147483647 w 209"/>
                      <a:gd name="T27" fmla="*/ 2147483647 h 149"/>
                      <a:gd name="T28" fmla="*/ 2147483647 w 209"/>
                      <a:gd name="T29" fmla="*/ 2147483647 h 149"/>
                      <a:gd name="T30" fmla="*/ 2147483647 w 209"/>
                      <a:gd name="T31" fmla="*/ 2147483647 h 149"/>
                      <a:gd name="T32" fmla="*/ 2147483647 w 209"/>
                      <a:gd name="T33" fmla="*/ 2147483647 h 149"/>
                      <a:gd name="T34" fmla="*/ 2147483647 w 209"/>
                      <a:gd name="T35" fmla="*/ 2147483647 h 149"/>
                      <a:gd name="T36" fmla="*/ 2147483647 w 209"/>
                      <a:gd name="T37" fmla="*/ 2147483647 h 149"/>
                      <a:gd name="T38" fmla="*/ 2147483647 w 209"/>
                      <a:gd name="T39" fmla="*/ 2147483647 h 149"/>
                      <a:gd name="T40" fmla="*/ 2147483647 w 209"/>
                      <a:gd name="T41" fmla="*/ 2147483647 h 149"/>
                      <a:gd name="T42" fmla="*/ 2147483647 w 209"/>
                      <a:gd name="T43" fmla="*/ 2147483647 h 149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209"/>
                      <a:gd name="T67" fmla="*/ 0 h 149"/>
                      <a:gd name="T68" fmla="*/ 209 w 209"/>
                      <a:gd name="T69" fmla="*/ 149 h 149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209" h="149">
                        <a:moveTo>
                          <a:pt x="183" y="18"/>
                        </a:moveTo>
                        <a:lnTo>
                          <a:pt x="183" y="0"/>
                        </a:lnTo>
                        <a:lnTo>
                          <a:pt x="131" y="0"/>
                        </a:lnTo>
                        <a:lnTo>
                          <a:pt x="105" y="44"/>
                        </a:lnTo>
                        <a:lnTo>
                          <a:pt x="79" y="44"/>
                        </a:lnTo>
                        <a:lnTo>
                          <a:pt x="61" y="53"/>
                        </a:lnTo>
                        <a:lnTo>
                          <a:pt x="61" y="114"/>
                        </a:lnTo>
                        <a:lnTo>
                          <a:pt x="35" y="131"/>
                        </a:lnTo>
                        <a:lnTo>
                          <a:pt x="35" y="140"/>
                        </a:lnTo>
                        <a:lnTo>
                          <a:pt x="0" y="149"/>
                        </a:lnTo>
                        <a:lnTo>
                          <a:pt x="79" y="149"/>
                        </a:lnTo>
                        <a:lnTo>
                          <a:pt x="79" y="131"/>
                        </a:lnTo>
                        <a:lnTo>
                          <a:pt x="105" y="114"/>
                        </a:lnTo>
                        <a:lnTo>
                          <a:pt x="131" y="114"/>
                        </a:lnTo>
                        <a:lnTo>
                          <a:pt x="183" y="61"/>
                        </a:lnTo>
                        <a:lnTo>
                          <a:pt x="209" y="70"/>
                        </a:lnTo>
                        <a:lnTo>
                          <a:pt x="209" y="53"/>
                        </a:lnTo>
                        <a:lnTo>
                          <a:pt x="201" y="53"/>
                        </a:lnTo>
                        <a:lnTo>
                          <a:pt x="201" y="18"/>
                        </a:lnTo>
                        <a:lnTo>
                          <a:pt x="183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8" name="Freeform 587"/>
                  <p:cNvSpPr>
                    <a:spLocks/>
                  </p:cNvSpPr>
                  <p:nvPr/>
                </p:nvSpPr>
                <p:spPr bwMode="auto">
                  <a:xfrm>
                    <a:off x="3890964" y="3109913"/>
                    <a:ext cx="236538" cy="193675"/>
                  </a:xfrm>
                  <a:custGeom>
                    <a:avLst/>
                    <a:gdLst>
                      <a:gd name="T0" fmla="*/ 2147483647 w 149"/>
                      <a:gd name="T1" fmla="*/ 2147483647 h 122"/>
                      <a:gd name="T2" fmla="*/ 2147483647 w 149"/>
                      <a:gd name="T3" fmla="*/ 2147483647 h 122"/>
                      <a:gd name="T4" fmla="*/ 2147483647 w 149"/>
                      <a:gd name="T5" fmla="*/ 2147483647 h 122"/>
                      <a:gd name="T6" fmla="*/ 2147483647 w 149"/>
                      <a:gd name="T7" fmla="*/ 2147483647 h 122"/>
                      <a:gd name="T8" fmla="*/ 2147483647 w 149"/>
                      <a:gd name="T9" fmla="*/ 0 h 122"/>
                      <a:gd name="T10" fmla="*/ 2147483647 w 149"/>
                      <a:gd name="T11" fmla="*/ 0 h 122"/>
                      <a:gd name="T12" fmla="*/ 2147483647 w 149"/>
                      <a:gd name="T13" fmla="*/ 2147483647 h 122"/>
                      <a:gd name="T14" fmla="*/ 2147483647 w 149"/>
                      <a:gd name="T15" fmla="*/ 2147483647 h 122"/>
                      <a:gd name="T16" fmla="*/ 2147483647 w 149"/>
                      <a:gd name="T17" fmla="*/ 2147483647 h 122"/>
                      <a:gd name="T18" fmla="*/ 2147483647 w 149"/>
                      <a:gd name="T19" fmla="*/ 2147483647 h 122"/>
                      <a:gd name="T20" fmla="*/ 2147483647 w 149"/>
                      <a:gd name="T21" fmla="*/ 2147483647 h 122"/>
                      <a:gd name="T22" fmla="*/ 0 w 149"/>
                      <a:gd name="T23" fmla="*/ 2147483647 h 122"/>
                      <a:gd name="T24" fmla="*/ 2147483647 w 149"/>
                      <a:gd name="T25" fmla="*/ 2147483647 h 122"/>
                      <a:gd name="T26" fmla="*/ 2147483647 w 149"/>
                      <a:gd name="T27" fmla="*/ 2147483647 h 122"/>
                      <a:gd name="T28" fmla="*/ 2147483647 w 149"/>
                      <a:gd name="T29" fmla="*/ 2147483647 h 122"/>
                      <a:gd name="T30" fmla="*/ 2147483647 w 149"/>
                      <a:gd name="T31" fmla="*/ 2147483647 h 122"/>
                      <a:gd name="T32" fmla="*/ 2147483647 w 149"/>
                      <a:gd name="T33" fmla="*/ 2147483647 h 122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149"/>
                      <a:gd name="T52" fmla="*/ 0 h 122"/>
                      <a:gd name="T53" fmla="*/ 149 w 149"/>
                      <a:gd name="T54" fmla="*/ 122 h 122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149" h="122">
                        <a:moveTo>
                          <a:pt x="79" y="87"/>
                        </a:moveTo>
                        <a:lnTo>
                          <a:pt x="96" y="87"/>
                        </a:lnTo>
                        <a:lnTo>
                          <a:pt x="96" y="34"/>
                        </a:lnTo>
                        <a:lnTo>
                          <a:pt x="149" y="34"/>
                        </a:lnTo>
                        <a:lnTo>
                          <a:pt x="149" y="0"/>
                        </a:lnTo>
                        <a:lnTo>
                          <a:pt x="70" y="0"/>
                        </a:lnTo>
                        <a:lnTo>
                          <a:pt x="70" y="17"/>
                        </a:lnTo>
                        <a:lnTo>
                          <a:pt x="53" y="26"/>
                        </a:lnTo>
                        <a:lnTo>
                          <a:pt x="35" y="69"/>
                        </a:lnTo>
                        <a:lnTo>
                          <a:pt x="18" y="78"/>
                        </a:lnTo>
                        <a:lnTo>
                          <a:pt x="9" y="95"/>
                        </a:lnTo>
                        <a:lnTo>
                          <a:pt x="0" y="104"/>
                        </a:lnTo>
                        <a:lnTo>
                          <a:pt x="9" y="122"/>
                        </a:lnTo>
                        <a:lnTo>
                          <a:pt x="27" y="113"/>
                        </a:lnTo>
                        <a:lnTo>
                          <a:pt x="79" y="113"/>
                        </a:lnTo>
                        <a:lnTo>
                          <a:pt x="79" y="8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9" name="Freeform 588"/>
                  <p:cNvSpPr>
                    <a:spLocks/>
                  </p:cNvSpPr>
                  <p:nvPr/>
                </p:nvSpPr>
                <p:spPr bwMode="auto">
                  <a:xfrm>
                    <a:off x="3890964" y="3109913"/>
                    <a:ext cx="236538" cy="193675"/>
                  </a:xfrm>
                  <a:custGeom>
                    <a:avLst/>
                    <a:gdLst>
                      <a:gd name="T0" fmla="*/ 2147483647 w 149"/>
                      <a:gd name="T1" fmla="*/ 2147483647 h 122"/>
                      <a:gd name="T2" fmla="*/ 2147483647 w 149"/>
                      <a:gd name="T3" fmla="*/ 2147483647 h 122"/>
                      <a:gd name="T4" fmla="*/ 2147483647 w 149"/>
                      <a:gd name="T5" fmla="*/ 2147483647 h 122"/>
                      <a:gd name="T6" fmla="*/ 2147483647 w 149"/>
                      <a:gd name="T7" fmla="*/ 2147483647 h 122"/>
                      <a:gd name="T8" fmla="*/ 2147483647 w 149"/>
                      <a:gd name="T9" fmla="*/ 0 h 122"/>
                      <a:gd name="T10" fmla="*/ 2147483647 w 149"/>
                      <a:gd name="T11" fmla="*/ 0 h 122"/>
                      <a:gd name="T12" fmla="*/ 2147483647 w 149"/>
                      <a:gd name="T13" fmla="*/ 2147483647 h 122"/>
                      <a:gd name="T14" fmla="*/ 2147483647 w 149"/>
                      <a:gd name="T15" fmla="*/ 2147483647 h 122"/>
                      <a:gd name="T16" fmla="*/ 2147483647 w 149"/>
                      <a:gd name="T17" fmla="*/ 2147483647 h 122"/>
                      <a:gd name="T18" fmla="*/ 2147483647 w 149"/>
                      <a:gd name="T19" fmla="*/ 2147483647 h 122"/>
                      <a:gd name="T20" fmla="*/ 2147483647 w 149"/>
                      <a:gd name="T21" fmla="*/ 2147483647 h 122"/>
                      <a:gd name="T22" fmla="*/ 0 w 149"/>
                      <a:gd name="T23" fmla="*/ 2147483647 h 122"/>
                      <a:gd name="T24" fmla="*/ 2147483647 w 149"/>
                      <a:gd name="T25" fmla="*/ 2147483647 h 122"/>
                      <a:gd name="T26" fmla="*/ 2147483647 w 149"/>
                      <a:gd name="T27" fmla="*/ 2147483647 h 122"/>
                      <a:gd name="T28" fmla="*/ 2147483647 w 149"/>
                      <a:gd name="T29" fmla="*/ 2147483647 h 122"/>
                      <a:gd name="T30" fmla="*/ 2147483647 w 149"/>
                      <a:gd name="T31" fmla="*/ 2147483647 h 122"/>
                      <a:gd name="T32" fmla="*/ 2147483647 w 149"/>
                      <a:gd name="T33" fmla="*/ 2147483647 h 122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149"/>
                      <a:gd name="T52" fmla="*/ 0 h 122"/>
                      <a:gd name="T53" fmla="*/ 149 w 149"/>
                      <a:gd name="T54" fmla="*/ 122 h 122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149" h="122">
                        <a:moveTo>
                          <a:pt x="79" y="87"/>
                        </a:moveTo>
                        <a:lnTo>
                          <a:pt x="96" y="87"/>
                        </a:lnTo>
                        <a:lnTo>
                          <a:pt x="96" y="34"/>
                        </a:lnTo>
                        <a:lnTo>
                          <a:pt x="149" y="34"/>
                        </a:lnTo>
                        <a:lnTo>
                          <a:pt x="149" y="0"/>
                        </a:lnTo>
                        <a:lnTo>
                          <a:pt x="70" y="0"/>
                        </a:lnTo>
                        <a:lnTo>
                          <a:pt x="70" y="17"/>
                        </a:lnTo>
                        <a:lnTo>
                          <a:pt x="53" y="26"/>
                        </a:lnTo>
                        <a:lnTo>
                          <a:pt x="35" y="69"/>
                        </a:lnTo>
                        <a:lnTo>
                          <a:pt x="18" y="78"/>
                        </a:lnTo>
                        <a:lnTo>
                          <a:pt x="9" y="95"/>
                        </a:lnTo>
                        <a:lnTo>
                          <a:pt x="0" y="104"/>
                        </a:lnTo>
                        <a:lnTo>
                          <a:pt x="9" y="122"/>
                        </a:lnTo>
                        <a:lnTo>
                          <a:pt x="27" y="113"/>
                        </a:lnTo>
                        <a:lnTo>
                          <a:pt x="79" y="113"/>
                        </a:lnTo>
                        <a:lnTo>
                          <a:pt x="79" y="8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0" name="Freeform 589"/>
                  <p:cNvSpPr>
                    <a:spLocks/>
                  </p:cNvSpPr>
                  <p:nvPr/>
                </p:nvSpPr>
                <p:spPr bwMode="auto">
                  <a:xfrm>
                    <a:off x="3905251" y="3109913"/>
                    <a:ext cx="331788" cy="373063"/>
                  </a:xfrm>
                  <a:custGeom>
                    <a:avLst/>
                    <a:gdLst>
                      <a:gd name="T0" fmla="*/ 2147483647 w 209"/>
                      <a:gd name="T1" fmla="*/ 2147483647 h 235"/>
                      <a:gd name="T2" fmla="*/ 2147483647 w 209"/>
                      <a:gd name="T3" fmla="*/ 2147483647 h 235"/>
                      <a:gd name="T4" fmla="*/ 2147483647 w 209"/>
                      <a:gd name="T5" fmla="*/ 2147483647 h 235"/>
                      <a:gd name="T6" fmla="*/ 2147483647 w 209"/>
                      <a:gd name="T7" fmla="*/ 2147483647 h 235"/>
                      <a:gd name="T8" fmla="*/ 0 w 209"/>
                      <a:gd name="T9" fmla="*/ 2147483647 h 235"/>
                      <a:gd name="T10" fmla="*/ 0 w 209"/>
                      <a:gd name="T11" fmla="*/ 2147483647 h 235"/>
                      <a:gd name="T12" fmla="*/ 2147483647 w 209"/>
                      <a:gd name="T13" fmla="*/ 2147483647 h 235"/>
                      <a:gd name="T14" fmla="*/ 2147483647 w 209"/>
                      <a:gd name="T15" fmla="*/ 2147483647 h 235"/>
                      <a:gd name="T16" fmla="*/ 2147483647 w 209"/>
                      <a:gd name="T17" fmla="*/ 2147483647 h 235"/>
                      <a:gd name="T18" fmla="*/ 2147483647 w 209"/>
                      <a:gd name="T19" fmla="*/ 2147483647 h 235"/>
                      <a:gd name="T20" fmla="*/ 2147483647 w 209"/>
                      <a:gd name="T21" fmla="*/ 2147483647 h 235"/>
                      <a:gd name="T22" fmla="*/ 2147483647 w 209"/>
                      <a:gd name="T23" fmla="*/ 2147483647 h 235"/>
                      <a:gd name="T24" fmla="*/ 2147483647 w 209"/>
                      <a:gd name="T25" fmla="*/ 2147483647 h 235"/>
                      <a:gd name="T26" fmla="*/ 2147483647 w 209"/>
                      <a:gd name="T27" fmla="*/ 2147483647 h 235"/>
                      <a:gd name="T28" fmla="*/ 2147483647 w 209"/>
                      <a:gd name="T29" fmla="*/ 2147483647 h 235"/>
                      <a:gd name="T30" fmla="*/ 2147483647 w 209"/>
                      <a:gd name="T31" fmla="*/ 2147483647 h 235"/>
                      <a:gd name="T32" fmla="*/ 2147483647 w 209"/>
                      <a:gd name="T33" fmla="*/ 0 h 235"/>
                      <a:gd name="T34" fmla="*/ 2147483647 w 209"/>
                      <a:gd name="T35" fmla="*/ 2147483647 h 235"/>
                      <a:gd name="T36" fmla="*/ 2147483647 w 209"/>
                      <a:gd name="T37" fmla="*/ 2147483647 h 235"/>
                      <a:gd name="T38" fmla="*/ 2147483647 w 209"/>
                      <a:gd name="T39" fmla="*/ 2147483647 h 235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209"/>
                      <a:gd name="T61" fmla="*/ 0 h 235"/>
                      <a:gd name="T62" fmla="*/ 209 w 209"/>
                      <a:gd name="T63" fmla="*/ 235 h 235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209" h="235">
                        <a:moveTo>
                          <a:pt x="87" y="87"/>
                        </a:moveTo>
                        <a:lnTo>
                          <a:pt x="70" y="87"/>
                        </a:lnTo>
                        <a:lnTo>
                          <a:pt x="70" y="113"/>
                        </a:lnTo>
                        <a:lnTo>
                          <a:pt x="18" y="113"/>
                        </a:lnTo>
                        <a:lnTo>
                          <a:pt x="0" y="122"/>
                        </a:lnTo>
                        <a:lnTo>
                          <a:pt x="0" y="209"/>
                        </a:lnTo>
                        <a:lnTo>
                          <a:pt x="35" y="200"/>
                        </a:lnTo>
                        <a:lnTo>
                          <a:pt x="61" y="209"/>
                        </a:lnTo>
                        <a:lnTo>
                          <a:pt x="61" y="226"/>
                        </a:lnTo>
                        <a:lnTo>
                          <a:pt x="79" y="235"/>
                        </a:lnTo>
                        <a:lnTo>
                          <a:pt x="96" y="217"/>
                        </a:lnTo>
                        <a:lnTo>
                          <a:pt x="96" y="226"/>
                        </a:lnTo>
                        <a:lnTo>
                          <a:pt x="105" y="226"/>
                        </a:lnTo>
                        <a:lnTo>
                          <a:pt x="192" y="226"/>
                        </a:lnTo>
                        <a:lnTo>
                          <a:pt x="174" y="52"/>
                        </a:lnTo>
                        <a:lnTo>
                          <a:pt x="209" y="52"/>
                        </a:lnTo>
                        <a:lnTo>
                          <a:pt x="140" y="0"/>
                        </a:lnTo>
                        <a:lnTo>
                          <a:pt x="140" y="34"/>
                        </a:lnTo>
                        <a:lnTo>
                          <a:pt x="87" y="34"/>
                        </a:lnTo>
                        <a:lnTo>
                          <a:pt x="87" y="8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1" name="Freeform 590"/>
                  <p:cNvSpPr>
                    <a:spLocks/>
                  </p:cNvSpPr>
                  <p:nvPr/>
                </p:nvSpPr>
                <p:spPr bwMode="auto">
                  <a:xfrm>
                    <a:off x="3905251" y="3109913"/>
                    <a:ext cx="331788" cy="373063"/>
                  </a:xfrm>
                  <a:custGeom>
                    <a:avLst/>
                    <a:gdLst>
                      <a:gd name="T0" fmla="*/ 2147483647 w 209"/>
                      <a:gd name="T1" fmla="*/ 2147483647 h 235"/>
                      <a:gd name="T2" fmla="*/ 2147483647 w 209"/>
                      <a:gd name="T3" fmla="*/ 2147483647 h 235"/>
                      <a:gd name="T4" fmla="*/ 2147483647 w 209"/>
                      <a:gd name="T5" fmla="*/ 2147483647 h 235"/>
                      <a:gd name="T6" fmla="*/ 2147483647 w 209"/>
                      <a:gd name="T7" fmla="*/ 2147483647 h 235"/>
                      <a:gd name="T8" fmla="*/ 0 w 209"/>
                      <a:gd name="T9" fmla="*/ 2147483647 h 235"/>
                      <a:gd name="T10" fmla="*/ 0 w 209"/>
                      <a:gd name="T11" fmla="*/ 2147483647 h 235"/>
                      <a:gd name="T12" fmla="*/ 2147483647 w 209"/>
                      <a:gd name="T13" fmla="*/ 2147483647 h 235"/>
                      <a:gd name="T14" fmla="*/ 2147483647 w 209"/>
                      <a:gd name="T15" fmla="*/ 2147483647 h 235"/>
                      <a:gd name="T16" fmla="*/ 2147483647 w 209"/>
                      <a:gd name="T17" fmla="*/ 2147483647 h 235"/>
                      <a:gd name="T18" fmla="*/ 2147483647 w 209"/>
                      <a:gd name="T19" fmla="*/ 2147483647 h 235"/>
                      <a:gd name="T20" fmla="*/ 2147483647 w 209"/>
                      <a:gd name="T21" fmla="*/ 2147483647 h 235"/>
                      <a:gd name="T22" fmla="*/ 2147483647 w 209"/>
                      <a:gd name="T23" fmla="*/ 2147483647 h 235"/>
                      <a:gd name="T24" fmla="*/ 2147483647 w 209"/>
                      <a:gd name="T25" fmla="*/ 2147483647 h 235"/>
                      <a:gd name="T26" fmla="*/ 2147483647 w 209"/>
                      <a:gd name="T27" fmla="*/ 2147483647 h 235"/>
                      <a:gd name="T28" fmla="*/ 2147483647 w 209"/>
                      <a:gd name="T29" fmla="*/ 2147483647 h 235"/>
                      <a:gd name="T30" fmla="*/ 2147483647 w 209"/>
                      <a:gd name="T31" fmla="*/ 2147483647 h 235"/>
                      <a:gd name="T32" fmla="*/ 2147483647 w 209"/>
                      <a:gd name="T33" fmla="*/ 0 h 235"/>
                      <a:gd name="T34" fmla="*/ 2147483647 w 209"/>
                      <a:gd name="T35" fmla="*/ 2147483647 h 235"/>
                      <a:gd name="T36" fmla="*/ 2147483647 w 209"/>
                      <a:gd name="T37" fmla="*/ 2147483647 h 235"/>
                      <a:gd name="T38" fmla="*/ 2147483647 w 209"/>
                      <a:gd name="T39" fmla="*/ 2147483647 h 235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209"/>
                      <a:gd name="T61" fmla="*/ 0 h 235"/>
                      <a:gd name="T62" fmla="*/ 209 w 209"/>
                      <a:gd name="T63" fmla="*/ 235 h 235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209" h="235">
                        <a:moveTo>
                          <a:pt x="87" y="87"/>
                        </a:moveTo>
                        <a:lnTo>
                          <a:pt x="70" y="87"/>
                        </a:lnTo>
                        <a:lnTo>
                          <a:pt x="70" y="113"/>
                        </a:lnTo>
                        <a:lnTo>
                          <a:pt x="18" y="113"/>
                        </a:lnTo>
                        <a:lnTo>
                          <a:pt x="0" y="122"/>
                        </a:lnTo>
                        <a:lnTo>
                          <a:pt x="0" y="209"/>
                        </a:lnTo>
                        <a:lnTo>
                          <a:pt x="35" y="200"/>
                        </a:lnTo>
                        <a:lnTo>
                          <a:pt x="61" y="209"/>
                        </a:lnTo>
                        <a:lnTo>
                          <a:pt x="61" y="226"/>
                        </a:lnTo>
                        <a:lnTo>
                          <a:pt x="79" y="235"/>
                        </a:lnTo>
                        <a:lnTo>
                          <a:pt x="96" y="217"/>
                        </a:lnTo>
                        <a:lnTo>
                          <a:pt x="96" y="226"/>
                        </a:lnTo>
                        <a:lnTo>
                          <a:pt x="105" y="226"/>
                        </a:lnTo>
                        <a:lnTo>
                          <a:pt x="192" y="226"/>
                        </a:lnTo>
                        <a:lnTo>
                          <a:pt x="174" y="52"/>
                        </a:lnTo>
                        <a:lnTo>
                          <a:pt x="209" y="52"/>
                        </a:lnTo>
                        <a:lnTo>
                          <a:pt x="140" y="0"/>
                        </a:lnTo>
                        <a:lnTo>
                          <a:pt x="140" y="34"/>
                        </a:lnTo>
                        <a:lnTo>
                          <a:pt x="87" y="34"/>
                        </a:lnTo>
                        <a:lnTo>
                          <a:pt x="87" y="8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2" name="Freeform 591"/>
                  <p:cNvSpPr>
                    <a:spLocks/>
                  </p:cNvSpPr>
                  <p:nvPr/>
                </p:nvSpPr>
                <p:spPr bwMode="auto">
                  <a:xfrm>
                    <a:off x="4030664" y="3192463"/>
                    <a:ext cx="442913" cy="414338"/>
                  </a:xfrm>
                  <a:custGeom>
                    <a:avLst/>
                    <a:gdLst>
                      <a:gd name="T0" fmla="*/ 2147483647 w 279"/>
                      <a:gd name="T1" fmla="*/ 2147483647 h 261"/>
                      <a:gd name="T2" fmla="*/ 2147483647 w 279"/>
                      <a:gd name="T3" fmla="*/ 2147483647 h 261"/>
                      <a:gd name="T4" fmla="*/ 2147483647 w 279"/>
                      <a:gd name="T5" fmla="*/ 2147483647 h 261"/>
                      <a:gd name="T6" fmla="*/ 0 w 279"/>
                      <a:gd name="T7" fmla="*/ 2147483647 h 261"/>
                      <a:gd name="T8" fmla="*/ 0 w 279"/>
                      <a:gd name="T9" fmla="*/ 2147483647 h 261"/>
                      <a:gd name="T10" fmla="*/ 2147483647 w 279"/>
                      <a:gd name="T11" fmla="*/ 2147483647 h 261"/>
                      <a:gd name="T12" fmla="*/ 2147483647 w 279"/>
                      <a:gd name="T13" fmla="*/ 2147483647 h 261"/>
                      <a:gd name="T14" fmla="*/ 2147483647 w 279"/>
                      <a:gd name="T15" fmla="*/ 2147483647 h 261"/>
                      <a:gd name="T16" fmla="*/ 2147483647 w 279"/>
                      <a:gd name="T17" fmla="*/ 2147483647 h 261"/>
                      <a:gd name="T18" fmla="*/ 2147483647 w 279"/>
                      <a:gd name="T19" fmla="*/ 2147483647 h 261"/>
                      <a:gd name="T20" fmla="*/ 2147483647 w 279"/>
                      <a:gd name="T21" fmla="*/ 2147483647 h 261"/>
                      <a:gd name="T22" fmla="*/ 2147483647 w 279"/>
                      <a:gd name="T23" fmla="*/ 2147483647 h 261"/>
                      <a:gd name="T24" fmla="*/ 2147483647 w 279"/>
                      <a:gd name="T25" fmla="*/ 2147483647 h 261"/>
                      <a:gd name="T26" fmla="*/ 2147483647 w 279"/>
                      <a:gd name="T27" fmla="*/ 2147483647 h 261"/>
                      <a:gd name="T28" fmla="*/ 2147483647 w 279"/>
                      <a:gd name="T29" fmla="*/ 2147483647 h 261"/>
                      <a:gd name="T30" fmla="*/ 2147483647 w 279"/>
                      <a:gd name="T31" fmla="*/ 2147483647 h 261"/>
                      <a:gd name="T32" fmla="*/ 2147483647 w 279"/>
                      <a:gd name="T33" fmla="*/ 2147483647 h 261"/>
                      <a:gd name="T34" fmla="*/ 2147483647 w 279"/>
                      <a:gd name="T35" fmla="*/ 2147483647 h 261"/>
                      <a:gd name="T36" fmla="*/ 2147483647 w 279"/>
                      <a:gd name="T37" fmla="*/ 2147483647 h 261"/>
                      <a:gd name="T38" fmla="*/ 2147483647 w 279"/>
                      <a:gd name="T39" fmla="*/ 0 h 261"/>
                      <a:gd name="T40" fmla="*/ 2147483647 w 279"/>
                      <a:gd name="T41" fmla="*/ 0 h 261"/>
                      <a:gd name="T42" fmla="*/ 2147483647 w 279"/>
                      <a:gd name="T43" fmla="*/ 2147483647 h 261"/>
                      <a:gd name="T44" fmla="*/ 2147483647 w 279"/>
                      <a:gd name="T45" fmla="*/ 2147483647 h 261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79"/>
                      <a:gd name="T70" fmla="*/ 0 h 261"/>
                      <a:gd name="T71" fmla="*/ 279 w 279"/>
                      <a:gd name="T72" fmla="*/ 261 h 261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79" h="261">
                        <a:moveTo>
                          <a:pt x="26" y="174"/>
                        </a:moveTo>
                        <a:lnTo>
                          <a:pt x="17" y="174"/>
                        </a:lnTo>
                        <a:lnTo>
                          <a:pt x="17" y="165"/>
                        </a:lnTo>
                        <a:lnTo>
                          <a:pt x="0" y="183"/>
                        </a:lnTo>
                        <a:lnTo>
                          <a:pt x="0" y="209"/>
                        </a:lnTo>
                        <a:lnTo>
                          <a:pt x="17" y="218"/>
                        </a:lnTo>
                        <a:lnTo>
                          <a:pt x="17" y="235"/>
                        </a:lnTo>
                        <a:lnTo>
                          <a:pt x="43" y="226"/>
                        </a:lnTo>
                        <a:lnTo>
                          <a:pt x="69" y="261"/>
                        </a:lnTo>
                        <a:lnTo>
                          <a:pt x="113" y="261"/>
                        </a:lnTo>
                        <a:lnTo>
                          <a:pt x="122" y="235"/>
                        </a:lnTo>
                        <a:lnTo>
                          <a:pt x="139" y="218"/>
                        </a:lnTo>
                        <a:lnTo>
                          <a:pt x="165" y="192"/>
                        </a:lnTo>
                        <a:lnTo>
                          <a:pt x="209" y="174"/>
                        </a:lnTo>
                        <a:lnTo>
                          <a:pt x="261" y="174"/>
                        </a:lnTo>
                        <a:lnTo>
                          <a:pt x="279" y="139"/>
                        </a:lnTo>
                        <a:lnTo>
                          <a:pt x="279" y="104"/>
                        </a:lnTo>
                        <a:lnTo>
                          <a:pt x="226" y="78"/>
                        </a:lnTo>
                        <a:lnTo>
                          <a:pt x="226" y="61"/>
                        </a:lnTo>
                        <a:lnTo>
                          <a:pt x="130" y="0"/>
                        </a:lnTo>
                        <a:lnTo>
                          <a:pt x="95" y="0"/>
                        </a:lnTo>
                        <a:lnTo>
                          <a:pt x="113" y="174"/>
                        </a:lnTo>
                        <a:lnTo>
                          <a:pt x="26" y="17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3" name="Freeform 592"/>
                  <p:cNvSpPr>
                    <a:spLocks/>
                  </p:cNvSpPr>
                  <p:nvPr/>
                </p:nvSpPr>
                <p:spPr bwMode="auto">
                  <a:xfrm>
                    <a:off x="4030664" y="3192463"/>
                    <a:ext cx="442913" cy="414338"/>
                  </a:xfrm>
                  <a:custGeom>
                    <a:avLst/>
                    <a:gdLst>
                      <a:gd name="T0" fmla="*/ 2147483647 w 279"/>
                      <a:gd name="T1" fmla="*/ 2147483647 h 261"/>
                      <a:gd name="T2" fmla="*/ 2147483647 w 279"/>
                      <a:gd name="T3" fmla="*/ 2147483647 h 261"/>
                      <a:gd name="T4" fmla="*/ 2147483647 w 279"/>
                      <a:gd name="T5" fmla="*/ 2147483647 h 261"/>
                      <a:gd name="T6" fmla="*/ 0 w 279"/>
                      <a:gd name="T7" fmla="*/ 2147483647 h 261"/>
                      <a:gd name="T8" fmla="*/ 0 w 279"/>
                      <a:gd name="T9" fmla="*/ 2147483647 h 261"/>
                      <a:gd name="T10" fmla="*/ 2147483647 w 279"/>
                      <a:gd name="T11" fmla="*/ 2147483647 h 261"/>
                      <a:gd name="T12" fmla="*/ 2147483647 w 279"/>
                      <a:gd name="T13" fmla="*/ 2147483647 h 261"/>
                      <a:gd name="T14" fmla="*/ 2147483647 w 279"/>
                      <a:gd name="T15" fmla="*/ 2147483647 h 261"/>
                      <a:gd name="T16" fmla="*/ 2147483647 w 279"/>
                      <a:gd name="T17" fmla="*/ 2147483647 h 261"/>
                      <a:gd name="T18" fmla="*/ 2147483647 w 279"/>
                      <a:gd name="T19" fmla="*/ 2147483647 h 261"/>
                      <a:gd name="T20" fmla="*/ 2147483647 w 279"/>
                      <a:gd name="T21" fmla="*/ 2147483647 h 261"/>
                      <a:gd name="T22" fmla="*/ 2147483647 w 279"/>
                      <a:gd name="T23" fmla="*/ 2147483647 h 261"/>
                      <a:gd name="T24" fmla="*/ 2147483647 w 279"/>
                      <a:gd name="T25" fmla="*/ 2147483647 h 261"/>
                      <a:gd name="T26" fmla="*/ 2147483647 w 279"/>
                      <a:gd name="T27" fmla="*/ 2147483647 h 261"/>
                      <a:gd name="T28" fmla="*/ 2147483647 w 279"/>
                      <a:gd name="T29" fmla="*/ 2147483647 h 261"/>
                      <a:gd name="T30" fmla="*/ 2147483647 w 279"/>
                      <a:gd name="T31" fmla="*/ 2147483647 h 261"/>
                      <a:gd name="T32" fmla="*/ 2147483647 w 279"/>
                      <a:gd name="T33" fmla="*/ 2147483647 h 261"/>
                      <a:gd name="T34" fmla="*/ 2147483647 w 279"/>
                      <a:gd name="T35" fmla="*/ 2147483647 h 261"/>
                      <a:gd name="T36" fmla="*/ 2147483647 w 279"/>
                      <a:gd name="T37" fmla="*/ 2147483647 h 261"/>
                      <a:gd name="T38" fmla="*/ 2147483647 w 279"/>
                      <a:gd name="T39" fmla="*/ 0 h 261"/>
                      <a:gd name="T40" fmla="*/ 2147483647 w 279"/>
                      <a:gd name="T41" fmla="*/ 0 h 261"/>
                      <a:gd name="T42" fmla="*/ 2147483647 w 279"/>
                      <a:gd name="T43" fmla="*/ 2147483647 h 261"/>
                      <a:gd name="T44" fmla="*/ 2147483647 w 279"/>
                      <a:gd name="T45" fmla="*/ 2147483647 h 261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79"/>
                      <a:gd name="T70" fmla="*/ 0 h 261"/>
                      <a:gd name="T71" fmla="*/ 279 w 279"/>
                      <a:gd name="T72" fmla="*/ 261 h 261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79" h="261">
                        <a:moveTo>
                          <a:pt x="26" y="174"/>
                        </a:moveTo>
                        <a:lnTo>
                          <a:pt x="17" y="174"/>
                        </a:lnTo>
                        <a:lnTo>
                          <a:pt x="17" y="165"/>
                        </a:lnTo>
                        <a:lnTo>
                          <a:pt x="0" y="183"/>
                        </a:lnTo>
                        <a:lnTo>
                          <a:pt x="0" y="209"/>
                        </a:lnTo>
                        <a:lnTo>
                          <a:pt x="17" y="218"/>
                        </a:lnTo>
                        <a:lnTo>
                          <a:pt x="17" y="235"/>
                        </a:lnTo>
                        <a:lnTo>
                          <a:pt x="43" y="226"/>
                        </a:lnTo>
                        <a:lnTo>
                          <a:pt x="69" y="261"/>
                        </a:lnTo>
                        <a:lnTo>
                          <a:pt x="113" y="261"/>
                        </a:lnTo>
                        <a:lnTo>
                          <a:pt x="122" y="235"/>
                        </a:lnTo>
                        <a:lnTo>
                          <a:pt x="139" y="218"/>
                        </a:lnTo>
                        <a:lnTo>
                          <a:pt x="165" y="192"/>
                        </a:lnTo>
                        <a:lnTo>
                          <a:pt x="209" y="174"/>
                        </a:lnTo>
                        <a:lnTo>
                          <a:pt x="261" y="174"/>
                        </a:lnTo>
                        <a:lnTo>
                          <a:pt x="279" y="139"/>
                        </a:lnTo>
                        <a:lnTo>
                          <a:pt x="279" y="104"/>
                        </a:lnTo>
                        <a:lnTo>
                          <a:pt x="226" y="78"/>
                        </a:lnTo>
                        <a:lnTo>
                          <a:pt x="226" y="61"/>
                        </a:lnTo>
                        <a:lnTo>
                          <a:pt x="130" y="0"/>
                        </a:lnTo>
                        <a:lnTo>
                          <a:pt x="95" y="0"/>
                        </a:lnTo>
                        <a:lnTo>
                          <a:pt x="113" y="174"/>
                        </a:lnTo>
                        <a:lnTo>
                          <a:pt x="26" y="17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4" name="Freeform 593"/>
                  <p:cNvSpPr>
                    <a:spLocks/>
                  </p:cNvSpPr>
                  <p:nvPr/>
                </p:nvSpPr>
                <p:spPr bwMode="auto">
                  <a:xfrm>
                    <a:off x="4362451" y="3219450"/>
                    <a:ext cx="414338" cy="360363"/>
                  </a:xfrm>
                  <a:custGeom>
                    <a:avLst/>
                    <a:gdLst>
                      <a:gd name="T0" fmla="*/ 2147483647 w 261"/>
                      <a:gd name="T1" fmla="*/ 2147483647 h 227"/>
                      <a:gd name="T2" fmla="*/ 2147483647 w 261"/>
                      <a:gd name="T3" fmla="*/ 2147483647 h 227"/>
                      <a:gd name="T4" fmla="*/ 2147483647 w 261"/>
                      <a:gd name="T5" fmla="*/ 2147483647 h 227"/>
                      <a:gd name="T6" fmla="*/ 2147483647 w 261"/>
                      <a:gd name="T7" fmla="*/ 2147483647 h 227"/>
                      <a:gd name="T8" fmla="*/ 2147483647 w 261"/>
                      <a:gd name="T9" fmla="*/ 0 h 227"/>
                      <a:gd name="T10" fmla="*/ 2147483647 w 261"/>
                      <a:gd name="T11" fmla="*/ 0 h 227"/>
                      <a:gd name="T12" fmla="*/ 2147483647 w 261"/>
                      <a:gd name="T13" fmla="*/ 2147483647 h 227"/>
                      <a:gd name="T14" fmla="*/ 2147483647 w 261"/>
                      <a:gd name="T15" fmla="*/ 2147483647 h 227"/>
                      <a:gd name="T16" fmla="*/ 2147483647 w 261"/>
                      <a:gd name="T17" fmla="*/ 2147483647 h 227"/>
                      <a:gd name="T18" fmla="*/ 2147483647 w 261"/>
                      <a:gd name="T19" fmla="*/ 2147483647 h 227"/>
                      <a:gd name="T20" fmla="*/ 2147483647 w 261"/>
                      <a:gd name="T21" fmla="*/ 2147483647 h 227"/>
                      <a:gd name="T22" fmla="*/ 0 w 261"/>
                      <a:gd name="T23" fmla="*/ 2147483647 h 227"/>
                      <a:gd name="T24" fmla="*/ 2147483647 w 261"/>
                      <a:gd name="T25" fmla="*/ 2147483647 h 227"/>
                      <a:gd name="T26" fmla="*/ 2147483647 w 261"/>
                      <a:gd name="T27" fmla="*/ 2147483647 h 227"/>
                      <a:gd name="T28" fmla="*/ 2147483647 w 261"/>
                      <a:gd name="T29" fmla="*/ 2147483647 h 227"/>
                      <a:gd name="T30" fmla="*/ 2147483647 w 261"/>
                      <a:gd name="T31" fmla="*/ 2147483647 h 227"/>
                      <a:gd name="T32" fmla="*/ 2147483647 w 261"/>
                      <a:gd name="T33" fmla="*/ 2147483647 h 227"/>
                      <a:gd name="T34" fmla="*/ 2147483647 w 261"/>
                      <a:gd name="T35" fmla="*/ 2147483647 h 227"/>
                      <a:gd name="T36" fmla="*/ 2147483647 w 261"/>
                      <a:gd name="T37" fmla="*/ 2147483647 h 227"/>
                      <a:gd name="T38" fmla="*/ 2147483647 w 261"/>
                      <a:gd name="T39" fmla="*/ 2147483647 h 227"/>
                      <a:gd name="T40" fmla="*/ 2147483647 w 261"/>
                      <a:gd name="T41" fmla="*/ 2147483647 h 227"/>
                      <a:gd name="T42" fmla="*/ 2147483647 w 261"/>
                      <a:gd name="T43" fmla="*/ 2147483647 h 227"/>
                      <a:gd name="T44" fmla="*/ 2147483647 w 261"/>
                      <a:gd name="T45" fmla="*/ 2147483647 h 227"/>
                      <a:gd name="T46" fmla="*/ 2147483647 w 261"/>
                      <a:gd name="T47" fmla="*/ 2147483647 h 227"/>
                      <a:gd name="T48" fmla="*/ 2147483647 w 261"/>
                      <a:gd name="T49" fmla="*/ 2147483647 h 227"/>
                      <a:gd name="T50" fmla="*/ 2147483647 w 261"/>
                      <a:gd name="T51" fmla="*/ 2147483647 h 227"/>
                      <a:gd name="T52" fmla="*/ 2147483647 w 261"/>
                      <a:gd name="T53" fmla="*/ 2147483647 h 227"/>
                      <a:gd name="T54" fmla="*/ 2147483647 w 261"/>
                      <a:gd name="T55" fmla="*/ 2147483647 h 227"/>
                      <a:gd name="T56" fmla="*/ 2147483647 w 261"/>
                      <a:gd name="T57" fmla="*/ 2147483647 h 227"/>
                      <a:gd name="T58" fmla="*/ 2147483647 w 261"/>
                      <a:gd name="T59" fmla="*/ 2147483647 h 227"/>
                      <a:gd name="T60" fmla="*/ 2147483647 w 261"/>
                      <a:gd name="T61" fmla="*/ 2147483647 h 227"/>
                      <a:gd name="T62" fmla="*/ 2147483647 w 261"/>
                      <a:gd name="T63" fmla="*/ 2147483647 h 227"/>
                      <a:gd name="T64" fmla="*/ 2147483647 w 261"/>
                      <a:gd name="T65" fmla="*/ 2147483647 h 227"/>
                      <a:gd name="T66" fmla="*/ 2147483647 w 261"/>
                      <a:gd name="T67" fmla="*/ 2147483647 h 227"/>
                      <a:gd name="T68" fmla="*/ 2147483647 w 261"/>
                      <a:gd name="T69" fmla="*/ 2147483647 h 227"/>
                      <a:gd name="T70" fmla="*/ 2147483647 w 261"/>
                      <a:gd name="T71" fmla="*/ 2147483647 h 227"/>
                      <a:gd name="T72" fmla="*/ 2147483647 w 261"/>
                      <a:gd name="T73" fmla="*/ 2147483647 h 227"/>
                      <a:gd name="T74" fmla="*/ 2147483647 w 261"/>
                      <a:gd name="T75" fmla="*/ 2147483647 h 227"/>
                      <a:gd name="T76" fmla="*/ 2147483647 w 261"/>
                      <a:gd name="T77" fmla="*/ 2147483647 h 227"/>
                      <a:gd name="T78" fmla="*/ 2147483647 w 261"/>
                      <a:gd name="T79" fmla="*/ 2147483647 h 227"/>
                      <a:gd name="T80" fmla="*/ 2147483647 w 261"/>
                      <a:gd name="T81" fmla="*/ 2147483647 h 227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w 261"/>
                      <a:gd name="T124" fmla="*/ 0 h 227"/>
                      <a:gd name="T125" fmla="*/ 261 w 261"/>
                      <a:gd name="T126" fmla="*/ 227 h 227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T123" t="T124" r="T125" b="T126"/>
                    <a:pathLst>
                      <a:path w="261" h="227">
                        <a:moveTo>
                          <a:pt x="244" y="35"/>
                        </a:moveTo>
                        <a:lnTo>
                          <a:pt x="244" y="18"/>
                        </a:lnTo>
                        <a:lnTo>
                          <a:pt x="235" y="18"/>
                        </a:lnTo>
                        <a:lnTo>
                          <a:pt x="218" y="9"/>
                        </a:lnTo>
                        <a:lnTo>
                          <a:pt x="200" y="0"/>
                        </a:lnTo>
                        <a:lnTo>
                          <a:pt x="192" y="0"/>
                        </a:lnTo>
                        <a:lnTo>
                          <a:pt x="87" y="87"/>
                        </a:lnTo>
                        <a:lnTo>
                          <a:pt x="78" y="79"/>
                        </a:lnTo>
                        <a:lnTo>
                          <a:pt x="70" y="87"/>
                        </a:lnTo>
                        <a:lnTo>
                          <a:pt x="70" y="122"/>
                        </a:lnTo>
                        <a:lnTo>
                          <a:pt x="52" y="157"/>
                        </a:lnTo>
                        <a:lnTo>
                          <a:pt x="0" y="157"/>
                        </a:lnTo>
                        <a:lnTo>
                          <a:pt x="9" y="175"/>
                        </a:lnTo>
                        <a:lnTo>
                          <a:pt x="17" y="192"/>
                        </a:lnTo>
                        <a:lnTo>
                          <a:pt x="26" y="227"/>
                        </a:lnTo>
                        <a:lnTo>
                          <a:pt x="35" y="227"/>
                        </a:lnTo>
                        <a:lnTo>
                          <a:pt x="43" y="209"/>
                        </a:lnTo>
                        <a:lnTo>
                          <a:pt x="61" y="218"/>
                        </a:lnTo>
                        <a:lnTo>
                          <a:pt x="70" y="192"/>
                        </a:lnTo>
                        <a:lnTo>
                          <a:pt x="87" y="183"/>
                        </a:lnTo>
                        <a:lnTo>
                          <a:pt x="122" y="201"/>
                        </a:lnTo>
                        <a:lnTo>
                          <a:pt x="131" y="192"/>
                        </a:lnTo>
                        <a:lnTo>
                          <a:pt x="148" y="209"/>
                        </a:lnTo>
                        <a:lnTo>
                          <a:pt x="165" y="192"/>
                        </a:lnTo>
                        <a:lnTo>
                          <a:pt x="183" y="183"/>
                        </a:lnTo>
                        <a:lnTo>
                          <a:pt x="200" y="201"/>
                        </a:lnTo>
                        <a:lnTo>
                          <a:pt x="218" y="192"/>
                        </a:lnTo>
                        <a:lnTo>
                          <a:pt x="209" y="183"/>
                        </a:lnTo>
                        <a:lnTo>
                          <a:pt x="227" y="183"/>
                        </a:lnTo>
                        <a:lnTo>
                          <a:pt x="235" y="148"/>
                        </a:lnTo>
                        <a:lnTo>
                          <a:pt x="253" y="122"/>
                        </a:lnTo>
                        <a:lnTo>
                          <a:pt x="253" y="114"/>
                        </a:lnTo>
                        <a:lnTo>
                          <a:pt x="253" y="105"/>
                        </a:lnTo>
                        <a:lnTo>
                          <a:pt x="253" y="96"/>
                        </a:lnTo>
                        <a:lnTo>
                          <a:pt x="253" y="87"/>
                        </a:lnTo>
                        <a:lnTo>
                          <a:pt x="253" y="79"/>
                        </a:lnTo>
                        <a:lnTo>
                          <a:pt x="261" y="70"/>
                        </a:lnTo>
                        <a:lnTo>
                          <a:pt x="244" y="3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5" name="Freeform 594"/>
                  <p:cNvSpPr>
                    <a:spLocks/>
                  </p:cNvSpPr>
                  <p:nvPr/>
                </p:nvSpPr>
                <p:spPr bwMode="auto">
                  <a:xfrm>
                    <a:off x="4362451" y="3219450"/>
                    <a:ext cx="414338" cy="360363"/>
                  </a:xfrm>
                  <a:custGeom>
                    <a:avLst/>
                    <a:gdLst>
                      <a:gd name="T0" fmla="*/ 2147483647 w 261"/>
                      <a:gd name="T1" fmla="*/ 2147483647 h 227"/>
                      <a:gd name="T2" fmla="*/ 2147483647 w 261"/>
                      <a:gd name="T3" fmla="*/ 2147483647 h 227"/>
                      <a:gd name="T4" fmla="*/ 2147483647 w 261"/>
                      <a:gd name="T5" fmla="*/ 2147483647 h 227"/>
                      <a:gd name="T6" fmla="*/ 2147483647 w 261"/>
                      <a:gd name="T7" fmla="*/ 2147483647 h 227"/>
                      <a:gd name="T8" fmla="*/ 2147483647 w 261"/>
                      <a:gd name="T9" fmla="*/ 0 h 227"/>
                      <a:gd name="T10" fmla="*/ 2147483647 w 261"/>
                      <a:gd name="T11" fmla="*/ 0 h 227"/>
                      <a:gd name="T12" fmla="*/ 2147483647 w 261"/>
                      <a:gd name="T13" fmla="*/ 2147483647 h 227"/>
                      <a:gd name="T14" fmla="*/ 2147483647 w 261"/>
                      <a:gd name="T15" fmla="*/ 2147483647 h 227"/>
                      <a:gd name="T16" fmla="*/ 2147483647 w 261"/>
                      <a:gd name="T17" fmla="*/ 2147483647 h 227"/>
                      <a:gd name="T18" fmla="*/ 2147483647 w 261"/>
                      <a:gd name="T19" fmla="*/ 2147483647 h 227"/>
                      <a:gd name="T20" fmla="*/ 2147483647 w 261"/>
                      <a:gd name="T21" fmla="*/ 2147483647 h 227"/>
                      <a:gd name="T22" fmla="*/ 0 w 261"/>
                      <a:gd name="T23" fmla="*/ 2147483647 h 227"/>
                      <a:gd name="T24" fmla="*/ 2147483647 w 261"/>
                      <a:gd name="T25" fmla="*/ 2147483647 h 227"/>
                      <a:gd name="T26" fmla="*/ 2147483647 w 261"/>
                      <a:gd name="T27" fmla="*/ 2147483647 h 227"/>
                      <a:gd name="T28" fmla="*/ 2147483647 w 261"/>
                      <a:gd name="T29" fmla="*/ 2147483647 h 227"/>
                      <a:gd name="T30" fmla="*/ 2147483647 w 261"/>
                      <a:gd name="T31" fmla="*/ 2147483647 h 227"/>
                      <a:gd name="T32" fmla="*/ 2147483647 w 261"/>
                      <a:gd name="T33" fmla="*/ 2147483647 h 227"/>
                      <a:gd name="T34" fmla="*/ 2147483647 w 261"/>
                      <a:gd name="T35" fmla="*/ 2147483647 h 227"/>
                      <a:gd name="T36" fmla="*/ 2147483647 w 261"/>
                      <a:gd name="T37" fmla="*/ 2147483647 h 227"/>
                      <a:gd name="T38" fmla="*/ 2147483647 w 261"/>
                      <a:gd name="T39" fmla="*/ 2147483647 h 227"/>
                      <a:gd name="T40" fmla="*/ 2147483647 w 261"/>
                      <a:gd name="T41" fmla="*/ 2147483647 h 227"/>
                      <a:gd name="T42" fmla="*/ 2147483647 w 261"/>
                      <a:gd name="T43" fmla="*/ 2147483647 h 227"/>
                      <a:gd name="T44" fmla="*/ 2147483647 w 261"/>
                      <a:gd name="T45" fmla="*/ 2147483647 h 227"/>
                      <a:gd name="T46" fmla="*/ 2147483647 w 261"/>
                      <a:gd name="T47" fmla="*/ 2147483647 h 227"/>
                      <a:gd name="T48" fmla="*/ 2147483647 w 261"/>
                      <a:gd name="T49" fmla="*/ 2147483647 h 227"/>
                      <a:gd name="T50" fmla="*/ 2147483647 w 261"/>
                      <a:gd name="T51" fmla="*/ 2147483647 h 227"/>
                      <a:gd name="T52" fmla="*/ 2147483647 w 261"/>
                      <a:gd name="T53" fmla="*/ 2147483647 h 227"/>
                      <a:gd name="T54" fmla="*/ 2147483647 w 261"/>
                      <a:gd name="T55" fmla="*/ 2147483647 h 227"/>
                      <a:gd name="T56" fmla="*/ 2147483647 w 261"/>
                      <a:gd name="T57" fmla="*/ 2147483647 h 227"/>
                      <a:gd name="T58" fmla="*/ 2147483647 w 261"/>
                      <a:gd name="T59" fmla="*/ 2147483647 h 227"/>
                      <a:gd name="T60" fmla="*/ 2147483647 w 261"/>
                      <a:gd name="T61" fmla="*/ 2147483647 h 227"/>
                      <a:gd name="T62" fmla="*/ 2147483647 w 261"/>
                      <a:gd name="T63" fmla="*/ 2147483647 h 227"/>
                      <a:gd name="T64" fmla="*/ 2147483647 w 261"/>
                      <a:gd name="T65" fmla="*/ 2147483647 h 227"/>
                      <a:gd name="T66" fmla="*/ 2147483647 w 261"/>
                      <a:gd name="T67" fmla="*/ 2147483647 h 227"/>
                      <a:gd name="T68" fmla="*/ 2147483647 w 261"/>
                      <a:gd name="T69" fmla="*/ 2147483647 h 227"/>
                      <a:gd name="T70" fmla="*/ 2147483647 w 261"/>
                      <a:gd name="T71" fmla="*/ 2147483647 h 227"/>
                      <a:gd name="T72" fmla="*/ 2147483647 w 261"/>
                      <a:gd name="T73" fmla="*/ 2147483647 h 227"/>
                      <a:gd name="T74" fmla="*/ 2147483647 w 261"/>
                      <a:gd name="T75" fmla="*/ 2147483647 h 227"/>
                      <a:gd name="T76" fmla="*/ 2147483647 w 261"/>
                      <a:gd name="T77" fmla="*/ 2147483647 h 227"/>
                      <a:gd name="T78" fmla="*/ 2147483647 w 261"/>
                      <a:gd name="T79" fmla="*/ 2147483647 h 227"/>
                      <a:gd name="T80" fmla="*/ 2147483647 w 261"/>
                      <a:gd name="T81" fmla="*/ 2147483647 h 227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w 261"/>
                      <a:gd name="T124" fmla="*/ 0 h 227"/>
                      <a:gd name="T125" fmla="*/ 261 w 261"/>
                      <a:gd name="T126" fmla="*/ 227 h 227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T123" t="T124" r="T125" b="T126"/>
                    <a:pathLst>
                      <a:path w="261" h="227">
                        <a:moveTo>
                          <a:pt x="244" y="35"/>
                        </a:moveTo>
                        <a:lnTo>
                          <a:pt x="244" y="18"/>
                        </a:lnTo>
                        <a:lnTo>
                          <a:pt x="235" y="18"/>
                        </a:lnTo>
                        <a:lnTo>
                          <a:pt x="218" y="9"/>
                        </a:lnTo>
                        <a:lnTo>
                          <a:pt x="200" y="0"/>
                        </a:lnTo>
                        <a:lnTo>
                          <a:pt x="192" y="0"/>
                        </a:lnTo>
                        <a:lnTo>
                          <a:pt x="87" y="87"/>
                        </a:lnTo>
                        <a:lnTo>
                          <a:pt x="78" y="79"/>
                        </a:lnTo>
                        <a:lnTo>
                          <a:pt x="70" y="87"/>
                        </a:lnTo>
                        <a:lnTo>
                          <a:pt x="70" y="122"/>
                        </a:lnTo>
                        <a:lnTo>
                          <a:pt x="52" y="157"/>
                        </a:lnTo>
                        <a:lnTo>
                          <a:pt x="0" y="157"/>
                        </a:lnTo>
                        <a:lnTo>
                          <a:pt x="9" y="175"/>
                        </a:lnTo>
                        <a:lnTo>
                          <a:pt x="17" y="192"/>
                        </a:lnTo>
                        <a:lnTo>
                          <a:pt x="26" y="227"/>
                        </a:lnTo>
                        <a:lnTo>
                          <a:pt x="35" y="227"/>
                        </a:lnTo>
                        <a:lnTo>
                          <a:pt x="43" y="209"/>
                        </a:lnTo>
                        <a:lnTo>
                          <a:pt x="61" y="218"/>
                        </a:lnTo>
                        <a:lnTo>
                          <a:pt x="70" y="192"/>
                        </a:lnTo>
                        <a:lnTo>
                          <a:pt x="87" y="183"/>
                        </a:lnTo>
                        <a:lnTo>
                          <a:pt x="122" y="201"/>
                        </a:lnTo>
                        <a:lnTo>
                          <a:pt x="131" y="192"/>
                        </a:lnTo>
                        <a:lnTo>
                          <a:pt x="148" y="209"/>
                        </a:lnTo>
                        <a:lnTo>
                          <a:pt x="165" y="192"/>
                        </a:lnTo>
                        <a:lnTo>
                          <a:pt x="183" y="183"/>
                        </a:lnTo>
                        <a:lnTo>
                          <a:pt x="200" y="201"/>
                        </a:lnTo>
                        <a:lnTo>
                          <a:pt x="218" y="192"/>
                        </a:lnTo>
                        <a:lnTo>
                          <a:pt x="209" y="183"/>
                        </a:lnTo>
                        <a:lnTo>
                          <a:pt x="227" y="183"/>
                        </a:lnTo>
                        <a:lnTo>
                          <a:pt x="235" y="148"/>
                        </a:lnTo>
                        <a:lnTo>
                          <a:pt x="253" y="122"/>
                        </a:lnTo>
                        <a:lnTo>
                          <a:pt x="253" y="114"/>
                        </a:lnTo>
                        <a:lnTo>
                          <a:pt x="253" y="105"/>
                        </a:lnTo>
                        <a:lnTo>
                          <a:pt x="253" y="96"/>
                        </a:lnTo>
                        <a:lnTo>
                          <a:pt x="253" y="87"/>
                        </a:lnTo>
                        <a:lnTo>
                          <a:pt x="253" y="79"/>
                        </a:lnTo>
                        <a:lnTo>
                          <a:pt x="261" y="70"/>
                        </a:lnTo>
                        <a:lnTo>
                          <a:pt x="244" y="3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6" name="Freeform 595"/>
                  <p:cNvSpPr>
                    <a:spLocks/>
                  </p:cNvSpPr>
                  <p:nvPr/>
                </p:nvSpPr>
                <p:spPr bwMode="auto">
                  <a:xfrm>
                    <a:off x="4210051" y="3468688"/>
                    <a:ext cx="193675" cy="152400"/>
                  </a:xfrm>
                  <a:custGeom>
                    <a:avLst/>
                    <a:gdLst>
                      <a:gd name="T0" fmla="*/ 2147483647 w 122"/>
                      <a:gd name="T1" fmla="*/ 2147483647 h 96"/>
                      <a:gd name="T2" fmla="*/ 2147483647 w 122"/>
                      <a:gd name="T3" fmla="*/ 2147483647 h 96"/>
                      <a:gd name="T4" fmla="*/ 2147483647 w 122"/>
                      <a:gd name="T5" fmla="*/ 2147483647 h 96"/>
                      <a:gd name="T6" fmla="*/ 0 w 122"/>
                      <a:gd name="T7" fmla="*/ 2147483647 h 96"/>
                      <a:gd name="T8" fmla="*/ 2147483647 w 122"/>
                      <a:gd name="T9" fmla="*/ 2147483647 h 96"/>
                      <a:gd name="T10" fmla="*/ 2147483647 w 122"/>
                      <a:gd name="T11" fmla="*/ 2147483647 h 96"/>
                      <a:gd name="T12" fmla="*/ 2147483647 w 122"/>
                      <a:gd name="T13" fmla="*/ 2147483647 h 96"/>
                      <a:gd name="T14" fmla="*/ 2147483647 w 122"/>
                      <a:gd name="T15" fmla="*/ 2147483647 h 96"/>
                      <a:gd name="T16" fmla="*/ 2147483647 w 122"/>
                      <a:gd name="T17" fmla="*/ 2147483647 h 96"/>
                      <a:gd name="T18" fmla="*/ 2147483647 w 122"/>
                      <a:gd name="T19" fmla="*/ 2147483647 h 96"/>
                      <a:gd name="T20" fmla="*/ 2147483647 w 122"/>
                      <a:gd name="T21" fmla="*/ 0 h 96"/>
                      <a:gd name="T22" fmla="*/ 2147483647 w 122"/>
                      <a:gd name="T23" fmla="*/ 2147483647 h 9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122"/>
                      <a:gd name="T37" fmla="*/ 0 h 96"/>
                      <a:gd name="T38" fmla="*/ 122 w 122"/>
                      <a:gd name="T39" fmla="*/ 96 h 96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122" h="96">
                        <a:moveTo>
                          <a:pt x="52" y="18"/>
                        </a:moveTo>
                        <a:lnTo>
                          <a:pt x="26" y="44"/>
                        </a:lnTo>
                        <a:lnTo>
                          <a:pt x="9" y="61"/>
                        </a:lnTo>
                        <a:lnTo>
                          <a:pt x="0" y="87"/>
                        </a:lnTo>
                        <a:lnTo>
                          <a:pt x="44" y="96"/>
                        </a:lnTo>
                        <a:lnTo>
                          <a:pt x="44" y="79"/>
                        </a:lnTo>
                        <a:lnTo>
                          <a:pt x="113" y="79"/>
                        </a:lnTo>
                        <a:lnTo>
                          <a:pt x="122" y="70"/>
                        </a:lnTo>
                        <a:lnTo>
                          <a:pt x="113" y="35"/>
                        </a:lnTo>
                        <a:lnTo>
                          <a:pt x="105" y="18"/>
                        </a:lnTo>
                        <a:lnTo>
                          <a:pt x="96" y="0"/>
                        </a:lnTo>
                        <a:lnTo>
                          <a:pt x="52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7" name="Freeform 596"/>
                  <p:cNvSpPr>
                    <a:spLocks/>
                  </p:cNvSpPr>
                  <p:nvPr/>
                </p:nvSpPr>
                <p:spPr bwMode="auto">
                  <a:xfrm>
                    <a:off x="4210051" y="3468688"/>
                    <a:ext cx="193675" cy="152400"/>
                  </a:xfrm>
                  <a:custGeom>
                    <a:avLst/>
                    <a:gdLst>
                      <a:gd name="T0" fmla="*/ 2147483647 w 122"/>
                      <a:gd name="T1" fmla="*/ 2147483647 h 96"/>
                      <a:gd name="T2" fmla="*/ 2147483647 w 122"/>
                      <a:gd name="T3" fmla="*/ 2147483647 h 96"/>
                      <a:gd name="T4" fmla="*/ 2147483647 w 122"/>
                      <a:gd name="T5" fmla="*/ 2147483647 h 96"/>
                      <a:gd name="T6" fmla="*/ 0 w 122"/>
                      <a:gd name="T7" fmla="*/ 2147483647 h 96"/>
                      <a:gd name="T8" fmla="*/ 2147483647 w 122"/>
                      <a:gd name="T9" fmla="*/ 2147483647 h 96"/>
                      <a:gd name="T10" fmla="*/ 2147483647 w 122"/>
                      <a:gd name="T11" fmla="*/ 2147483647 h 96"/>
                      <a:gd name="T12" fmla="*/ 2147483647 w 122"/>
                      <a:gd name="T13" fmla="*/ 2147483647 h 96"/>
                      <a:gd name="T14" fmla="*/ 2147483647 w 122"/>
                      <a:gd name="T15" fmla="*/ 2147483647 h 96"/>
                      <a:gd name="T16" fmla="*/ 2147483647 w 122"/>
                      <a:gd name="T17" fmla="*/ 2147483647 h 96"/>
                      <a:gd name="T18" fmla="*/ 2147483647 w 122"/>
                      <a:gd name="T19" fmla="*/ 2147483647 h 96"/>
                      <a:gd name="T20" fmla="*/ 2147483647 w 122"/>
                      <a:gd name="T21" fmla="*/ 0 h 96"/>
                      <a:gd name="T22" fmla="*/ 2147483647 w 122"/>
                      <a:gd name="T23" fmla="*/ 2147483647 h 9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122"/>
                      <a:gd name="T37" fmla="*/ 0 h 96"/>
                      <a:gd name="T38" fmla="*/ 122 w 122"/>
                      <a:gd name="T39" fmla="*/ 96 h 96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122" h="96">
                        <a:moveTo>
                          <a:pt x="52" y="18"/>
                        </a:moveTo>
                        <a:lnTo>
                          <a:pt x="26" y="44"/>
                        </a:lnTo>
                        <a:lnTo>
                          <a:pt x="9" y="61"/>
                        </a:lnTo>
                        <a:lnTo>
                          <a:pt x="0" y="87"/>
                        </a:lnTo>
                        <a:lnTo>
                          <a:pt x="44" y="96"/>
                        </a:lnTo>
                        <a:lnTo>
                          <a:pt x="44" y="79"/>
                        </a:lnTo>
                        <a:lnTo>
                          <a:pt x="113" y="79"/>
                        </a:lnTo>
                        <a:lnTo>
                          <a:pt x="122" y="70"/>
                        </a:lnTo>
                        <a:lnTo>
                          <a:pt x="113" y="35"/>
                        </a:lnTo>
                        <a:lnTo>
                          <a:pt x="105" y="18"/>
                        </a:lnTo>
                        <a:lnTo>
                          <a:pt x="96" y="0"/>
                        </a:lnTo>
                        <a:lnTo>
                          <a:pt x="52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8" name="Freeform 597"/>
                  <p:cNvSpPr>
                    <a:spLocks/>
                  </p:cNvSpPr>
                  <p:nvPr/>
                </p:nvSpPr>
                <p:spPr bwMode="auto">
                  <a:xfrm>
                    <a:off x="3890964" y="3427413"/>
                    <a:ext cx="166688" cy="138113"/>
                  </a:xfrm>
                  <a:custGeom>
                    <a:avLst/>
                    <a:gdLst>
                      <a:gd name="T0" fmla="*/ 2147483647 w 105"/>
                      <a:gd name="T1" fmla="*/ 2147483647 h 87"/>
                      <a:gd name="T2" fmla="*/ 2147483647 w 105"/>
                      <a:gd name="T3" fmla="*/ 0 h 87"/>
                      <a:gd name="T4" fmla="*/ 2147483647 w 105"/>
                      <a:gd name="T5" fmla="*/ 2147483647 h 87"/>
                      <a:gd name="T6" fmla="*/ 0 w 105"/>
                      <a:gd name="T7" fmla="*/ 2147483647 h 87"/>
                      <a:gd name="T8" fmla="*/ 2147483647 w 105"/>
                      <a:gd name="T9" fmla="*/ 2147483647 h 87"/>
                      <a:gd name="T10" fmla="*/ 2147483647 w 105"/>
                      <a:gd name="T11" fmla="*/ 2147483647 h 87"/>
                      <a:gd name="T12" fmla="*/ 2147483647 w 105"/>
                      <a:gd name="T13" fmla="*/ 2147483647 h 87"/>
                      <a:gd name="T14" fmla="*/ 2147483647 w 105"/>
                      <a:gd name="T15" fmla="*/ 2147483647 h 87"/>
                      <a:gd name="T16" fmla="*/ 2147483647 w 105"/>
                      <a:gd name="T17" fmla="*/ 2147483647 h 87"/>
                      <a:gd name="T18" fmla="*/ 2147483647 w 105"/>
                      <a:gd name="T19" fmla="*/ 2147483647 h 87"/>
                      <a:gd name="T20" fmla="*/ 2147483647 w 105"/>
                      <a:gd name="T21" fmla="*/ 2147483647 h 87"/>
                      <a:gd name="T22" fmla="*/ 2147483647 w 105"/>
                      <a:gd name="T23" fmla="*/ 2147483647 h 87"/>
                      <a:gd name="T24" fmla="*/ 2147483647 w 105"/>
                      <a:gd name="T25" fmla="*/ 2147483647 h 87"/>
                      <a:gd name="T26" fmla="*/ 2147483647 w 105"/>
                      <a:gd name="T27" fmla="*/ 2147483647 h 87"/>
                      <a:gd name="T28" fmla="*/ 2147483647 w 105"/>
                      <a:gd name="T29" fmla="*/ 2147483647 h 87"/>
                      <a:gd name="T30" fmla="*/ 2147483647 w 105"/>
                      <a:gd name="T31" fmla="*/ 2147483647 h 87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105"/>
                      <a:gd name="T49" fmla="*/ 0 h 87"/>
                      <a:gd name="T50" fmla="*/ 105 w 105"/>
                      <a:gd name="T51" fmla="*/ 87 h 87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105" h="87">
                        <a:moveTo>
                          <a:pt x="70" y="9"/>
                        </a:moveTo>
                        <a:lnTo>
                          <a:pt x="44" y="0"/>
                        </a:lnTo>
                        <a:lnTo>
                          <a:pt x="9" y="9"/>
                        </a:lnTo>
                        <a:lnTo>
                          <a:pt x="0" y="35"/>
                        </a:lnTo>
                        <a:lnTo>
                          <a:pt x="9" y="52"/>
                        </a:lnTo>
                        <a:lnTo>
                          <a:pt x="53" y="44"/>
                        </a:lnTo>
                        <a:lnTo>
                          <a:pt x="61" y="61"/>
                        </a:lnTo>
                        <a:lnTo>
                          <a:pt x="9" y="61"/>
                        </a:lnTo>
                        <a:lnTo>
                          <a:pt x="9" y="78"/>
                        </a:lnTo>
                        <a:lnTo>
                          <a:pt x="61" y="78"/>
                        </a:lnTo>
                        <a:lnTo>
                          <a:pt x="105" y="87"/>
                        </a:lnTo>
                        <a:lnTo>
                          <a:pt x="105" y="70"/>
                        </a:lnTo>
                        <a:lnTo>
                          <a:pt x="88" y="61"/>
                        </a:lnTo>
                        <a:lnTo>
                          <a:pt x="88" y="35"/>
                        </a:lnTo>
                        <a:lnTo>
                          <a:pt x="70" y="26"/>
                        </a:lnTo>
                        <a:lnTo>
                          <a:pt x="70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9" name="Freeform 598"/>
                  <p:cNvSpPr>
                    <a:spLocks/>
                  </p:cNvSpPr>
                  <p:nvPr/>
                </p:nvSpPr>
                <p:spPr bwMode="auto">
                  <a:xfrm>
                    <a:off x="3890964" y="3427413"/>
                    <a:ext cx="166688" cy="138113"/>
                  </a:xfrm>
                  <a:custGeom>
                    <a:avLst/>
                    <a:gdLst>
                      <a:gd name="T0" fmla="*/ 2147483647 w 105"/>
                      <a:gd name="T1" fmla="*/ 2147483647 h 87"/>
                      <a:gd name="T2" fmla="*/ 2147483647 w 105"/>
                      <a:gd name="T3" fmla="*/ 0 h 87"/>
                      <a:gd name="T4" fmla="*/ 2147483647 w 105"/>
                      <a:gd name="T5" fmla="*/ 2147483647 h 87"/>
                      <a:gd name="T6" fmla="*/ 0 w 105"/>
                      <a:gd name="T7" fmla="*/ 2147483647 h 87"/>
                      <a:gd name="T8" fmla="*/ 2147483647 w 105"/>
                      <a:gd name="T9" fmla="*/ 2147483647 h 87"/>
                      <a:gd name="T10" fmla="*/ 2147483647 w 105"/>
                      <a:gd name="T11" fmla="*/ 2147483647 h 87"/>
                      <a:gd name="T12" fmla="*/ 2147483647 w 105"/>
                      <a:gd name="T13" fmla="*/ 2147483647 h 87"/>
                      <a:gd name="T14" fmla="*/ 2147483647 w 105"/>
                      <a:gd name="T15" fmla="*/ 2147483647 h 87"/>
                      <a:gd name="T16" fmla="*/ 2147483647 w 105"/>
                      <a:gd name="T17" fmla="*/ 2147483647 h 87"/>
                      <a:gd name="T18" fmla="*/ 2147483647 w 105"/>
                      <a:gd name="T19" fmla="*/ 2147483647 h 87"/>
                      <a:gd name="T20" fmla="*/ 2147483647 w 105"/>
                      <a:gd name="T21" fmla="*/ 2147483647 h 87"/>
                      <a:gd name="T22" fmla="*/ 2147483647 w 105"/>
                      <a:gd name="T23" fmla="*/ 2147483647 h 87"/>
                      <a:gd name="T24" fmla="*/ 2147483647 w 105"/>
                      <a:gd name="T25" fmla="*/ 2147483647 h 87"/>
                      <a:gd name="T26" fmla="*/ 2147483647 w 105"/>
                      <a:gd name="T27" fmla="*/ 2147483647 h 87"/>
                      <a:gd name="T28" fmla="*/ 2147483647 w 105"/>
                      <a:gd name="T29" fmla="*/ 2147483647 h 87"/>
                      <a:gd name="T30" fmla="*/ 2147483647 w 105"/>
                      <a:gd name="T31" fmla="*/ 2147483647 h 87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105"/>
                      <a:gd name="T49" fmla="*/ 0 h 87"/>
                      <a:gd name="T50" fmla="*/ 105 w 105"/>
                      <a:gd name="T51" fmla="*/ 87 h 87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105" h="87">
                        <a:moveTo>
                          <a:pt x="70" y="9"/>
                        </a:moveTo>
                        <a:lnTo>
                          <a:pt x="44" y="0"/>
                        </a:lnTo>
                        <a:lnTo>
                          <a:pt x="9" y="9"/>
                        </a:lnTo>
                        <a:lnTo>
                          <a:pt x="0" y="35"/>
                        </a:lnTo>
                        <a:lnTo>
                          <a:pt x="9" y="52"/>
                        </a:lnTo>
                        <a:lnTo>
                          <a:pt x="53" y="44"/>
                        </a:lnTo>
                        <a:lnTo>
                          <a:pt x="61" y="61"/>
                        </a:lnTo>
                        <a:lnTo>
                          <a:pt x="9" y="61"/>
                        </a:lnTo>
                        <a:lnTo>
                          <a:pt x="9" y="78"/>
                        </a:lnTo>
                        <a:lnTo>
                          <a:pt x="61" y="78"/>
                        </a:lnTo>
                        <a:lnTo>
                          <a:pt x="105" y="87"/>
                        </a:lnTo>
                        <a:lnTo>
                          <a:pt x="105" y="70"/>
                        </a:lnTo>
                        <a:lnTo>
                          <a:pt x="88" y="61"/>
                        </a:lnTo>
                        <a:lnTo>
                          <a:pt x="88" y="35"/>
                        </a:lnTo>
                        <a:lnTo>
                          <a:pt x="70" y="26"/>
                        </a:lnTo>
                        <a:lnTo>
                          <a:pt x="70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0" name="Freeform 599"/>
                  <p:cNvSpPr>
                    <a:spLocks/>
                  </p:cNvSpPr>
                  <p:nvPr/>
                </p:nvSpPr>
                <p:spPr bwMode="auto">
                  <a:xfrm>
                    <a:off x="3905251" y="3497263"/>
                    <a:ext cx="82550" cy="26988"/>
                  </a:xfrm>
                  <a:custGeom>
                    <a:avLst/>
                    <a:gdLst>
                      <a:gd name="T0" fmla="*/ 2147483647 w 52"/>
                      <a:gd name="T1" fmla="*/ 0 h 17"/>
                      <a:gd name="T2" fmla="*/ 0 w 52"/>
                      <a:gd name="T3" fmla="*/ 2147483647 h 17"/>
                      <a:gd name="T4" fmla="*/ 0 w 52"/>
                      <a:gd name="T5" fmla="*/ 2147483647 h 17"/>
                      <a:gd name="T6" fmla="*/ 2147483647 w 52"/>
                      <a:gd name="T7" fmla="*/ 2147483647 h 17"/>
                      <a:gd name="T8" fmla="*/ 2147483647 w 52"/>
                      <a:gd name="T9" fmla="*/ 0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2"/>
                      <a:gd name="T16" fmla="*/ 0 h 17"/>
                      <a:gd name="T17" fmla="*/ 52 w 52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2" h="17">
                        <a:moveTo>
                          <a:pt x="44" y="0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1" name="Freeform 600"/>
                  <p:cNvSpPr>
                    <a:spLocks/>
                  </p:cNvSpPr>
                  <p:nvPr/>
                </p:nvSpPr>
                <p:spPr bwMode="auto">
                  <a:xfrm>
                    <a:off x="3905251" y="3497263"/>
                    <a:ext cx="82550" cy="26988"/>
                  </a:xfrm>
                  <a:custGeom>
                    <a:avLst/>
                    <a:gdLst>
                      <a:gd name="T0" fmla="*/ 2147483647 w 52"/>
                      <a:gd name="T1" fmla="*/ 0 h 17"/>
                      <a:gd name="T2" fmla="*/ 0 w 52"/>
                      <a:gd name="T3" fmla="*/ 2147483647 h 17"/>
                      <a:gd name="T4" fmla="*/ 0 w 52"/>
                      <a:gd name="T5" fmla="*/ 2147483647 h 17"/>
                      <a:gd name="T6" fmla="*/ 2147483647 w 52"/>
                      <a:gd name="T7" fmla="*/ 2147483647 h 17"/>
                      <a:gd name="T8" fmla="*/ 2147483647 w 52"/>
                      <a:gd name="T9" fmla="*/ 0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2"/>
                      <a:gd name="T16" fmla="*/ 0 h 17"/>
                      <a:gd name="T17" fmla="*/ 52 w 52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2" h="17">
                        <a:moveTo>
                          <a:pt x="44" y="0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2" name="Freeform 601"/>
                  <p:cNvSpPr>
                    <a:spLocks/>
                  </p:cNvSpPr>
                  <p:nvPr/>
                </p:nvSpPr>
                <p:spPr bwMode="auto">
                  <a:xfrm>
                    <a:off x="4043364" y="3662363"/>
                    <a:ext cx="111125" cy="125413"/>
                  </a:xfrm>
                  <a:custGeom>
                    <a:avLst/>
                    <a:gdLst>
                      <a:gd name="T0" fmla="*/ 2147483647 w 70"/>
                      <a:gd name="T1" fmla="*/ 0 h 79"/>
                      <a:gd name="T2" fmla="*/ 0 w 70"/>
                      <a:gd name="T3" fmla="*/ 2147483647 h 79"/>
                      <a:gd name="T4" fmla="*/ 2147483647 w 70"/>
                      <a:gd name="T5" fmla="*/ 2147483647 h 79"/>
                      <a:gd name="T6" fmla="*/ 2147483647 w 70"/>
                      <a:gd name="T7" fmla="*/ 2147483647 h 79"/>
                      <a:gd name="T8" fmla="*/ 2147483647 w 70"/>
                      <a:gd name="T9" fmla="*/ 2147483647 h 79"/>
                      <a:gd name="T10" fmla="*/ 2147483647 w 70"/>
                      <a:gd name="T11" fmla="*/ 0 h 79"/>
                      <a:gd name="T12" fmla="*/ 2147483647 w 70"/>
                      <a:gd name="T13" fmla="*/ 0 h 79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70"/>
                      <a:gd name="T22" fmla="*/ 0 h 79"/>
                      <a:gd name="T23" fmla="*/ 70 w 70"/>
                      <a:gd name="T24" fmla="*/ 79 h 79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70" h="79">
                        <a:moveTo>
                          <a:pt x="18" y="0"/>
                        </a:moveTo>
                        <a:lnTo>
                          <a:pt x="0" y="26"/>
                        </a:lnTo>
                        <a:lnTo>
                          <a:pt x="61" y="79"/>
                        </a:lnTo>
                        <a:lnTo>
                          <a:pt x="70" y="61"/>
                        </a:lnTo>
                        <a:lnTo>
                          <a:pt x="53" y="18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3" name="Freeform 602"/>
                  <p:cNvSpPr>
                    <a:spLocks/>
                  </p:cNvSpPr>
                  <p:nvPr/>
                </p:nvSpPr>
                <p:spPr bwMode="auto">
                  <a:xfrm>
                    <a:off x="4043364" y="3662363"/>
                    <a:ext cx="111125" cy="125413"/>
                  </a:xfrm>
                  <a:custGeom>
                    <a:avLst/>
                    <a:gdLst>
                      <a:gd name="T0" fmla="*/ 2147483647 w 70"/>
                      <a:gd name="T1" fmla="*/ 0 h 79"/>
                      <a:gd name="T2" fmla="*/ 0 w 70"/>
                      <a:gd name="T3" fmla="*/ 2147483647 h 79"/>
                      <a:gd name="T4" fmla="*/ 2147483647 w 70"/>
                      <a:gd name="T5" fmla="*/ 2147483647 h 79"/>
                      <a:gd name="T6" fmla="*/ 2147483647 w 70"/>
                      <a:gd name="T7" fmla="*/ 2147483647 h 79"/>
                      <a:gd name="T8" fmla="*/ 2147483647 w 70"/>
                      <a:gd name="T9" fmla="*/ 2147483647 h 79"/>
                      <a:gd name="T10" fmla="*/ 2147483647 w 70"/>
                      <a:gd name="T11" fmla="*/ 0 h 79"/>
                      <a:gd name="T12" fmla="*/ 2147483647 w 70"/>
                      <a:gd name="T13" fmla="*/ 0 h 79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70"/>
                      <a:gd name="T22" fmla="*/ 0 h 79"/>
                      <a:gd name="T23" fmla="*/ 70 w 70"/>
                      <a:gd name="T24" fmla="*/ 79 h 79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70" h="79">
                        <a:moveTo>
                          <a:pt x="18" y="0"/>
                        </a:moveTo>
                        <a:lnTo>
                          <a:pt x="0" y="26"/>
                        </a:lnTo>
                        <a:lnTo>
                          <a:pt x="61" y="79"/>
                        </a:lnTo>
                        <a:lnTo>
                          <a:pt x="70" y="61"/>
                        </a:lnTo>
                        <a:lnTo>
                          <a:pt x="53" y="18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4" name="Freeform 603"/>
                  <p:cNvSpPr>
                    <a:spLocks/>
                  </p:cNvSpPr>
                  <p:nvPr/>
                </p:nvSpPr>
                <p:spPr bwMode="auto">
                  <a:xfrm>
                    <a:off x="4002089" y="3621088"/>
                    <a:ext cx="69850" cy="82550"/>
                  </a:xfrm>
                  <a:custGeom>
                    <a:avLst/>
                    <a:gdLst>
                      <a:gd name="T0" fmla="*/ 0 w 44"/>
                      <a:gd name="T1" fmla="*/ 2147483647 h 52"/>
                      <a:gd name="T2" fmla="*/ 2147483647 w 44"/>
                      <a:gd name="T3" fmla="*/ 2147483647 h 52"/>
                      <a:gd name="T4" fmla="*/ 2147483647 w 44"/>
                      <a:gd name="T5" fmla="*/ 2147483647 h 52"/>
                      <a:gd name="T6" fmla="*/ 2147483647 w 44"/>
                      <a:gd name="T7" fmla="*/ 2147483647 h 52"/>
                      <a:gd name="T8" fmla="*/ 2147483647 w 44"/>
                      <a:gd name="T9" fmla="*/ 0 h 52"/>
                      <a:gd name="T10" fmla="*/ 2147483647 w 44"/>
                      <a:gd name="T11" fmla="*/ 0 h 52"/>
                      <a:gd name="T12" fmla="*/ 0 w 44"/>
                      <a:gd name="T13" fmla="*/ 2147483647 h 5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44"/>
                      <a:gd name="T22" fmla="*/ 0 h 52"/>
                      <a:gd name="T23" fmla="*/ 44 w 44"/>
                      <a:gd name="T24" fmla="*/ 52 h 5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44" h="52">
                        <a:moveTo>
                          <a:pt x="0" y="17"/>
                        </a:moveTo>
                        <a:lnTo>
                          <a:pt x="9" y="44"/>
                        </a:lnTo>
                        <a:lnTo>
                          <a:pt x="26" y="52"/>
                        </a:lnTo>
                        <a:lnTo>
                          <a:pt x="44" y="26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lnTo>
                          <a:pt x="0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5" name="Freeform 604"/>
                  <p:cNvSpPr>
                    <a:spLocks/>
                  </p:cNvSpPr>
                  <p:nvPr/>
                </p:nvSpPr>
                <p:spPr bwMode="auto">
                  <a:xfrm>
                    <a:off x="4002089" y="3621088"/>
                    <a:ext cx="69850" cy="82550"/>
                  </a:xfrm>
                  <a:custGeom>
                    <a:avLst/>
                    <a:gdLst>
                      <a:gd name="T0" fmla="*/ 0 w 44"/>
                      <a:gd name="T1" fmla="*/ 2147483647 h 52"/>
                      <a:gd name="T2" fmla="*/ 2147483647 w 44"/>
                      <a:gd name="T3" fmla="*/ 2147483647 h 52"/>
                      <a:gd name="T4" fmla="*/ 2147483647 w 44"/>
                      <a:gd name="T5" fmla="*/ 2147483647 h 52"/>
                      <a:gd name="T6" fmla="*/ 2147483647 w 44"/>
                      <a:gd name="T7" fmla="*/ 2147483647 h 52"/>
                      <a:gd name="T8" fmla="*/ 2147483647 w 44"/>
                      <a:gd name="T9" fmla="*/ 0 h 52"/>
                      <a:gd name="T10" fmla="*/ 2147483647 w 44"/>
                      <a:gd name="T11" fmla="*/ 0 h 52"/>
                      <a:gd name="T12" fmla="*/ 0 w 44"/>
                      <a:gd name="T13" fmla="*/ 2147483647 h 5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44"/>
                      <a:gd name="T22" fmla="*/ 0 h 52"/>
                      <a:gd name="T23" fmla="*/ 44 w 44"/>
                      <a:gd name="T24" fmla="*/ 52 h 5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44" h="52">
                        <a:moveTo>
                          <a:pt x="0" y="17"/>
                        </a:moveTo>
                        <a:lnTo>
                          <a:pt x="9" y="44"/>
                        </a:lnTo>
                        <a:lnTo>
                          <a:pt x="26" y="52"/>
                        </a:lnTo>
                        <a:lnTo>
                          <a:pt x="44" y="26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lnTo>
                          <a:pt x="0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6" name="Freeform 605"/>
                  <p:cNvSpPr>
                    <a:spLocks/>
                  </p:cNvSpPr>
                  <p:nvPr/>
                </p:nvSpPr>
                <p:spPr bwMode="auto">
                  <a:xfrm>
                    <a:off x="3946526" y="3551238"/>
                    <a:ext cx="193675" cy="139700"/>
                  </a:xfrm>
                  <a:custGeom>
                    <a:avLst/>
                    <a:gdLst>
                      <a:gd name="T0" fmla="*/ 2147483647 w 122"/>
                      <a:gd name="T1" fmla="*/ 0 h 88"/>
                      <a:gd name="T2" fmla="*/ 2147483647 w 122"/>
                      <a:gd name="T3" fmla="*/ 2147483647 h 88"/>
                      <a:gd name="T4" fmla="*/ 2147483647 w 122"/>
                      <a:gd name="T5" fmla="*/ 0 h 88"/>
                      <a:gd name="T6" fmla="*/ 2147483647 w 122"/>
                      <a:gd name="T7" fmla="*/ 2147483647 h 88"/>
                      <a:gd name="T8" fmla="*/ 0 w 122"/>
                      <a:gd name="T9" fmla="*/ 2147483647 h 88"/>
                      <a:gd name="T10" fmla="*/ 2147483647 w 122"/>
                      <a:gd name="T11" fmla="*/ 2147483647 h 88"/>
                      <a:gd name="T12" fmla="*/ 2147483647 w 122"/>
                      <a:gd name="T13" fmla="*/ 2147483647 h 88"/>
                      <a:gd name="T14" fmla="*/ 2147483647 w 122"/>
                      <a:gd name="T15" fmla="*/ 2147483647 h 88"/>
                      <a:gd name="T16" fmla="*/ 2147483647 w 122"/>
                      <a:gd name="T17" fmla="*/ 2147483647 h 88"/>
                      <a:gd name="T18" fmla="*/ 2147483647 w 122"/>
                      <a:gd name="T19" fmla="*/ 2147483647 h 88"/>
                      <a:gd name="T20" fmla="*/ 2147483647 w 122"/>
                      <a:gd name="T21" fmla="*/ 2147483647 h 88"/>
                      <a:gd name="T22" fmla="*/ 2147483647 w 122"/>
                      <a:gd name="T23" fmla="*/ 2147483647 h 88"/>
                      <a:gd name="T24" fmla="*/ 2147483647 w 122"/>
                      <a:gd name="T25" fmla="*/ 2147483647 h 88"/>
                      <a:gd name="T26" fmla="*/ 2147483647 w 122"/>
                      <a:gd name="T27" fmla="*/ 0 h 88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22"/>
                      <a:gd name="T43" fmla="*/ 0 h 88"/>
                      <a:gd name="T44" fmla="*/ 122 w 122"/>
                      <a:gd name="T45" fmla="*/ 88 h 88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22" h="88">
                        <a:moveTo>
                          <a:pt x="96" y="0"/>
                        </a:moveTo>
                        <a:lnTo>
                          <a:pt x="70" y="9"/>
                        </a:lnTo>
                        <a:lnTo>
                          <a:pt x="26" y="0"/>
                        </a:lnTo>
                        <a:lnTo>
                          <a:pt x="35" y="9"/>
                        </a:lnTo>
                        <a:lnTo>
                          <a:pt x="0" y="27"/>
                        </a:lnTo>
                        <a:lnTo>
                          <a:pt x="35" y="61"/>
                        </a:lnTo>
                        <a:lnTo>
                          <a:pt x="53" y="44"/>
                        </a:lnTo>
                        <a:lnTo>
                          <a:pt x="70" y="44"/>
                        </a:lnTo>
                        <a:lnTo>
                          <a:pt x="79" y="70"/>
                        </a:lnTo>
                        <a:lnTo>
                          <a:pt x="96" y="70"/>
                        </a:lnTo>
                        <a:lnTo>
                          <a:pt x="114" y="88"/>
                        </a:lnTo>
                        <a:lnTo>
                          <a:pt x="122" y="79"/>
                        </a:lnTo>
                        <a:lnTo>
                          <a:pt x="122" y="35"/>
                        </a:lnTo>
                        <a:lnTo>
                          <a:pt x="96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7" name="Freeform 606"/>
                  <p:cNvSpPr>
                    <a:spLocks/>
                  </p:cNvSpPr>
                  <p:nvPr/>
                </p:nvSpPr>
                <p:spPr bwMode="auto">
                  <a:xfrm>
                    <a:off x="3946526" y="3551238"/>
                    <a:ext cx="193675" cy="139700"/>
                  </a:xfrm>
                  <a:custGeom>
                    <a:avLst/>
                    <a:gdLst>
                      <a:gd name="T0" fmla="*/ 2147483647 w 122"/>
                      <a:gd name="T1" fmla="*/ 0 h 88"/>
                      <a:gd name="T2" fmla="*/ 2147483647 w 122"/>
                      <a:gd name="T3" fmla="*/ 2147483647 h 88"/>
                      <a:gd name="T4" fmla="*/ 2147483647 w 122"/>
                      <a:gd name="T5" fmla="*/ 0 h 88"/>
                      <a:gd name="T6" fmla="*/ 2147483647 w 122"/>
                      <a:gd name="T7" fmla="*/ 2147483647 h 88"/>
                      <a:gd name="T8" fmla="*/ 0 w 122"/>
                      <a:gd name="T9" fmla="*/ 2147483647 h 88"/>
                      <a:gd name="T10" fmla="*/ 2147483647 w 122"/>
                      <a:gd name="T11" fmla="*/ 2147483647 h 88"/>
                      <a:gd name="T12" fmla="*/ 2147483647 w 122"/>
                      <a:gd name="T13" fmla="*/ 2147483647 h 88"/>
                      <a:gd name="T14" fmla="*/ 2147483647 w 122"/>
                      <a:gd name="T15" fmla="*/ 2147483647 h 88"/>
                      <a:gd name="T16" fmla="*/ 2147483647 w 122"/>
                      <a:gd name="T17" fmla="*/ 2147483647 h 88"/>
                      <a:gd name="T18" fmla="*/ 2147483647 w 122"/>
                      <a:gd name="T19" fmla="*/ 2147483647 h 88"/>
                      <a:gd name="T20" fmla="*/ 2147483647 w 122"/>
                      <a:gd name="T21" fmla="*/ 2147483647 h 88"/>
                      <a:gd name="T22" fmla="*/ 2147483647 w 122"/>
                      <a:gd name="T23" fmla="*/ 2147483647 h 88"/>
                      <a:gd name="T24" fmla="*/ 2147483647 w 122"/>
                      <a:gd name="T25" fmla="*/ 2147483647 h 88"/>
                      <a:gd name="T26" fmla="*/ 2147483647 w 122"/>
                      <a:gd name="T27" fmla="*/ 0 h 88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22"/>
                      <a:gd name="T43" fmla="*/ 0 h 88"/>
                      <a:gd name="T44" fmla="*/ 122 w 122"/>
                      <a:gd name="T45" fmla="*/ 88 h 88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22" h="88">
                        <a:moveTo>
                          <a:pt x="96" y="0"/>
                        </a:moveTo>
                        <a:lnTo>
                          <a:pt x="70" y="9"/>
                        </a:lnTo>
                        <a:lnTo>
                          <a:pt x="26" y="0"/>
                        </a:lnTo>
                        <a:lnTo>
                          <a:pt x="35" y="9"/>
                        </a:lnTo>
                        <a:lnTo>
                          <a:pt x="0" y="27"/>
                        </a:lnTo>
                        <a:lnTo>
                          <a:pt x="35" y="61"/>
                        </a:lnTo>
                        <a:lnTo>
                          <a:pt x="53" y="44"/>
                        </a:lnTo>
                        <a:lnTo>
                          <a:pt x="70" y="44"/>
                        </a:lnTo>
                        <a:lnTo>
                          <a:pt x="79" y="70"/>
                        </a:lnTo>
                        <a:lnTo>
                          <a:pt x="96" y="70"/>
                        </a:lnTo>
                        <a:lnTo>
                          <a:pt x="114" y="88"/>
                        </a:lnTo>
                        <a:lnTo>
                          <a:pt x="122" y="79"/>
                        </a:lnTo>
                        <a:lnTo>
                          <a:pt x="122" y="35"/>
                        </a:lnTo>
                        <a:lnTo>
                          <a:pt x="96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8" name="Freeform 607"/>
                  <p:cNvSpPr>
                    <a:spLocks/>
                  </p:cNvSpPr>
                  <p:nvPr/>
                </p:nvSpPr>
                <p:spPr bwMode="auto">
                  <a:xfrm>
                    <a:off x="3905251" y="3551238"/>
                    <a:ext cx="96838" cy="42863"/>
                  </a:xfrm>
                  <a:custGeom>
                    <a:avLst/>
                    <a:gdLst>
                      <a:gd name="T0" fmla="*/ 0 w 61"/>
                      <a:gd name="T1" fmla="*/ 0 h 27"/>
                      <a:gd name="T2" fmla="*/ 2147483647 w 61"/>
                      <a:gd name="T3" fmla="*/ 2147483647 h 27"/>
                      <a:gd name="T4" fmla="*/ 2147483647 w 61"/>
                      <a:gd name="T5" fmla="*/ 2147483647 h 27"/>
                      <a:gd name="T6" fmla="*/ 2147483647 w 61"/>
                      <a:gd name="T7" fmla="*/ 2147483647 h 27"/>
                      <a:gd name="T8" fmla="*/ 2147483647 w 61"/>
                      <a:gd name="T9" fmla="*/ 0 h 27"/>
                      <a:gd name="T10" fmla="*/ 0 w 61"/>
                      <a:gd name="T11" fmla="*/ 0 h 27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61"/>
                      <a:gd name="T19" fmla="*/ 0 h 27"/>
                      <a:gd name="T20" fmla="*/ 61 w 61"/>
                      <a:gd name="T21" fmla="*/ 27 h 27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61" h="27">
                        <a:moveTo>
                          <a:pt x="0" y="0"/>
                        </a:moveTo>
                        <a:lnTo>
                          <a:pt x="18" y="9"/>
                        </a:lnTo>
                        <a:lnTo>
                          <a:pt x="26" y="27"/>
                        </a:lnTo>
                        <a:lnTo>
                          <a:pt x="61" y="9"/>
                        </a:lnTo>
                        <a:lnTo>
                          <a:pt x="5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9" name="Freeform 609"/>
                  <p:cNvSpPr>
                    <a:spLocks/>
                  </p:cNvSpPr>
                  <p:nvPr/>
                </p:nvSpPr>
                <p:spPr bwMode="auto">
                  <a:xfrm>
                    <a:off x="3905251" y="3551238"/>
                    <a:ext cx="96838" cy="42863"/>
                  </a:xfrm>
                  <a:custGeom>
                    <a:avLst/>
                    <a:gdLst>
                      <a:gd name="T0" fmla="*/ 0 w 61"/>
                      <a:gd name="T1" fmla="*/ 0 h 27"/>
                      <a:gd name="T2" fmla="*/ 2147483647 w 61"/>
                      <a:gd name="T3" fmla="*/ 2147483647 h 27"/>
                      <a:gd name="T4" fmla="*/ 2147483647 w 61"/>
                      <a:gd name="T5" fmla="*/ 2147483647 h 27"/>
                      <a:gd name="T6" fmla="*/ 2147483647 w 61"/>
                      <a:gd name="T7" fmla="*/ 2147483647 h 27"/>
                      <a:gd name="T8" fmla="*/ 2147483647 w 61"/>
                      <a:gd name="T9" fmla="*/ 0 h 27"/>
                      <a:gd name="T10" fmla="*/ 0 w 61"/>
                      <a:gd name="T11" fmla="*/ 0 h 27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61"/>
                      <a:gd name="T19" fmla="*/ 0 h 27"/>
                      <a:gd name="T20" fmla="*/ 61 w 61"/>
                      <a:gd name="T21" fmla="*/ 27 h 27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61" h="27">
                        <a:moveTo>
                          <a:pt x="0" y="0"/>
                        </a:moveTo>
                        <a:lnTo>
                          <a:pt x="18" y="9"/>
                        </a:lnTo>
                        <a:lnTo>
                          <a:pt x="26" y="27"/>
                        </a:lnTo>
                        <a:lnTo>
                          <a:pt x="61" y="9"/>
                        </a:lnTo>
                        <a:lnTo>
                          <a:pt x="5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0" name="Freeform 610"/>
                  <p:cNvSpPr>
                    <a:spLocks/>
                  </p:cNvSpPr>
                  <p:nvPr/>
                </p:nvSpPr>
                <p:spPr bwMode="auto">
                  <a:xfrm>
                    <a:off x="4127501" y="3606800"/>
                    <a:ext cx="165100" cy="180975"/>
                  </a:xfrm>
                  <a:custGeom>
                    <a:avLst/>
                    <a:gdLst>
                      <a:gd name="T0" fmla="*/ 2147483647 w 104"/>
                      <a:gd name="T1" fmla="*/ 2147483647 h 114"/>
                      <a:gd name="T2" fmla="*/ 2147483647 w 104"/>
                      <a:gd name="T3" fmla="*/ 2147483647 h 114"/>
                      <a:gd name="T4" fmla="*/ 2147483647 w 104"/>
                      <a:gd name="T5" fmla="*/ 2147483647 h 114"/>
                      <a:gd name="T6" fmla="*/ 2147483647 w 104"/>
                      <a:gd name="T7" fmla="*/ 2147483647 h 114"/>
                      <a:gd name="T8" fmla="*/ 2147483647 w 104"/>
                      <a:gd name="T9" fmla="*/ 0 h 114"/>
                      <a:gd name="T10" fmla="*/ 2147483647 w 104"/>
                      <a:gd name="T11" fmla="*/ 0 h 114"/>
                      <a:gd name="T12" fmla="*/ 2147483647 w 104"/>
                      <a:gd name="T13" fmla="*/ 2147483647 h 114"/>
                      <a:gd name="T14" fmla="*/ 0 w 104"/>
                      <a:gd name="T15" fmla="*/ 2147483647 h 114"/>
                      <a:gd name="T16" fmla="*/ 2147483647 w 104"/>
                      <a:gd name="T17" fmla="*/ 2147483647 h 114"/>
                      <a:gd name="T18" fmla="*/ 2147483647 w 104"/>
                      <a:gd name="T19" fmla="*/ 2147483647 h 114"/>
                      <a:gd name="T20" fmla="*/ 2147483647 w 104"/>
                      <a:gd name="T21" fmla="*/ 2147483647 h 114"/>
                      <a:gd name="T22" fmla="*/ 2147483647 w 104"/>
                      <a:gd name="T23" fmla="*/ 2147483647 h 114"/>
                      <a:gd name="T24" fmla="*/ 2147483647 w 104"/>
                      <a:gd name="T25" fmla="*/ 2147483647 h 114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104"/>
                      <a:gd name="T40" fmla="*/ 0 h 114"/>
                      <a:gd name="T41" fmla="*/ 104 w 104"/>
                      <a:gd name="T42" fmla="*/ 114 h 114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104" h="114">
                        <a:moveTo>
                          <a:pt x="96" y="87"/>
                        </a:moveTo>
                        <a:lnTo>
                          <a:pt x="87" y="70"/>
                        </a:lnTo>
                        <a:lnTo>
                          <a:pt x="104" y="35"/>
                        </a:lnTo>
                        <a:lnTo>
                          <a:pt x="96" y="9"/>
                        </a:lnTo>
                        <a:lnTo>
                          <a:pt x="52" y="0"/>
                        </a:lnTo>
                        <a:lnTo>
                          <a:pt x="8" y="0"/>
                        </a:lnTo>
                        <a:lnTo>
                          <a:pt x="8" y="44"/>
                        </a:lnTo>
                        <a:lnTo>
                          <a:pt x="0" y="53"/>
                        </a:lnTo>
                        <a:lnTo>
                          <a:pt x="17" y="96"/>
                        </a:lnTo>
                        <a:lnTo>
                          <a:pt x="8" y="114"/>
                        </a:lnTo>
                        <a:lnTo>
                          <a:pt x="78" y="96"/>
                        </a:lnTo>
                        <a:lnTo>
                          <a:pt x="96" y="105"/>
                        </a:lnTo>
                        <a:lnTo>
                          <a:pt x="96" y="8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1" name="Freeform 611"/>
                  <p:cNvSpPr>
                    <a:spLocks/>
                  </p:cNvSpPr>
                  <p:nvPr/>
                </p:nvSpPr>
                <p:spPr bwMode="auto">
                  <a:xfrm>
                    <a:off x="4127501" y="3606800"/>
                    <a:ext cx="165100" cy="180975"/>
                  </a:xfrm>
                  <a:custGeom>
                    <a:avLst/>
                    <a:gdLst>
                      <a:gd name="T0" fmla="*/ 2147483647 w 104"/>
                      <a:gd name="T1" fmla="*/ 2147483647 h 114"/>
                      <a:gd name="T2" fmla="*/ 2147483647 w 104"/>
                      <a:gd name="T3" fmla="*/ 2147483647 h 114"/>
                      <a:gd name="T4" fmla="*/ 2147483647 w 104"/>
                      <a:gd name="T5" fmla="*/ 2147483647 h 114"/>
                      <a:gd name="T6" fmla="*/ 2147483647 w 104"/>
                      <a:gd name="T7" fmla="*/ 2147483647 h 114"/>
                      <a:gd name="T8" fmla="*/ 2147483647 w 104"/>
                      <a:gd name="T9" fmla="*/ 0 h 114"/>
                      <a:gd name="T10" fmla="*/ 2147483647 w 104"/>
                      <a:gd name="T11" fmla="*/ 0 h 114"/>
                      <a:gd name="T12" fmla="*/ 2147483647 w 104"/>
                      <a:gd name="T13" fmla="*/ 2147483647 h 114"/>
                      <a:gd name="T14" fmla="*/ 0 w 104"/>
                      <a:gd name="T15" fmla="*/ 2147483647 h 114"/>
                      <a:gd name="T16" fmla="*/ 2147483647 w 104"/>
                      <a:gd name="T17" fmla="*/ 2147483647 h 114"/>
                      <a:gd name="T18" fmla="*/ 2147483647 w 104"/>
                      <a:gd name="T19" fmla="*/ 2147483647 h 114"/>
                      <a:gd name="T20" fmla="*/ 2147483647 w 104"/>
                      <a:gd name="T21" fmla="*/ 2147483647 h 114"/>
                      <a:gd name="T22" fmla="*/ 2147483647 w 104"/>
                      <a:gd name="T23" fmla="*/ 2147483647 h 114"/>
                      <a:gd name="T24" fmla="*/ 2147483647 w 104"/>
                      <a:gd name="T25" fmla="*/ 2147483647 h 114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104"/>
                      <a:gd name="T40" fmla="*/ 0 h 114"/>
                      <a:gd name="T41" fmla="*/ 104 w 104"/>
                      <a:gd name="T42" fmla="*/ 114 h 114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104" h="114">
                        <a:moveTo>
                          <a:pt x="96" y="87"/>
                        </a:moveTo>
                        <a:lnTo>
                          <a:pt x="87" y="70"/>
                        </a:lnTo>
                        <a:lnTo>
                          <a:pt x="104" y="35"/>
                        </a:lnTo>
                        <a:lnTo>
                          <a:pt x="96" y="9"/>
                        </a:lnTo>
                        <a:lnTo>
                          <a:pt x="52" y="0"/>
                        </a:lnTo>
                        <a:lnTo>
                          <a:pt x="8" y="0"/>
                        </a:lnTo>
                        <a:lnTo>
                          <a:pt x="8" y="44"/>
                        </a:lnTo>
                        <a:lnTo>
                          <a:pt x="0" y="53"/>
                        </a:lnTo>
                        <a:lnTo>
                          <a:pt x="17" y="96"/>
                        </a:lnTo>
                        <a:lnTo>
                          <a:pt x="8" y="114"/>
                        </a:lnTo>
                        <a:lnTo>
                          <a:pt x="78" y="96"/>
                        </a:lnTo>
                        <a:lnTo>
                          <a:pt x="96" y="105"/>
                        </a:lnTo>
                        <a:lnTo>
                          <a:pt x="96" y="8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2" name="Freeform 612"/>
                  <p:cNvSpPr>
                    <a:spLocks/>
                  </p:cNvSpPr>
                  <p:nvPr/>
                </p:nvSpPr>
                <p:spPr bwMode="auto">
                  <a:xfrm>
                    <a:off x="5026026" y="4354513"/>
                    <a:ext cx="207963" cy="193675"/>
                  </a:xfrm>
                  <a:custGeom>
                    <a:avLst/>
                    <a:gdLst>
                      <a:gd name="T0" fmla="*/ 2147483647 w 131"/>
                      <a:gd name="T1" fmla="*/ 2147483647 h 122"/>
                      <a:gd name="T2" fmla="*/ 2147483647 w 131"/>
                      <a:gd name="T3" fmla="*/ 2147483647 h 122"/>
                      <a:gd name="T4" fmla="*/ 2147483647 w 131"/>
                      <a:gd name="T5" fmla="*/ 2147483647 h 122"/>
                      <a:gd name="T6" fmla="*/ 2147483647 w 131"/>
                      <a:gd name="T7" fmla="*/ 2147483647 h 122"/>
                      <a:gd name="T8" fmla="*/ 2147483647 w 131"/>
                      <a:gd name="T9" fmla="*/ 2147483647 h 122"/>
                      <a:gd name="T10" fmla="*/ 2147483647 w 131"/>
                      <a:gd name="T11" fmla="*/ 2147483647 h 122"/>
                      <a:gd name="T12" fmla="*/ 2147483647 w 131"/>
                      <a:gd name="T13" fmla="*/ 2147483647 h 122"/>
                      <a:gd name="T14" fmla="*/ 2147483647 w 131"/>
                      <a:gd name="T15" fmla="*/ 2147483647 h 122"/>
                      <a:gd name="T16" fmla="*/ 2147483647 w 131"/>
                      <a:gd name="T17" fmla="*/ 2147483647 h 122"/>
                      <a:gd name="T18" fmla="*/ 2147483647 w 131"/>
                      <a:gd name="T19" fmla="*/ 0 h 122"/>
                      <a:gd name="T20" fmla="*/ 2147483647 w 131"/>
                      <a:gd name="T21" fmla="*/ 2147483647 h 122"/>
                      <a:gd name="T22" fmla="*/ 2147483647 w 131"/>
                      <a:gd name="T23" fmla="*/ 2147483647 h 122"/>
                      <a:gd name="T24" fmla="*/ 2147483647 w 131"/>
                      <a:gd name="T25" fmla="*/ 2147483647 h 122"/>
                      <a:gd name="T26" fmla="*/ 0 w 131"/>
                      <a:gd name="T27" fmla="*/ 2147483647 h 122"/>
                      <a:gd name="T28" fmla="*/ 2147483647 w 131"/>
                      <a:gd name="T29" fmla="*/ 2147483647 h 122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31"/>
                      <a:gd name="T46" fmla="*/ 0 h 122"/>
                      <a:gd name="T47" fmla="*/ 131 w 131"/>
                      <a:gd name="T48" fmla="*/ 122 h 122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31" h="122">
                        <a:moveTo>
                          <a:pt x="9" y="52"/>
                        </a:moveTo>
                        <a:lnTo>
                          <a:pt x="26" y="78"/>
                        </a:lnTo>
                        <a:lnTo>
                          <a:pt x="53" y="113"/>
                        </a:lnTo>
                        <a:lnTo>
                          <a:pt x="61" y="122"/>
                        </a:lnTo>
                        <a:lnTo>
                          <a:pt x="96" y="122"/>
                        </a:lnTo>
                        <a:lnTo>
                          <a:pt x="114" y="105"/>
                        </a:lnTo>
                        <a:lnTo>
                          <a:pt x="114" y="96"/>
                        </a:lnTo>
                        <a:lnTo>
                          <a:pt x="131" y="61"/>
                        </a:lnTo>
                        <a:lnTo>
                          <a:pt x="131" y="17"/>
                        </a:lnTo>
                        <a:lnTo>
                          <a:pt x="79" y="0"/>
                        </a:lnTo>
                        <a:lnTo>
                          <a:pt x="70" y="9"/>
                        </a:lnTo>
                        <a:lnTo>
                          <a:pt x="35" y="26"/>
                        </a:lnTo>
                        <a:lnTo>
                          <a:pt x="26" y="43"/>
                        </a:lnTo>
                        <a:lnTo>
                          <a:pt x="0" y="43"/>
                        </a:lnTo>
                        <a:lnTo>
                          <a:pt x="9" y="52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3" name="Freeform 613"/>
                  <p:cNvSpPr>
                    <a:spLocks/>
                  </p:cNvSpPr>
                  <p:nvPr/>
                </p:nvSpPr>
                <p:spPr bwMode="auto">
                  <a:xfrm>
                    <a:off x="5026026" y="4354513"/>
                    <a:ext cx="207963" cy="193675"/>
                  </a:xfrm>
                  <a:custGeom>
                    <a:avLst/>
                    <a:gdLst>
                      <a:gd name="T0" fmla="*/ 2147483647 w 131"/>
                      <a:gd name="T1" fmla="*/ 2147483647 h 122"/>
                      <a:gd name="T2" fmla="*/ 2147483647 w 131"/>
                      <a:gd name="T3" fmla="*/ 2147483647 h 122"/>
                      <a:gd name="T4" fmla="*/ 2147483647 w 131"/>
                      <a:gd name="T5" fmla="*/ 2147483647 h 122"/>
                      <a:gd name="T6" fmla="*/ 2147483647 w 131"/>
                      <a:gd name="T7" fmla="*/ 2147483647 h 122"/>
                      <a:gd name="T8" fmla="*/ 2147483647 w 131"/>
                      <a:gd name="T9" fmla="*/ 2147483647 h 122"/>
                      <a:gd name="T10" fmla="*/ 2147483647 w 131"/>
                      <a:gd name="T11" fmla="*/ 2147483647 h 122"/>
                      <a:gd name="T12" fmla="*/ 2147483647 w 131"/>
                      <a:gd name="T13" fmla="*/ 2147483647 h 122"/>
                      <a:gd name="T14" fmla="*/ 2147483647 w 131"/>
                      <a:gd name="T15" fmla="*/ 2147483647 h 122"/>
                      <a:gd name="T16" fmla="*/ 2147483647 w 131"/>
                      <a:gd name="T17" fmla="*/ 2147483647 h 122"/>
                      <a:gd name="T18" fmla="*/ 2147483647 w 131"/>
                      <a:gd name="T19" fmla="*/ 0 h 122"/>
                      <a:gd name="T20" fmla="*/ 2147483647 w 131"/>
                      <a:gd name="T21" fmla="*/ 2147483647 h 122"/>
                      <a:gd name="T22" fmla="*/ 2147483647 w 131"/>
                      <a:gd name="T23" fmla="*/ 2147483647 h 122"/>
                      <a:gd name="T24" fmla="*/ 2147483647 w 131"/>
                      <a:gd name="T25" fmla="*/ 2147483647 h 122"/>
                      <a:gd name="T26" fmla="*/ 0 w 131"/>
                      <a:gd name="T27" fmla="*/ 2147483647 h 122"/>
                      <a:gd name="T28" fmla="*/ 2147483647 w 131"/>
                      <a:gd name="T29" fmla="*/ 2147483647 h 122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31"/>
                      <a:gd name="T46" fmla="*/ 0 h 122"/>
                      <a:gd name="T47" fmla="*/ 131 w 131"/>
                      <a:gd name="T48" fmla="*/ 122 h 122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31" h="122">
                        <a:moveTo>
                          <a:pt x="9" y="52"/>
                        </a:moveTo>
                        <a:lnTo>
                          <a:pt x="26" y="78"/>
                        </a:lnTo>
                        <a:lnTo>
                          <a:pt x="53" y="113"/>
                        </a:lnTo>
                        <a:lnTo>
                          <a:pt x="61" y="122"/>
                        </a:lnTo>
                        <a:lnTo>
                          <a:pt x="96" y="122"/>
                        </a:lnTo>
                        <a:lnTo>
                          <a:pt x="114" y="105"/>
                        </a:lnTo>
                        <a:lnTo>
                          <a:pt x="114" y="96"/>
                        </a:lnTo>
                        <a:lnTo>
                          <a:pt x="131" y="61"/>
                        </a:lnTo>
                        <a:lnTo>
                          <a:pt x="131" y="17"/>
                        </a:lnTo>
                        <a:lnTo>
                          <a:pt x="79" y="0"/>
                        </a:lnTo>
                        <a:lnTo>
                          <a:pt x="70" y="9"/>
                        </a:lnTo>
                        <a:lnTo>
                          <a:pt x="35" y="26"/>
                        </a:lnTo>
                        <a:lnTo>
                          <a:pt x="26" y="43"/>
                        </a:lnTo>
                        <a:lnTo>
                          <a:pt x="0" y="43"/>
                        </a:lnTo>
                        <a:lnTo>
                          <a:pt x="9" y="52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4" name="Freeform 614"/>
                  <p:cNvSpPr>
                    <a:spLocks/>
                  </p:cNvSpPr>
                  <p:nvPr/>
                </p:nvSpPr>
                <p:spPr bwMode="auto">
                  <a:xfrm>
                    <a:off x="4597401" y="3841750"/>
                    <a:ext cx="69850" cy="28575"/>
                  </a:xfrm>
                  <a:custGeom>
                    <a:avLst/>
                    <a:gdLst>
                      <a:gd name="T0" fmla="*/ 2147483647 w 44"/>
                      <a:gd name="T1" fmla="*/ 2147483647 h 18"/>
                      <a:gd name="T2" fmla="*/ 2147483647 w 44"/>
                      <a:gd name="T3" fmla="*/ 2147483647 h 18"/>
                      <a:gd name="T4" fmla="*/ 2147483647 w 44"/>
                      <a:gd name="T5" fmla="*/ 0 h 18"/>
                      <a:gd name="T6" fmla="*/ 2147483647 w 44"/>
                      <a:gd name="T7" fmla="*/ 0 h 18"/>
                      <a:gd name="T8" fmla="*/ 0 w 44"/>
                      <a:gd name="T9" fmla="*/ 2147483647 h 18"/>
                      <a:gd name="T10" fmla="*/ 2147483647 w 44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44"/>
                      <a:gd name="T19" fmla="*/ 0 h 18"/>
                      <a:gd name="T20" fmla="*/ 44 w 44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44" h="18">
                        <a:moveTo>
                          <a:pt x="9" y="18"/>
                        </a:moveTo>
                        <a:lnTo>
                          <a:pt x="44" y="18"/>
                        </a:lnTo>
                        <a:lnTo>
                          <a:pt x="44" y="0"/>
                        </a:lnTo>
                        <a:lnTo>
                          <a:pt x="9" y="0"/>
                        </a:lnTo>
                        <a:lnTo>
                          <a:pt x="0" y="9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5" name="Freeform 615"/>
                  <p:cNvSpPr>
                    <a:spLocks/>
                  </p:cNvSpPr>
                  <p:nvPr/>
                </p:nvSpPr>
                <p:spPr bwMode="auto">
                  <a:xfrm>
                    <a:off x="4597401" y="3841750"/>
                    <a:ext cx="69850" cy="28575"/>
                  </a:xfrm>
                  <a:custGeom>
                    <a:avLst/>
                    <a:gdLst>
                      <a:gd name="T0" fmla="*/ 2147483647 w 44"/>
                      <a:gd name="T1" fmla="*/ 2147483647 h 18"/>
                      <a:gd name="T2" fmla="*/ 2147483647 w 44"/>
                      <a:gd name="T3" fmla="*/ 2147483647 h 18"/>
                      <a:gd name="T4" fmla="*/ 2147483647 w 44"/>
                      <a:gd name="T5" fmla="*/ 0 h 18"/>
                      <a:gd name="T6" fmla="*/ 2147483647 w 44"/>
                      <a:gd name="T7" fmla="*/ 0 h 18"/>
                      <a:gd name="T8" fmla="*/ 0 w 44"/>
                      <a:gd name="T9" fmla="*/ 2147483647 h 18"/>
                      <a:gd name="T10" fmla="*/ 2147483647 w 44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44"/>
                      <a:gd name="T19" fmla="*/ 0 h 18"/>
                      <a:gd name="T20" fmla="*/ 44 w 44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44" h="18">
                        <a:moveTo>
                          <a:pt x="9" y="18"/>
                        </a:moveTo>
                        <a:lnTo>
                          <a:pt x="44" y="18"/>
                        </a:lnTo>
                        <a:lnTo>
                          <a:pt x="44" y="0"/>
                        </a:lnTo>
                        <a:lnTo>
                          <a:pt x="9" y="0"/>
                        </a:lnTo>
                        <a:lnTo>
                          <a:pt x="0" y="9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6" name="Freeform 616"/>
                  <p:cNvSpPr>
                    <a:spLocks/>
                  </p:cNvSpPr>
                  <p:nvPr/>
                </p:nvSpPr>
                <p:spPr bwMode="auto">
                  <a:xfrm>
                    <a:off x="4570413" y="3800475"/>
                    <a:ext cx="12700" cy="14288"/>
                  </a:xfrm>
                  <a:custGeom>
                    <a:avLst/>
                    <a:gdLst>
                      <a:gd name="T0" fmla="*/ 2147483647 w 8"/>
                      <a:gd name="T1" fmla="*/ 0 h 9"/>
                      <a:gd name="T2" fmla="*/ 2147483647 w 8"/>
                      <a:gd name="T3" fmla="*/ 0 h 9"/>
                      <a:gd name="T4" fmla="*/ 0 w 8"/>
                      <a:gd name="T5" fmla="*/ 2147483647 h 9"/>
                      <a:gd name="T6" fmla="*/ 2147483647 w 8"/>
                      <a:gd name="T7" fmla="*/ 2147483647 h 9"/>
                      <a:gd name="T8" fmla="*/ 2147483647 w 8"/>
                      <a:gd name="T9" fmla="*/ 0 h 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"/>
                      <a:gd name="T16" fmla="*/ 0 h 9"/>
                      <a:gd name="T17" fmla="*/ 8 w 8"/>
                      <a:gd name="T18" fmla="*/ 9 h 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" h="9">
                        <a:moveTo>
                          <a:pt x="8" y="0"/>
                        </a:moveTo>
                        <a:lnTo>
                          <a:pt x="8" y="0"/>
                        </a:lnTo>
                        <a:lnTo>
                          <a:pt x="0" y="9"/>
                        </a:lnTo>
                        <a:lnTo>
                          <a:pt x="8" y="9"/>
                        </a:lnTo>
                        <a:lnTo>
                          <a:pt x="8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7" name="Freeform 617"/>
                  <p:cNvSpPr>
                    <a:spLocks/>
                  </p:cNvSpPr>
                  <p:nvPr/>
                </p:nvSpPr>
                <p:spPr bwMode="auto">
                  <a:xfrm>
                    <a:off x="4570413" y="3800475"/>
                    <a:ext cx="12700" cy="14288"/>
                  </a:xfrm>
                  <a:custGeom>
                    <a:avLst/>
                    <a:gdLst>
                      <a:gd name="T0" fmla="*/ 2147483647 w 8"/>
                      <a:gd name="T1" fmla="*/ 0 h 9"/>
                      <a:gd name="T2" fmla="*/ 2147483647 w 8"/>
                      <a:gd name="T3" fmla="*/ 0 h 9"/>
                      <a:gd name="T4" fmla="*/ 0 w 8"/>
                      <a:gd name="T5" fmla="*/ 2147483647 h 9"/>
                      <a:gd name="T6" fmla="*/ 2147483647 w 8"/>
                      <a:gd name="T7" fmla="*/ 2147483647 h 9"/>
                      <a:gd name="T8" fmla="*/ 2147483647 w 8"/>
                      <a:gd name="T9" fmla="*/ 0 h 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"/>
                      <a:gd name="T16" fmla="*/ 0 h 9"/>
                      <a:gd name="T17" fmla="*/ 8 w 8"/>
                      <a:gd name="T18" fmla="*/ 9 h 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" h="9">
                        <a:moveTo>
                          <a:pt x="8" y="0"/>
                        </a:moveTo>
                        <a:lnTo>
                          <a:pt x="8" y="0"/>
                        </a:lnTo>
                        <a:lnTo>
                          <a:pt x="0" y="9"/>
                        </a:lnTo>
                        <a:lnTo>
                          <a:pt x="8" y="9"/>
                        </a:lnTo>
                        <a:lnTo>
                          <a:pt x="8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</p:grpSp>
          </p:grpSp>
        </p:grpSp>
        <p:sp>
          <p:nvSpPr>
            <p:cNvPr id="14" name="Ellipse 2"/>
            <p:cNvSpPr/>
            <p:nvPr userDrawn="1"/>
          </p:nvSpPr>
          <p:spPr>
            <a:xfrm>
              <a:off x="3745155" y="1316622"/>
              <a:ext cx="1006922" cy="2618209"/>
            </a:xfrm>
            <a:custGeom>
              <a:avLst/>
              <a:gdLst/>
              <a:ahLst/>
              <a:cxnLst/>
              <a:rect l="l" t="t" r="r" b="b"/>
              <a:pathLst>
                <a:path w="913344" h="2374886">
                  <a:moveTo>
                    <a:pt x="456672" y="0"/>
                  </a:moveTo>
                  <a:cubicBezTo>
                    <a:pt x="741172" y="313816"/>
                    <a:pt x="913344" y="730523"/>
                    <a:pt x="913344" y="1187443"/>
                  </a:cubicBezTo>
                  <a:cubicBezTo>
                    <a:pt x="913344" y="1644363"/>
                    <a:pt x="741172" y="2061070"/>
                    <a:pt x="456672" y="2374886"/>
                  </a:cubicBezTo>
                  <a:cubicBezTo>
                    <a:pt x="172173" y="2061070"/>
                    <a:pt x="0" y="1644363"/>
                    <a:pt x="0" y="1187443"/>
                  </a:cubicBezTo>
                  <a:cubicBezTo>
                    <a:pt x="0" y="730523"/>
                    <a:pt x="172173" y="313816"/>
                    <a:pt x="456672" y="0"/>
                  </a:cubicBezTo>
                  <a:close/>
                </a:path>
              </a:pathLst>
            </a:custGeom>
            <a:solidFill>
              <a:schemeClr val="tx1">
                <a:alpha val="43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315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771109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0379" cy="112048"/>
          </a:xfrm>
          <a:prstGeom prst="rect">
            <a:avLst/>
          </a:prstGeom>
        </p:spPr>
      </p:pic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3955215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900000"/>
            <a:ext cx="8308800" cy="1980000"/>
          </a:xfrm>
        </p:spPr>
        <p:txBody>
          <a:bodyPr/>
          <a:lstStyle>
            <a:lvl1pPr marL="0" indent="0">
              <a:buNone/>
              <a:defRPr sz="660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eaLnBrk="1" hangingPunct="1"/>
            <a:r>
              <a:rPr lang="en-US" dirty="0">
                <a:ea typeface="ヒラギノ角ゴ Pro W3"/>
                <a:cs typeface="ヒラギノ角ゴ Pro W3"/>
              </a:rPr>
              <a:t>Main headline in</a:t>
            </a:r>
            <a:br>
              <a:rPr lang="en-US" dirty="0">
                <a:ea typeface="ヒラギノ角ゴ Pro W3"/>
                <a:cs typeface="ヒラギノ角ゴ Pro W3"/>
              </a:rPr>
            </a:br>
            <a:r>
              <a:rPr lang="en-US" dirty="0">
                <a:ea typeface="ヒラギノ角ゴ Pro W3"/>
                <a:cs typeface="ヒラギノ角ゴ Pro W3"/>
              </a:rPr>
              <a:t>lower case her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417600" y="3059999"/>
            <a:ext cx="8308800" cy="1576800"/>
          </a:xfrm>
        </p:spPr>
        <p:txBody>
          <a:bodyPr/>
          <a:lstStyle>
            <a:lvl1pPr marL="0" indent="0">
              <a:buNone/>
              <a:defRPr sz="1800"/>
            </a:lvl1pPr>
            <a:lvl2pPr marL="230400" indent="-228600">
              <a:buFont typeface="Arial" panose="020B0604020202020204" pitchFamily="34" charset="0"/>
              <a:buChar char="•"/>
              <a:defRPr sz="1800"/>
            </a:lvl2pPr>
          </a:lstStyle>
          <a:p>
            <a:pPr lvl="0"/>
            <a:r>
              <a:rPr lang="en-US" dirty="0"/>
              <a:t>Supporting headline in sentence case here </a:t>
            </a:r>
          </a:p>
          <a:p>
            <a:pPr lvl="1"/>
            <a:r>
              <a:rPr lang="en-US" dirty="0"/>
              <a:t>Author/Presenter</a:t>
            </a:r>
          </a:p>
          <a:p>
            <a:pPr lvl="1"/>
            <a:r>
              <a:rPr lang="en-US" dirty="0"/>
              <a:t>DD-MM-YYYY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00" y="280580"/>
            <a:ext cx="1080000" cy="175283"/>
          </a:xfrm>
          <a:prstGeom prst="rect">
            <a:avLst/>
          </a:prstGeom>
        </p:spPr>
      </p:pic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5967608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headline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6599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headline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0811815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bg1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headline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7828734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600" y="288000"/>
            <a:ext cx="8244000" cy="22536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599" y="280799"/>
            <a:ext cx="8308800" cy="43596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5089625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0379" cy="112048"/>
          </a:xfrm>
          <a:prstGeom prst="rect">
            <a:avLst/>
          </a:prstGeom>
        </p:spPr>
      </p:pic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94048472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302" y="2430463"/>
            <a:ext cx="1741074" cy="28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1012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08400" y="2430463"/>
            <a:ext cx="1727200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708400" y="2430463"/>
            <a:ext cx="1727200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6" name="TextBox 5"/>
          <p:cNvSpPr txBox="1"/>
          <p:nvPr userDrawn="1"/>
        </p:nvSpPr>
        <p:spPr bwMode="auto">
          <a:xfrm>
            <a:off x="417512" y="4651634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124191"/>
                </a:solidFill>
                <a:latin typeface="Nokia Pure Text Light"/>
                <a:cs typeface="Arial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172970079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417512" y="4696575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124191"/>
                </a:solidFill>
                <a:latin typeface="Nokia Pure Text Light"/>
                <a:cs typeface="Arial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61991526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826709690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8.xml"/><Relationship Id="rId16" Type="http://schemas.openxmlformats.org/officeDocument/2006/relationships/vmlDrawing" Target="../drawings/vmlDrawing2.vml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16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9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5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4096161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3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hangingPunct="0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sz="1000" dirty="0">
                <a:solidFill>
                  <a:schemeClr val="tx2"/>
                </a:solidFill>
                <a:latin typeface="Arial" pitchFamily="34" charset="0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chemeClr val="bg2"/>
                </a:solidFill>
                <a:cs typeface="Arial" panose="020B0604020202020204" pitchFamily="34" charset="0"/>
              </a:rPr>
              <a:pPr>
                <a:defRPr/>
              </a:pPr>
              <a:t>11/05/2017</a:t>
            </a:fld>
            <a:endParaRPr lang="en-GB" sz="800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chemeClr val="bg2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extBox 27"/>
          <p:cNvSpPr txBox="1"/>
          <p:nvPr/>
        </p:nvSpPr>
        <p:spPr>
          <a:xfrm>
            <a:off x="1503363" y="4749800"/>
            <a:ext cx="6078537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GB" sz="80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>
              <a:defRPr/>
            </a:pPr>
            <a:endParaRPr lang="en-GB" sz="80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2000" y="4787900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 baseline="0" dirty="0">
                <a:solidFill>
                  <a:schemeClr val="bg2"/>
                </a:solidFill>
                <a:cs typeface="Arial" charset="0"/>
              </a:rPr>
              <a:t>Nokia Internal Use</a:t>
            </a:r>
            <a:endParaRPr lang="en-GB" sz="800" dirty="0">
              <a:solidFill>
                <a:schemeClr val="bg2"/>
              </a:solidFill>
              <a:cs typeface="Arial" charset="0"/>
            </a:endParaRPr>
          </a:p>
        </p:txBody>
      </p:sp>
      <p:sp>
        <p:nvSpPr>
          <p:cNvPr id="30" name="TextBox 29"/>
          <p:cNvSpPr txBox="1"/>
          <p:nvPr userDrawn="1"/>
        </p:nvSpPr>
        <p:spPr bwMode="auto">
          <a:xfrm>
            <a:off x="417513" y="5010405"/>
            <a:ext cx="8567737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400">
              <a:defRPr/>
            </a:pPr>
            <a:r>
              <a:rPr lang="en-US" sz="600" dirty="0">
                <a:solidFill>
                  <a:srgbClr val="124191"/>
                </a:solidFill>
                <a:latin typeface="Nokia Pure Text Light"/>
                <a:ea typeface="+mn-ea"/>
                <a:cs typeface="Arial" charset="0"/>
              </a:rPr>
              <a:t>This document contains preliminary options which are subject to appropriate information and/or consultation of the relevant employee representative body/</a:t>
            </a:r>
            <a:r>
              <a:rPr lang="en-US" sz="600" dirty="0" err="1">
                <a:solidFill>
                  <a:srgbClr val="124191"/>
                </a:solidFill>
                <a:latin typeface="Nokia Pure Text Light"/>
                <a:ea typeface="+mn-ea"/>
                <a:cs typeface="Arial" charset="0"/>
              </a:rPr>
              <a:t>ies</a:t>
            </a:r>
            <a:r>
              <a:rPr lang="en-US" sz="600" dirty="0">
                <a:solidFill>
                  <a:srgbClr val="124191"/>
                </a:solidFill>
                <a:latin typeface="Nokia Pure Text Light"/>
                <a:ea typeface="+mn-ea"/>
                <a:cs typeface="Arial" charset="0"/>
              </a:rPr>
              <a:t> where applicable and subject to necessary legal procedures and approvals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5" r:id="rId2"/>
    <p:sldLayoutId id="2147483804" r:id="rId3"/>
  </p:sldLayoutIdLst>
  <p:transition/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880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3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hangingPunct="0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sz="1000" dirty="0">
                <a:solidFill>
                  <a:schemeClr val="tx2"/>
                </a:solidFill>
                <a:latin typeface="Arial" pitchFamily="34" charset="0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cs typeface="Arial" panose="020B0604020202020204" pitchFamily="34" charset="0"/>
              </a:rPr>
              <a:pPr>
                <a:defRPr/>
              </a:pPr>
              <a:t>11/05/2017</a:t>
            </a:fld>
            <a:endParaRPr lang="en-GB" sz="800" dirty="0"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42800" y="4644000"/>
            <a:ext cx="504825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/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33388" y="4767257"/>
            <a:ext cx="5048250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kia Internal </a:t>
            </a:r>
            <a:r>
              <a:rPr lang="en-GB" sz="8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</a:t>
            </a:r>
            <a:r>
              <a:rPr lang="en-GB" sz="8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</a:t>
            </a:r>
            <a:endParaRPr lang="en-GB" sz="8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 userDrawn="1"/>
        </p:nvSpPr>
        <p:spPr>
          <a:xfrm>
            <a:off x="1419225" y="4650515"/>
            <a:ext cx="6078537" cy="1222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/>
            <a:r>
              <a:rPr lang="en-US" sz="800" dirty="0">
                <a:solidFill>
                  <a:schemeClr val="bg1"/>
                </a:solidFill>
                <a:latin typeface="Arial"/>
                <a:cs typeface="Arial" charset="0"/>
              </a:rPr>
              <a:t>© Nokia 2017	D541286176 / v.2.1/ Approved  </a:t>
            </a:r>
          </a:p>
        </p:txBody>
      </p:sp>
      <p:sp>
        <p:nvSpPr>
          <p:cNvPr id="30" name="TextBox 29"/>
          <p:cNvSpPr txBox="1"/>
          <p:nvPr userDrawn="1"/>
        </p:nvSpPr>
        <p:spPr bwMode="auto">
          <a:xfrm>
            <a:off x="417513" y="5010405"/>
            <a:ext cx="8567737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chemeClr val="bg1"/>
                </a:solidFill>
                <a:latin typeface="Nokia Pure Text Light"/>
                <a:cs typeface="Arial" charset="0"/>
              </a:rPr>
              <a:t>This document contains preliminary options which are subject to appropriate information and/or consultation of the relevant employee representative body/</a:t>
            </a:r>
            <a:r>
              <a:rPr lang="en-US" sz="600" dirty="0" err="1">
                <a:solidFill>
                  <a:schemeClr val="bg1"/>
                </a:solidFill>
                <a:latin typeface="Nokia Pure Text Light"/>
                <a:cs typeface="Arial" charset="0"/>
              </a:rPr>
              <a:t>ies</a:t>
            </a:r>
            <a:r>
              <a:rPr lang="en-US" sz="600" dirty="0">
                <a:solidFill>
                  <a:schemeClr val="bg1"/>
                </a:solidFill>
                <a:latin typeface="Nokia Pure Text Light"/>
                <a:cs typeface="Arial" charset="0"/>
              </a:rPr>
              <a:t> where applicable and subject to necessary legal procedures and approvals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10" r:id="rId3"/>
  </p:sldLayoutIdLst>
  <p:transition/>
  <p:hf sldNum="0" hdr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Arial"/>
          <a:ea typeface="ヒラギノ角ゴ Pro W3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77087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7" name="think-cell Slide" r:id="rId18" imgW="216" imgH="216" progId="">
                  <p:embed/>
                </p:oleObj>
              </mc:Choice>
              <mc:Fallback>
                <p:oleObj name="think-cell Slide" r:id="rId18" imgW="216" imgH="216" progId="">
                  <p:embed/>
                  <p:pic>
                    <p:nvPicPr>
                      <p:cNvPr id="0" name="Pictur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001135"/>
                </a:solidFill>
                <a:latin typeface="Nokia Pure Text Light"/>
                <a:cs typeface="Arial" charset="0"/>
              </a:rPr>
              <a:t>© Nokia 2017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 bwMode="auto">
          <a:xfrm>
            <a:off x="417513" y="5010405"/>
            <a:ext cx="8567737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rgbClr val="124191"/>
                </a:solidFill>
                <a:latin typeface="Nokia Pure Text Light"/>
                <a:cs typeface="Arial" charset="0"/>
              </a:rPr>
              <a:t>This document contains preliminary options which are subject to appropriate information and/or consultation of the relevant employee representative body/</a:t>
            </a:r>
            <a:r>
              <a:rPr lang="en-US" sz="600" dirty="0" err="1">
                <a:solidFill>
                  <a:srgbClr val="124191"/>
                </a:solidFill>
                <a:latin typeface="Nokia Pure Text Light"/>
                <a:cs typeface="Arial" charset="0"/>
              </a:rPr>
              <a:t>ies</a:t>
            </a:r>
            <a:r>
              <a:rPr lang="en-US" sz="600" dirty="0">
                <a:solidFill>
                  <a:srgbClr val="124191"/>
                </a:solidFill>
                <a:latin typeface="Nokia Pure Text Light"/>
                <a:cs typeface="Arial" charset="0"/>
              </a:rPr>
              <a:t> where applicable and subject to necessary legal procedures and approvals.</a:t>
            </a:r>
          </a:p>
        </p:txBody>
      </p:sp>
    </p:spTree>
    <p:extLst>
      <p:ext uri="{BB962C8B-B14F-4D97-AF65-F5344CB8AC3E}">
        <p14:creationId xmlns:p14="http://schemas.microsoft.com/office/powerpoint/2010/main" val="614715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7" r:id="rId12"/>
    <p:sldLayoutId id="2147483829" r:id="rId13"/>
    <p:sldLayoutId id="2147483832" r:id="rId14"/>
  </p:sldLayoutIdLst>
  <p:transition/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302" y="2430463"/>
            <a:ext cx="1741074" cy="28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066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</p:sldLayoutIdLst>
  <p:transition/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atin typeface="+mj-l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US" sz="800" noProof="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341438" y="4643438"/>
            <a:ext cx="6078537" cy="1222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r>
              <a:rPr lang="en-US" sz="800" noProof="0" dirty="0">
                <a:solidFill>
                  <a:schemeClr val="bg2"/>
                </a:solidFill>
                <a:latin typeface="+mn-lt"/>
                <a:cs typeface="Arial" charset="0"/>
              </a:rPr>
              <a:t>© Nokia Solutions and Networks 2017</a:t>
            </a:r>
          </a:p>
        </p:txBody>
      </p:sp>
      <p:sp>
        <p:nvSpPr>
          <p:cNvPr id="31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432000" y="4789325"/>
            <a:ext cx="6080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2273836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9" r:id="rId5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800"/>
            <a:ext cx="216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001135"/>
                </a:solidFill>
                <a:latin typeface="Nokia Pure Text Light"/>
                <a:cs typeface="Arial" charset="0"/>
              </a:rPr>
              <a:t>© Nokia Solutions and Networks 2015</a:t>
            </a:r>
          </a:p>
        </p:txBody>
      </p:sp>
      <p:pic>
        <p:nvPicPr>
          <p:cNvPr id="3" name="Picture 2">
            <a:hlinkClick r:id="" action="ppaction://noaction"/>
          </p:cNvPr>
          <p:cNvPicPr>
            <a:picLocks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grpSp>
        <p:nvGrpSpPr>
          <p:cNvPr id="7" name="Gruppieren 6"/>
          <p:cNvGrpSpPr/>
          <p:nvPr userDrawn="1"/>
        </p:nvGrpSpPr>
        <p:grpSpPr>
          <a:xfrm>
            <a:off x="-144512" y="-147638"/>
            <a:ext cx="8856972" cy="5491163"/>
            <a:chOff x="-144512" y="-147638"/>
            <a:chExt cx="8856972" cy="5491163"/>
          </a:xfrm>
        </p:grpSpPr>
        <p:sp>
          <p:nvSpPr>
            <p:cNvPr id="8" name="Line 9"/>
            <p:cNvSpPr>
              <a:spLocks noChangeShapeType="1"/>
            </p:cNvSpPr>
            <p:nvPr/>
          </p:nvSpPr>
          <p:spPr bwMode="auto">
            <a:xfrm flipV="1">
              <a:off x="-144512" y="593725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9" name="Line 12"/>
            <p:cNvSpPr>
              <a:spLocks noChangeShapeType="1"/>
            </p:cNvSpPr>
            <p:nvPr/>
          </p:nvSpPr>
          <p:spPr bwMode="auto">
            <a:xfrm flipV="1">
              <a:off x="-144512" y="49149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0" name="Line 9"/>
            <p:cNvSpPr>
              <a:spLocks noChangeShapeType="1"/>
            </p:cNvSpPr>
            <p:nvPr/>
          </p:nvSpPr>
          <p:spPr bwMode="auto">
            <a:xfrm flipV="1">
              <a:off x="-144512" y="84613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1" name="Line 10"/>
            <p:cNvSpPr>
              <a:spLocks noChangeShapeType="1"/>
            </p:cNvSpPr>
            <p:nvPr/>
          </p:nvSpPr>
          <p:spPr bwMode="auto">
            <a:xfrm flipH="1">
              <a:off x="-144512" y="10922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2" name="Line 12"/>
            <p:cNvSpPr>
              <a:spLocks noChangeShapeType="1"/>
            </p:cNvSpPr>
            <p:nvPr/>
          </p:nvSpPr>
          <p:spPr bwMode="auto">
            <a:xfrm flipV="1">
              <a:off x="-144512" y="4665663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3" name="Line 13"/>
            <p:cNvSpPr>
              <a:spLocks noChangeShapeType="1"/>
            </p:cNvSpPr>
            <p:nvPr/>
          </p:nvSpPr>
          <p:spPr bwMode="auto">
            <a:xfrm flipH="1" flipV="1">
              <a:off x="-144512" y="440055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4" name="Line 14"/>
            <p:cNvSpPr>
              <a:spLocks noChangeShapeType="1"/>
            </p:cNvSpPr>
            <p:nvPr/>
          </p:nvSpPr>
          <p:spPr bwMode="auto">
            <a:xfrm>
              <a:off x="-144512" y="28098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5" name="Line 15"/>
            <p:cNvSpPr>
              <a:spLocks noChangeShapeType="1"/>
            </p:cNvSpPr>
            <p:nvPr/>
          </p:nvSpPr>
          <p:spPr bwMode="auto">
            <a:xfrm flipH="1">
              <a:off x="43180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6" name="Line 17"/>
            <p:cNvSpPr>
              <a:spLocks noChangeShapeType="1"/>
            </p:cNvSpPr>
            <p:nvPr/>
          </p:nvSpPr>
          <p:spPr bwMode="auto">
            <a:xfrm>
              <a:off x="871246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grpSp>
          <p:nvGrpSpPr>
            <p:cNvPr id="17" name="Gruppieren 16"/>
            <p:cNvGrpSpPr/>
            <p:nvPr userDrawn="1"/>
          </p:nvGrpSpPr>
          <p:grpSpPr>
            <a:xfrm>
              <a:off x="485237" y="5208588"/>
              <a:ext cx="4940885" cy="134937"/>
              <a:chOff x="485237" y="5208588"/>
              <a:chExt cx="4940885" cy="134937"/>
            </a:xfrm>
          </p:grpSpPr>
          <p:sp>
            <p:nvSpPr>
              <p:cNvPr id="19" name="AutoShape 57"/>
              <p:cNvSpPr>
                <a:spLocks noChangeArrowheads="1"/>
              </p:cNvSpPr>
              <p:nvPr userDrawn="1"/>
            </p:nvSpPr>
            <p:spPr bwMode="auto">
              <a:xfrm>
                <a:off x="1312325" y="5240059"/>
                <a:ext cx="287337" cy="72000"/>
              </a:xfrm>
              <a:prstGeom prst="parallelogram">
                <a:avLst/>
              </a:pr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8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6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45</a:t>
                </a:r>
              </a:p>
            </p:txBody>
          </p:sp>
          <p:sp>
            <p:nvSpPr>
              <p:cNvPr id="20" name="AutoShape 58"/>
              <p:cNvSpPr>
                <a:spLocks noChangeArrowheads="1"/>
              </p:cNvSpPr>
              <p:nvPr userDrawn="1"/>
            </p:nvSpPr>
            <p:spPr bwMode="auto">
              <a:xfrm>
                <a:off x="3069364" y="5240059"/>
                <a:ext cx="287338" cy="72000"/>
              </a:xfrm>
              <a:prstGeom prst="parallelogram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52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6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74</a:t>
                </a:r>
              </a:p>
            </p:txBody>
          </p:sp>
          <p:sp>
            <p:nvSpPr>
              <p:cNvPr id="21" name="AutoShape 59"/>
              <p:cNvSpPr>
                <a:spLocks noChangeArrowheads="1"/>
              </p:cNvSpPr>
              <p:nvPr userDrawn="1"/>
            </p:nvSpPr>
            <p:spPr bwMode="auto">
              <a:xfrm>
                <a:off x="3386422" y="5240059"/>
                <a:ext cx="287337" cy="72000"/>
              </a:xfrm>
              <a:prstGeom prst="parallelogram">
                <a:avLst/>
              </a:pr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7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8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102</a:t>
                </a:r>
              </a:p>
            </p:txBody>
          </p:sp>
          <p:sp>
            <p:nvSpPr>
              <p:cNvPr id="22" name="AutoShape 64"/>
              <p:cNvSpPr>
                <a:spLocks noChangeArrowheads="1"/>
              </p:cNvSpPr>
              <p:nvPr userDrawn="1"/>
            </p:nvSpPr>
            <p:spPr bwMode="auto">
              <a:xfrm>
                <a:off x="5138785" y="5240056"/>
                <a:ext cx="287337" cy="72000"/>
              </a:xfrm>
              <a:prstGeom prst="parallelogram">
                <a:avLst/>
              </a:prstGeom>
              <a:solidFill>
                <a:schemeClr val="accent6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7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2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1</a:t>
                </a:r>
              </a:p>
            </p:txBody>
          </p:sp>
          <p:sp>
            <p:nvSpPr>
              <p:cNvPr id="23" name="AutoShape 65"/>
              <p:cNvSpPr>
                <a:spLocks noChangeArrowheads="1"/>
              </p:cNvSpPr>
              <p:nvPr userDrawn="1"/>
            </p:nvSpPr>
            <p:spPr bwMode="auto">
              <a:xfrm>
                <a:off x="4520686" y="5240056"/>
                <a:ext cx="287338" cy="72000"/>
              </a:xfrm>
              <a:prstGeom prst="parallelogram">
                <a:avLst/>
              </a:prstGeom>
              <a:solidFill>
                <a:srgbClr val="FF3154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49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84</a:t>
                </a:r>
              </a:p>
            </p:txBody>
          </p:sp>
          <p:sp>
            <p:nvSpPr>
              <p:cNvPr id="24" name="Rectangle 68"/>
              <p:cNvSpPr>
                <a:spLocks noChangeArrowheads="1"/>
              </p:cNvSpPr>
              <p:nvPr userDrawn="1"/>
            </p:nvSpPr>
            <p:spPr bwMode="auto">
              <a:xfrm>
                <a:off x="485237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Core and background colors:</a:t>
                </a:r>
              </a:p>
            </p:txBody>
          </p:sp>
          <p:sp>
            <p:nvSpPr>
              <p:cNvPr id="25" name="Rectangle 68"/>
              <p:cNvSpPr>
                <a:spLocks noChangeArrowheads="1"/>
              </p:cNvSpPr>
              <p:nvPr userDrawn="1"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endParaRPr lang="en-GB" sz="500" dirty="0">
                  <a:solidFill>
                    <a:srgbClr val="001135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AutoShape 64"/>
              <p:cNvSpPr>
                <a:spLocks noChangeArrowheads="1"/>
              </p:cNvSpPr>
              <p:nvPr userDrawn="1"/>
            </p:nvSpPr>
            <p:spPr bwMode="auto">
              <a:xfrm>
                <a:off x="2752307" y="5240056"/>
                <a:ext cx="287337" cy="72000"/>
              </a:xfrm>
              <a:prstGeom prst="parallelogram">
                <a:avLst/>
              </a:pr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9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0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10</a:t>
                </a:r>
              </a:p>
            </p:txBody>
          </p:sp>
          <p:sp>
            <p:nvSpPr>
              <p:cNvPr id="27" name="AutoShape 59"/>
              <p:cNvSpPr>
                <a:spLocks noChangeArrowheads="1"/>
              </p:cNvSpPr>
              <p:nvPr userDrawn="1"/>
            </p:nvSpPr>
            <p:spPr bwMode="auto">
              <a:xfrm>
                <a:off x="4211638" y="5240056"/>
                <a:ext cx="287337" cy="72000"/>
              </a:xfrm>
              <a:prstGeom prst="parallelogram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0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201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28" name="AutoShape 65"/>
              <p:cNvSpPr>
                <a:spLocks noChangeArrowheads="1"/>
              </p:cNvSpPr>
              <p:nvPr userDrawn="1"/>
            </p:nvSpPr>
            <p:spPr bwMode="auto">
              <a:xfrm>
                <a:off x="4829735" y="5240056"/>
                <a:ext cx="287338" cy="72000"/>
              </a:xfrm>
              <a:prstGeom prst="parallelogram">
                <a:avLst/>
              </a:pr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0</a:t>
                </a:r>
              </a:p>
            </p:txBody>
          </p:sp>
          <p:sp>
            <p:nvSpPr>
              <p:cNvPr id="29" name="Rectangle 68"/>
              <p:cNvSpPr>
                <a:spLocks noChangeArrowheads="1"/>
              </p:cNvSpPr>
              <p:nvPr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00C9FF"/>
                  </a:buClr>
                  <a:defRPr/>
                </a:pPr>
                <a:endParaRPr lang="en-GB" sz="500" dirty="0">
                  <a:solidFill>
                    <a:srgbClr val="FFFFFF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" name="AutoShape 58"/>
              <p:cNvSpPr>
                <a:spLocks noChangeArrowheads="1"/>
              </p:cNvSpPr>
              <p:nvPr userDrawn="1"/>
            </p:nvSpPr>
            <p:spPr bwMode="auto">
              <a:xfrm>
                <a:off x="1644397" y="5240059"/>
                <a:ext cx="287338" cy="72000"/>
              </a:xfrm>
              <a:prstGeom prst="parallelogram">
                <a:avLst/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0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3</a:t>
                </a:r>
              </a:p>
            </p:txBody>
          </p:sp>
          <p:sp>
            <p:nvSpPr>
              <p:cNvPr id="48" name="AutoShape 58"/>
              <p:cNvSpPr>
                <a:spLocks noChangeArrowheads="1"/>
              </p:cNvSpPr>
              <p:nvPr userDrawn="1"/>
            </p:nvSpPr>
            <p:spPr bwMode="auto">
              <a:xfrm>
                <a:off x="1954467" y="5240059"/>
                <a:ext cx="287338" cy="72000"/>
              </a:xfrm>
              <a:prstGeom prst="parallelogram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49" name="AutoShape 64"/>
              <p:cNvSpPr>
                <a:spLocks noChangeArrowheads="1"/>
              </p:cNvSpPr>
              <p:nvPr userDrawn="1"/>
            </p:nvSpPr>
            <p:spPr bwMode="auto">
              <a:xfrm>
                <a:off x="2435250" y="5240056"/>
                <a:ext cx="287337" cy="72000"/>
              </a:xfrm>
              <a:prstGeom prst="snip2DiagRect">
                <a:avLst/>
              </a:prstGeom>
              <a:solidFill>
                <a:srgbClr val="EDF2F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3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4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45</a:t>
                </a:r>
              </a:p>
            </p:txBody>
          </p:sp>
          <p:sp>
            <p:nvSpPr>
              <p:cNvPr id="50" name="AutoShape 59"/>
              <p:cNvSpPr>
                <a:spLocks noChangeArrowheads="1"/>
              </p:cNvSpPr>
              <p:nvPr userDrawn="1"/>
            </p:nvSpPr>
            <p:spPr bwMode="auto">
              <a:xfrm>
                <a:off x="3703478" y="5240059"/>
                <a:ext cx="287337" cy="72000"/>
              </a:xfrm>
              <a:prstGeom prst="parallelogram">
                <a:avLst/>
              </a:prstGeom>
              <a:solidFill>
                <a:srgbClr val="27314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3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4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66</a:t>
                </a:r>
              </a:p>
            </p:txBody>
          </p:sp>
        </p:grpSp>
        <p:sp>
          <p:nvSpPr>
            <p:cNvPr id="18" name="Line 10"/>
            <p:cNvSpPr>
              <a:spLocks noChangeShapeType="1"/>
            </p:cNvSpPr>
            <p:nvPr userDrawn="1"/>
          </p:nvSpPr>
          <p:spPr bwMode="auto">
            <a:xfrm flipH="1">
              <a:off x="-144512" y="275177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prstDash val="sysDot"/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</p:grpSp>
      <p:cxnSp>
        <p:nvCxnSpPr>
          <p:cNvPr id="5" name="Gerade Verbindung 4"/>
          <p:cNvCxnSpPr/>
          <p:nvPr userDrawn="1"/>
        </p:nvCxnSpPr>
        <p:spPr>
          <a:xfrm>
            <a:off x="2335530" y="5240056"/>
            <a:ext cx="0" cy="318734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/>
        </p:nvCxnSpPr>
        <p:spPr>
          <a:xfrm>
            <a:off x="4145280" y="5240056"/>
            <a:ext cx="0" cy="318734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hlinkClick r:id="" action="ppaction://hlinkshowjump?jump=previousslide"/>
          </p:cNvPr>
          <p:cNvSpPr/>
          <p:nvPr userDrawn="1"/>
        </p:nvSpPr>
        <p:spPr>
          <a:xfrm>
            <a:off x="0" y="842963"/>
            <a:ext cx="433387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53" name="Rechteck 52">
            <a:hlinkClick r:id="" action="ppaction://hlinkshowjump?jump=nextslide"/>
          </p:cNvPr>
          <p:cNvSpPr/>
          <p:nvPr userDrawn="1"/>
        </p:nvSpPr>
        <p:spPr>
          <a:xfrm>
            <a:off x="8712200" y="842963"/>
            <a:ext cx="431800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233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80800"/>
            <a:ext cx="8308800" cy="3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0000"/>
            <a:ext cx="8308800" cy="35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433388" y="4816089"/>
            <a:ext cx="223612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  <a:latin typeface="Nokia Pure Text Light"/>
                <a:cs typeface="Arial" charset="0"/>
              </a:rPr>
              <a:t>© Nokia Solutions and Networks 2015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7" name="Rechteck 6">
            <a:hlinkClick r:id="" action="ppaction://hlinkshowjump?jump=previousslide"/>
          </p:cNvPr>
          <p:cNvSpPr/>
          <p:nvPr userDrawn="1"/>
        </p:nvSpPr>
        <p:spPr>
          <a:xfrm>
            <a:off x="0" y="842963"/>
            <a:ext cx="433387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9" name="Rechteck 8">
            <a:hlinkClick r:id="" action="ppaction://hlinkshowjump?jump=nextslide"/>
          </p:cNvPr>
          <p:cNvSpPr/>
          <p:nvPr userDrawn="1"/>
        </p:nvSpPr>
        <p:spPr>
          <a:xfrm>
            <a:off x="8712200" y="842963"/>
            <a:ext cx="431800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144512" y="-147638"/>
            <a:ext cx="8856972" cy="5491163"/>
            <a:chOff x="-144512" y="-147638"/>
            <a:chExt cx="8856972" cy="5491163"/>
          </a:xfrm>
        </p:grpSpPr>
        <p:sp>
          <p:nvSpPr>
            <p:cNvPr id="11" name="Line 9"/>
            <p:cNvSpPr>
              <a:spLocks noChangeShapeType="1"/>
            </p:cNvSpPr>
            <p:nvPr/>
          </p:nvSpPr>
          <p:spPr bwMode="auto">
            <a:xfrm flipV="1">
              <a:off x="-144512" y="593725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2" name="Line 12"/>
            <p:cNvSpPr>
              <a:spLocks noChangeShapeType="1"/>
            </p:cNvSpPr>
            <p:nvPr/>
          </p:nvSpPr>
          <p:spPr bwMode="auto">
            <a:xfrm flipV="1">
              <a:off x="-144512" y="49149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3" name="Line 9"/>
            <p:cNvSpPr>
              <a:spLocks noChangeShapeType="1"/>
            </p:cNvSpPr>
            <p:nvPr/>
          </p:nvSpPr>
          <p:spPr bwMode="auto">
            <a:xfrm flipV="1">
              <a:off x="-144512" y="84613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4" name="Line 10"/>
            <p:cNvSpPr>
              <a:spLocks noChangeShapeType="1"/>
            </p:cNvSpPr>
            <p:nvPr/>
          </p:nvSpPr>
          <p:spPr bwMode="auto">
            <a:xfrm flipH="1">
              <a:off x="-144512" y="10922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7" name="Line 12"/>
            <p:cNvSpPr>
              <a:spLocks noChangeShapeType="1"/>
            </p:cNvSpPr>
            <p:nvPr/>
          </p:nvSpPr>
          <p:spPr bwMode="auto">
            <a:xfrm flipV="1">
              <a:off x="-144512" y="4665663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8" name="Line 13"/>
            <p:cNvSpPr>
              <a:spLocks noChangeShapeType="1"/>
            </p:cNvSpPr>
            <p:nvPr/>
          </p:nvSpPr>
          <p:spPr bwMode="auto">
            <a:xfrm flipH="1" flipV="1">
              <a:off x="-144512" y="440055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9" name="Line 14"/>
            <p:cNvSpPr>
              <a:spLocks noChangeShapeType="1"/>
            </p:cNvSpPr>
            <p:nvPr/>
          </p:nvSpPr>
          <p:spPr bwMode="auto">
            <a:xfrm>
              <a:off x="-144512" y="28098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20" name="Line 15"/>
            <p:cNvSpPr>
              <a:spLocks noChangeShapeType="1"/>
            </p:cNvSpPr>
            <p:nvPr/>
          </p:nvSpPr>
          <p:spPr bwMode="auto">
            <a:xfrm flipH="1">
              <a:off x="43180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21" name="Line 17"/>
            <p:cNvSpPr>
              <a:spLocks noChangeShapeType="1"/>
            </p:cNvSpPr>
            <p:nvPr/>
          </p:nvSpPr>
          <p:spPr bwMode="auto">
            <a:xfrm>
              <a:off x="871246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grpSp>
          <p:nvGrpSpPr>
            <p:cNvPr id="22" name="Gruppieren 21"/>
            <p:cNvGrpSpPr/>
            <p:nvPr userDrawn="1"/>
          </p:nvGrpSpPr>
          <p:grpSpPr>
            <a:xfrm>
              <a:off x="485237" y="5208588"/>
              <a:ext cx="4940885" cy="134937"/>
              <a:chOff x="485237" y="5208588"/>
              <a:chExt cx="4940885" cy="134937"/>
            </a:xfrm>
          </p:grpSpPr>
          <p:sp>
            <p:nvSpPr>
              <p:cNvPr id="24" name="AutoShape 57"/>
              <p:cNvSpPr>
                <a:spLocks noChangeArrowheads="1"/>
              </p:cNvSpPr>
              <p:nvPr userDrawn="1"/>
            </p:nvSpPr>
            <p:spPr bwMode="auto">
              <a:xfrm>
                <a:off x="1312325" y="5240059"/>
                <a:ext cx="287337" cy="72000"/>
              </a:xfrm>
              <a:prstGeom prst="parallelogram">
                <a:avLst/>
              </a:pr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8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6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45</a:t>
                </a:r>
              </a:p>
            </p:txBody>
          </p:sp>
          <p:sp>
            <p:nvSpPr>
              <p:cNvPr id="25" name="AutoShape 58"/>
              <p:cNvSpPr>
                <a:spLocks noChangeArrowheads="1"/>
              </p:cNvSpPr>
              <p:nvPr userDrawn="1"/>
            </p:nvSpPr>
            <p:spPr bwMode="auto">
              <a:xfrm>
                <a:off x="3069364" y="5240059"/>
                <a:ext cx="287338" cy="72000"/>
              </a:xfrm>
              <a:prstGeom prst="parallelogram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52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6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74</a:t>
                </a:r>
              </a:p>
            </p:txBody>
          </p:sp>
          <p:sp>
            <p:nvSpPr>
              <p:cNvPr id="26" name="AutoShape 59"/>
              <p:cNvSpPr>
                <a:spLocks noChangeArrowheads="1"/>
              </p:cNvSpPr>
              <p:nvPr userDrawn="1"/>
            </p:nvSpPr>
            <p:spPr bwMode="auto">
              <a:xfrm>
                <a:off x="3386422" y="5240059"/>
                <a:ext cx="287337" cy="72000"/>
              </a:xfrm>
              <a:prstGeom prst="parallelogram">
                <a:avLst/>
              </a:pr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7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8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102</a:t>
                </a:r>
              </a:p>
            </p:txBody>
          </p:sp>
          <p:sp>
            <p:nvSpPr>
              <p:cNvPr id="27" name="AutoShape 64"/>
              <p:cNvSpPr>
                <a:spLocks noChangeArrowheads="1"/>
              </p:cNvSpPr>
              <p:nvPr userDrawn="1"/>
            </p:nvSpPr>
            <p:spPr bwMode="auto">
              <a:xfrm>
                <a:off x="5138785" y="5240056"/>
                <a:ext cx="287337" cy="72000"/>
              </a:xfrm>
              <a:prstGeom prst="parallelogram">
                <a:avLst/>
              </a:prstGeom>
              <a:solidFill>
                <a:schemeClr val="accent6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7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2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1</a:t>
                </a:r>
              </a:p>
            </p:txBody>
          </p:sp>
          <p:sp>
            <p:nvSpPr>
              <p:cNvPr id="28" name="AutoShape 65"/>
              <p:cNvSpPr>
                <a:spLocks noChangeArrowheads="1"/>
              </p:cNvSpPr>
              <p:nvPr userDrawn="1"/>
            </p:nvSpPr>
            <p:spPr bwMode="auto">
              <a:xfrm>
                <a:off x="4520686" y="5240056"/>
                <a:ext cx="287338" cy="72000"/>
              </a:xfrm>
              <a:prstGeom prst="parallelogram">
                <a:avLst/>
              </a:prstGeom>
              <a:solidFill>
                <a:srgbClr val="FF3154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49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84</a:t>
                </a:r>
              </a:p>
            </p:txBody>
          </p:sp>
          <p:sp>
            <p:nvSpPr>
              <p:cNvPr id="29" name="Rectangle 68"/>
              <p:cNvSpPr>
                <a:spLocks noChangeArrowheads="1"/>
              </p:cNvSpPr>
              <p:nvPr userDrawn="1"/>
            </p:nvSpPr>
            <p:spPr bwMode="auto">
              <a:xfrm>
                <a:off x="485237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Core and background colors:</a:t>
                </a:r>
              </a:p>
            </p:txBody>
          </p:sp>
          <p:sp>
            <p:nvSpPr>
              <p:cNvPr id="30" name="Rectangle 68"/>
              <p:cNvSpPr>
                <a:spLocks noChangeArrowheads="1"/>
              </p:cNvSpPr>
              <p:nvPr userDrawn="1"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endParaRPr lang="en-GB" sz="500" dirty="0">
                  <a:solidFill>
                    <a:srgbClr val="001135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1" name="AutoShape 64"/>
              <p:cNvSpPr>
                <a:spLocks noChangeArrowheads="1"/>
              </p:cNvSpPr>
              <p:nvPr userDrawn="1"/>
            </p:nvSpPr>
            <p:spPr bwMode="auto">
              <a:xfrm>
                <a:off x="2752307" y="5240056"/>
                <a:ext cx="287337" cy="72000"/>
              </a:xfrm>
              <a:prstGeom prst="parallelogram">
                <a:avLst/>
              </a:pr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9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0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10</a:t>
                </a:r>
              </a:p>
            </p:txBody>
          </p:sp>
          <p:sp>
            <p:nvSpPr>
              <p:cNvPr id="32" name="AutoShape 59"/>
              <p:cNvSpPr>
                <a:spLocks noChangeArrowheads="1"/>
              </p:cNvSpPr>
              <p:nvPr userDrawn="1"/>
            </p:nvSpPr>
            <p:spPr bwMode="auto">
              <a:xfrm>
                <a:off x="4211638" y="5240056"/>
                <a:ext cx="287337" cy="72000"/>
              </a:xfrm>
              <a:prstGeom prst="parallelogram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0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201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33" name="AutoShape 65"/>
              <p:cNvSpPr>
                <a:spLocks noChangeArrowheads="1"/>
              </p:cNvSpPr>
              <p:nvPr userDrawn="1"/>
            </p:nvSpPr>
            <p:spPr bwMode="auto">
              <a:xfrm>
                <a:off x="4829735" y="5240056"/>
                <a:ext cx="287338" cy="72000"/>
              </a:xfrm>
              <a:prstGeom prst="parallelogram">
                <a:avLst/>
              </a:pr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0</a:t>
                </a:r>
              </a:p>
            </p:txBody>
          </p:sp>
          <p:sp>
            <p:nvSpPr>
              <p:cNvPr id="34" name="Rectangle 68"/>
              <p:cNvSpPr>
                <a:spLocks noChangeArrowheads="1"/>
              </p:cNvSpPr>
              <p:nvPr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00C9FF"/>
                  </a:buClr>
                  <a:defRPr/>
                </a:pPr>
                <a:endParaRPr lang="en-GB" sz="500" dirty="0">
                  <a:solidFill>
                    <a:srgbClr val="FFFFFF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AutoShape 58"/>
              <p:cNvSpPr>
                <a:spLocks noChangeArrowheads="1"/>
              </p:cNvSpPr>
              <p:nvPr userDrawn="1"/>
            </p:nvSpPr>
            <p:spPr bwMode="auto">
              <a:xfrm>
                <a:off x="1644397" y="5240059"/>
                <a:ext cx="287338" cy="72000"/>
              </a:xfrm>
              <a:prstGeom prst="parallelogram">
                <a:avLst/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0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3</a:t>
                </a:r>
              </a:p>
            </p:txBody>
          </p:sp>
          <p:sp>
            <p:nvSpPr>
              <p:cNvPr id="36" name="AutoShape 58"/>
              <p:cNvSpPr>
                <a:spLocks noChangeArrowheads="1"/>
              </p:cNvSpPr>
              <p:nvPr userDrawn="1"/>
            </p:nvSpPr>
            <p:spPr bwMode="auto">
              <a:xfrm>
                <a:off x="1954467" y="5240059"/>
                <a:ext cx="287338" cy="72000"/>
              </a:xfrm>
              <a:prstGeom prst="parallelogram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37" name="AutoShape 64"/>
              <p:cNvSpPr>
                <a:spLocks noChangeArrowheads="1"/>
              </p:cNvSpPr>
              <p:nvPr userDrawn="1"/>
            </p:nvSpPr>
            <p:spPr bwMode="auto">
              <a:xfrm>
                <a:off x="2435250" y="5240056"/>
                <a:ext cx="287337" cy="72000"/>
              </a:xfrm>
              <a:prstGeom prst="snip2DiagRect">
                <a:avLst/>
              </a:prstGeom>
              <a:solidFill>
                <a:srgbClr val="EDF2F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3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4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45</a:t>
                </a:r>
              </a:p>
            </p:txBody>
          </p:sp>
          <p:sp>
            <p:nvSpPr>
              <p:cNvPr id="38" name="AutoShape 59"/>
              <p:cNvSpPr>
                <a:spLocks noChangeArrowheads="1"/>
              </p:cNvSpPr>
              <p:nvPr userDrawn="1"/>
            </p:nvSpPr>
            <p:spPr bwMode="auto">
              <a:xfrm>
                <a:off x="3703478" y="5240059"/>
                <a:ext cx="287337" cy="72000"/>
              </a:xfrm>
              <a:prstGeom prst="parallelogram">
                <a:avLst/>
              </a:prstGeom>
              <a:solidFill>
                <a:srgbClr val="27314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3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4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66</a:t>
                </a:r>
              </a:p>
            </p:txBody>
          </p:sp>
        </p:grpSp>
        <p:sp>
          <p:nvSpPr>
            <p:cNvPr id="23" name="Line 10"/>
            <p:cNvSpPr>
              <a:spLocks noChangeShapeType="1"/>
            </p:cNvSpPr>
            <p:nvPr userDrawn="1"/>
          </p:nvSpPr>
          <p:spPr bwMode="auto">
            <a:xfrm flipH="1">
              <a:off x="-144512" y="275177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prstDash val="sysDot"/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7925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</p:sldLayoutIdLst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b="0" kern="1200">
          <a:solidFill>
            <a:schemeClr val="bg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1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 txBox="1">
            <a:spLocks/>
          </p:cNvSpPr>
          <p:nvPr/>
        </p:nvSpPr>
        <p:spPr>
          <a:xfrm>
            <a:off x="165006" y="2197152"/>
            <a:ext cx="3956326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895350" eaLnBrk="1" hangingPunct="1">
              <a:buClr>
                <a:schemeClr val="tx2"/>
              </a:buClr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sz="2300" dirty="0">
                <a:latin typeface="Nokia Pure Headline Light" panose="020B0304040602060303" pitchFamily="34" charset="0"/>
              </a:rPr>
              <a:t>UVT 2017 lab 2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1332" y="785306"/>
            <a:ext cx="4571502" cy="3228624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7751" y="1000061"/>
            <a:ext cx="7908818" cy="208439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342900" indent="-342900" algn="just">
              <a:spcBef>
                <a:spcPts val="0"/>
              </a:spcBef>
              <a:buClr>
                <a:srgbClr val="001135"/>
              </a:buClr>
              <a:buAutoNum type="arabicPeriod"/>
            </a:pP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Status program actual</a:t>
            </a:r>
          </a:p>
          <a:p>
            <a:pPr marL="342900" indent="-342900" algn="just">
              <a:spcBef>
                <a:spcPts val="0"/>
              </a:spcBef>
              <a:buClr>
                <a:srgbClr val="001135"/>
              </a:buClr>
              <a:buAutoNum type="arabicPeriod"/>
            </a:pP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See C++11 features: Override, final</a:t>
            </a:r>
          </a:p>
          <a:p>
            <a:pPr marL="342900" indent="-342900" algn="just">
              <a:spcBef>
                <a:spcPts val="0"/>
              </a:spcBef>
              <a:buClr>
                <a:srgbClr val="001135"/>
              </a:buClr>
              <a:buAutoNum type="arabicPeriod"/>
            </a:pP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Overload </a:t>
            </a:r>
            <a:r>
              <a:rPr lang="en-US" dirty="0" err="1">
                <a:latin typeface="+mj-lt"/>
                <a:ea typeface="Nokia Pure Text" panose="020B0503020202020204" pitchFamily="34" charset="0"/>
                <a:cs typeface="Nokia Pure Headline Light"/>
              </a:rPr>
              <a:t>cin</a:t>
            </a: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 (operator&lt;&lt;), </a:t>
            </a:r>
            <a:r>
              <a:rPr lang="en-US" dirty="0" err="1">
                <a:latin typeface="+mj-lt"/>
                <a:ea typeface="Nokia Pure Text" panose="020B0503020202020204" pitchFamily="34" charset="0"/>
                <a:cs typeface="Nokia Pure Headline Light"/>
              </a:rPr>
              <a:t>cout</a:t>
            </a: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 (operator&lt;&lt;) </a:t>
            </a:r>
          </a:p>
          <a:p>
            <a:pPr marL="342900" indent="-342900" algn="just">
              <a:spcBef>
                <a:spcPts val="0"/>
              </a:spcBef>
              <a:buClr>
                <a:srgbClr val="001135"/>
              </a:buClr>
              <a:buAutoNum type="arabicPeriod"/>
            </a:pP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Generate few shapes and save all shapes in a vector</a:t>
            </a:r>
          </a:p>
          <a:p>
            <a:pPr marL="342900" indent="-342900" algn="just">
              <a:spcBef>
                <a:spcPts val="0"/>
              </a:spcBef>
              <a:buClr>
                <a:srgbClr val="001135"/>
              </a:buClr>
              <a:buAutoNum type="arabicPeriod"/>
            </a:pP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Display using an iterator vector content</a:t>
            </a:r>
          </a:p>
          <a:p>
            <a:pPr marL="342900" indent="-342900" algn="just">
              <a:spcBef>
                <a:spcPts val="0"/>
              </a:spcBef>
              <a:buClr>
                <a:srgbClr val="001135"/>
              </a:buClr>
              <a:buAutoNum type="arabicPeriod"/>
            </a:pP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Search for a specific shape in vector</a:t>
            </a:r>
          </a:p>
          <a:p>
            <a:pPr marL="342900" indent="-342900" algn="just">
              <a:spcBef>
                <a:spcPts val="0"/>
              </a:spcBef>
              <a:buClr>
                <a:srgbClr val="001135"/>
              </a:buClr>
              <a:buAutoNum type="arabicPeriod"/>
            </a:pP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Delete vector content and resize vector</a:t>
            </a:r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4044397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/>
              <a:t>Lab </a:t>
            </a:r>
            <a:r>
              <a:rPr lang="en-US" dirty="0"/>
              <a:t>2 Scop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14159516"/>
      </p:ext>
    </p:extLst>
  </p:cSld>
  <p:clrMapOvr>
    <a:masterClrMapping/>
  </p:clrMapOvr>
  <p:transition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7751" y="1000061"/>
            <a:ext cx="7908818" cy="180740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342900" indent="-342900" algn="just">
              <a:spcBef>
                <a:spcPts val="0"/>
              </a:spcBef>
              <a:buClr>
                <a:srgbClr val="001135"/>
              </a:buClr>
              <a:buAutoNum type="arabicPeriod"/>
            </a:pP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In C++ there are a few types of operators:</a:t>
            </a:r>
          </a:p>
          <a:p>
            <a:pPr marL="800100" lvl="1" indent="-342900" algn="just">
              <a:spcBef>
                <a:spcPts val="0"/>
              </a:spcBef>
              <a:buClr>
                <a:srgbClr val="001135"/>
              </a:buClr>
              <a:buFont typeface="+mj-lt"/>
              <a:buAutoNum type="alphaLcParenR"/>
            </a:pP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Arithmetic: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+</a:t>
            </a: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,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-</a:t>
            </a: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,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*</a:t>
            </a: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,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/</a:t>
            </a: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 and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%</a:t>
            </a:r>
          </a:p>
          <a:p>
            <a:pPr marL="800100" lvl="1" indent="-342900" algn="just">
              <a:spcBef>
                <a:spcPts val="0"/>
              </a:spcBef>
              <a:buClr>
                <a:srgbClr val="001135"/>
              </a:buClr>
              <a:buFont typeface="+mj-lt"/>
              <a:buAutoNum type="alphaLcParenR"/>
            </a:pP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Logic: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&amp;&amp;</a:t>
            </a: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,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||</a:t>
            </a: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,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!</a:t>
            </a:r>
          </a:p>
          <a:p>
            <a:pPr marL="800100" lvl="1" indent="-342900" algn="just">
              <a:spcBef>
                <a:spcPts val="0"/>
              </a:spcBef>
              <a:buClr>
                <a:srgbClr val="001135"/>
              </a:buClr>
              <a:buFont typeface="+mj-lt"/>
              <a:buAutoNum type="alphaLcParenR"/>
            </a:pP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Bitwise: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&gt;&gt;</a:t>
            </a: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,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&lt;&lt;</a:t>
            </a: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,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&amp;</a:t>
            </a: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,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|</a:t>
            </a: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,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^</a:t>
            </a: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,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~</a:t>
            </a:r>
            <a:endParaRPr lang="en-US" dirty="0">
              <a:latin typeface="+mj-lt"/>
              <a:ea typeface="Nokia Pure Text" panose="020B0503020202020204" pitchFamily="34" charset="0"/>
              <a:cs typeface="Nokia Pure Headline Light"/>
            </a:endParaRPr>
          </a:p>
          <a:p>
            <a:pPr marL="800100" lvl="1" indent="-342900" algn="just">
              <a:spcBef>
                <a:spcPts val="0"/>
              </a:spcBef>
              <a:buClr>
                <a:srgbClr val="001135"/>
              </a:buClr>
              <a:buFont typeface="+mj-lt"/>
              <a:buAutoNum type="alphaLcParenR"/>
            </a:pP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Relational and comparison: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==</a:t>
            </a: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,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!=</a:t>
            </a: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,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&gt;</a:t>
            </a: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,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&gt;=</a:t>
            </a: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,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&lt;</a:t>
            </a: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,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&lt;=</a:t>
            </a:r>
          </a:p>
          <a:p>
            <a:pPr marL="800100" lvl="1" indent="-342900" algn="just">
              <a:spcBef>
                <a:spcPts val="0"/>
              </a:spcBef>
              <a:buClr>
                <a:srgbClr val="001135"/>
              </a:buClr>
              <a:buFont typeface="+mj-lt"/>
              <a:buAutoNum type="alphaLcParenR"/>
            </a:pP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Stream extraction and insertion: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&gt;&gt;,</a:t>
            </a:r>
            <a:r>
              <a:rPr lang="en-US" dirty="0">
                <a:latin typeface="+mj-lt"/>
                <a:ea typeface="Nokia Pure Text" panose="020B0503020202020204" pitchFamily="34" charset="0"/>
                <a:cs typeface="Nokia Pure Headline Light"/>
              </a:rPr>
              <a:t> </a:t>
            </a:r>
            <a:r>
              <a:rPr lang="en-US" b="1" dirty="0">
                <a:latin typeface="+mj-lt"/>
                <a:ea typeface="Nokia Pure Text" panose="020B0503020202020204" pitchFamily="34" charset="0"/>
                <a:cs typeface="Nokia Pure Headline Light"/>
              </a:rPr>
              <a:t>&lt;&lt;</a:t>
            </a:r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0565" y="280988"/>
            <a:ext cx="7952678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dirty="0">
                <a:ea typeface="Nokia Pure Text" panose="020B0503020202020204" pitchFamily="34" charset="0"/>
                <a:cs typeface="Nokia Pure Headline Light"/>
              </a:rPr>
              <a:t>Overload</a:t>
            </a:r>
            <a:r>
              <a:rPr lang="en-US" b="1" dirty="0">
                <a:ea typeface="Nokia Pure Text" panose="020B0503020202020204" pitchFamily="34" charset="0"/>
                <a:cs typeface="Nokia Pure Headline Light"/>
              </a:rPr>
              <a:t> operators</a:t>
            </a:r>
          </a:p>
        </p:txBody>
      </p:sp>
    </p:spTree>
    <p:extLst>
      <p:ext uri="{BB962C8B-B14F-4D97-AF65-F5344CB8AC3E}">
        <p14:creationId xmlns:p14="http://schemas.microsoft.com/office/powerpoint/2010/main" val="3381482565"/>
      </p:ext>
    </p:extLst>
  </p:cSld>
  <p:clrMapOvr>
    <a:masterClrMapping/>
  </p:clrMapOvr>
  <p:transition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4044397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dirty="0">
                <a:ea typeface="Nokia Pure Text" panose="020B0503020202020204" pitchFamily="34" charset="0"/>
                <a:cs typeface="Nokia Pure Headline Light"/>
              </a:rPr>
              <a:t>Standard way of doing it</a:t>
            </a:r>
            <a:endParaRPr lang="en-US" b="1" dirty="0">
              <a:ea typeface="Nokia Pure Text" panose="020B0503020202020204" pitchFamily="34" charset="0"/>
              <a:cs typeface="Nokia Pure Headline Ligh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0250" y="666975"/>
            <a:ext cx="4743005" cy="3757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04792"/>
      </p:ext>
    </p:extLst>
  </p:cSld>
  <p:clrMapOvr>
    <a:masterClrMapping/>
  </p:clrMapOvr>
  <p:transition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7751" y="1000061"/>
            <a:ext cx="7908818" cy="186895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1600" dirty="0">
                <a:latin typeface="+mj-lt"/>
                <a:ea typeface="Nokia Pure Text" panose="020B0503020202020204" pitchFamily="34" charset="0"/>
                <a:cs typeface="Nokia Pure Headline Light"/>
              </a:rPr>
              <a:t>The syntax is: </a:t>
            </a:r>
            <a:r>
              <a:rPr lang="en-US" sz="1600" b="1" dirty="0">
                <a:latin typeface="+mj-lt"/>
                <a:ea typeface="Nokia Pure Text" panose="020B0503020202020204" pitchFamily="34" charset="0"/>
                <a:cs typeface="Nokia Pure Headline Light"/>
              </a:rPr>
              <a:t>type operator sign (parameters) { /*... body ...*/ }</a:t>
            </a:r>
          </a:p>
          <a:p>
            <a:pPr marL="342900" indent="-342900" algn="just">
              <a:spcBef>
                <a:spcPts val="0"/>
              </a:spcBef>
              <a:buClr>
                <a:srgbClr val="001135"/>
              </a:buClr>
              <a:buAutoNum type="arabicPeriod"/>
            </a:pPr>
            <a:endParaRPr lang="en-US" sz="1600" dirty="0">
              <a:latin typeface="+mj-lt"/>
              <a:ea typeface="Nokia Pure Text" panose="020B0503020202020204" pitchFamily="34" charset="0"/>
              <a:cs typeface="Nokia Pure Headline Ligh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1600" dirty="0">
                <a:latin typeface="+mj-lt"/>
                <a:ea typeface="Nokia Pure Text" panose="020B0503020202020204" pitchFamily="34" charset="0"/>
                <a:cs typeface="Nokia Pure Headline Light"/>
              </a:rPr>
              <a:t>C++ is able to input and output the built-in data types using the stream extraction 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1600" b="1" dirty="0">
                <a:latin typeface="+mj-lt"/>
                <a:ea typeface="Nokia Pure Text" panose="020B0503020202020204" pitchFamily="34" charset="0"/>
                <a:cs typeface="Nokia Pure Headline Light"/>
              </a:rPr>
              <a:t>operator &gt;&gt; </a:t>
            </a:r>
            <a:r>
              <a:rPr lang="en-US" sz="1600" dirty="0">
                <a:latin typeface="+mj-lt"/>
                <a:ea typeface="Nokia Pure Text" panose="020B0503020202020204" pitchFamily="34" charset="0"/>
                <a:cs typeface="Nokia Pure Headline Light"/>
              </a:rPr>
              <a:t>and the stream insertion </a:t>
            </a:r>
            <a:r>
              <a:rPr lang="en-US" sz="1600" b="1" dirty="0">
                <a:latin typeface="+mj-lt"/>
                <a:ea typeface="Nokia Pure Text" panose="020B0503020202020204" pitchFamily="34" charset="0"/>
                <a:cs typeface="Nokia Pure Headline Light"/>
              </a:rPr>
              <a:t>operator &lt;&lt;. </a:t>
            </a:r>
            <a:r>
              <a:rPr lang="en-US" sz="1600" dirty="0">
                <a:latin typeface="+mj-lt"/>
                <a:ea typeface="Nokia Pure Text" panose="020B0503020202020204" pitchFamily="34" charset="0"/>
                <a:cs typeface="Nokia Pure Headline Light"/>
              </a:rPr>
              <a:t>The </a:t>
            </a:r>
            <a:r>
              <a:rPr lang="en-US" sz="1600" b="1" dirty="0">
                <a:latin typeface="+mj-lt"/>
                <a:ea typeface="Nokia Pure Text" panose="020B0503020202020204" pitchFamily="34" charset="0"/>
                <a:cs typeface="Nokia Pure Headline Light"/>
              </a:rPr>
              <a:t>stream insertion and stream extraction operators </a:t>
            </a:r>
            <a:r>
              <a:rPr lang="en-US" sz="1600" dirty="0">
                <a:latin typeface="+mj-lt"/>
                <a:ea typeface="Nokia Pure Text" panose="020B0503020202020204" pitchFamily="34" charset="0"/>
                <a:cs typeface="Nokia Pure Headline Light"/>
              </a:rPr>
              <a:t>also can be overloaded to perform input and output for user-defined types like an object.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sz="1600" dirty="0">
              <a:latin typeface="+mj-lt"/>
              <a:ea typeface="Nokia Pure Text" panose="020B0503020202020204" pitchFamily="34" charset="0"/>
              <a:cs typeface="Nokia Pure Headline Light"/>
            </a:endParaRPr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4044397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dirty="0"/>
              <a:t>Operator overload</a:t>
            </a:r>
          </a:p>
        </p:txBody>
      </p:sp>
    </p:spTree>
    <p:extLst>
      <p:ext uri="{BB962C8B-B14F-4D97-AF65-F5344CB8AC3E}">
        <p14:creationId xmlns:p14="http://schemas.microsoft.com/office/powerpoint/2010/main" val="3104590505"/>
      </p:ext>
    </p:extLst>
  </p:cSld>
  <p:clrMapOvr>
    <a:masterClrMapping/>
  </p:clrMapOvr>
  <p:transition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7751" y="1000061"/>
            <a:ext cx="7908818" cy="33462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1600" dirty="0">
                <a:latin typeface="+mj-lt"/>
                <a:ea typeface="Nokia Pure Text" panose="020B0503020202020204" pitchFamily="34" charset="0"/>
                <a:cs typeface="Nokia Pure Headline Light"/>
              </a:rPr>
              <a:t>The syntax is: </a:t>
            </a:r>
            <a:r>
              <a:rPr lang="en-US" sz="1600" b="1" dirty="0">
                <a:latin typeface="+mj-lt"/>
                <a:ea typeface="Nokia Pure Text" panose="020B0503020202020204" pitchFamily="34" charset="0"/>
                <a:cs typeface="Nokia Pure Headline Light"/>
              </a:rPr>
              <a:t>type operator sign (parameters) { /*... body ...*/ }</a:t>
            </a:r>
          </a:p>
          <a:p>
            <a:pPr marL="342900" indent="-342900" algn="just">
              <a:spcBef>
                <a:spcPts val="0"/>
              </a:spcBef>
              <a:buClr>
                <a:srgbClr val="001135"/>
              </a:buClr>
              <a:buAutoNum type="arabicPeriod"/>
            </a:pPr>
            <a:endParaRPr lang="en-US" sz="1600" dirty="0">
              <a:latin typeface="+mj-lt"/>
              <a:ea typeface="Nokia Pure Text" panose="020B0503020202020204" pitchFamily="34" charset="0"/>
              <a:cs typeface="Nokia Pure Headline Ligh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1600" dirty="0">
                <a:latin typeface="+mj-lt"/>
                <a:ea typeface="Nokia Pure Text" panose="020B0503020202020204" pitchFamily="34" charset="0"/>
                <a:cs typeface="Nokia Pure Headline Light"/>
              </a:rPr>
              <a:t>C++ is able to input and output the built-in data types using the stream extraction 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1600" b="1" dirty="0">
                <a:latin typeface="+mj-lt"/>
                <a:ea typeface="Nokia Pure Text" panose="020B0503020202020204" pitchFamily="34" charset="0"/>
                <a:cs typeface="Nokia Pure Headline Light"/>
              </a:rPr>
              <a:t>operator &gt;&gt; </a:t>
            </a:r>
            <a:r>
              <a:rPr lang="en-US" sz="1600" dirty="0">
                <a:latin typeface="+mj-lt"/>
                <a:ea typeface="Nokia Pure Text" panose="020B0503020202020204" pitchFamily="34" charset="0"/>
                <a:cs typeface="Nokia Pure Headline Light"/>
              </a:rPr>
              <a:t>and the stream insertion </a:t>
            </a:r>
            <a:r>
              <a:rPr lang="en-US" sz="1600" b="1" dirty="0">
                <a:latin typeface="+mj-lt"/>
                <a:ea typeface="Nokia Pure Text" panose="020B0503020202020204" pitchFamily="34" charset="0"/>
                <a:cs typeface="Nokia Pure Headline Light"/>
              </a:rPr>
              <a:t>operator &lt;&lt;. </a:t>
            </a:r>
            <a:r>
              <a:rPr lang="en-US" sz="1600" dirty="0">
                <a:latin typeface="+mj-lt"/>
                <a:ea typeface="Nokia Pure Text" panose="020B0503020202020204" pitchFamily="34" charset="0"/>
                <a:cs typeface="Nokia Pure Headline Light"/>
              </a:rPr>
              <a:t>The </a:t>
            </a:r>
            <a:r>
              <a:rPr lang="en-US" sz="1600" b="1" dirty="0">
                <a:latin typeface="+mj-lt"/>
                <a:ea typeface="Nokia Pure Text" panose="020B0503020202020204" pitchFamily="34" charset="0"/>
                <a:cs typeface="Nokia Pure Headline Light"/>
              </a:rPr>
              <a:t>stream insertion and stream extraction operators </a:t>
            </a:r>
            <a:r>
              <a:rPr lang="en-US" sz="1600" dirty="0">
                <a:latin typeface="+mj-lt"/>
                <a:ea typeface="Nokia Pure Text" panose="020B0503020202020204" pitchFamily="34" charset="0"/>
                <a:cs typeface="Nokia Pure Headline Light"/>
              </a:rPr>
              <a:t>also can be overloaded to perform input and output for user-defined types like an object.</a:t>
            </a:r>
          </a:p>
          <a:p>
            <a:pPr marL="342900" indent="-342900" algn="just">
              <a:spcBef>
                <a:spcPts val="0"/>
              </a:spcBef>
              <a:buClr>
                <a:srgbClr val="001135"/>
              </a:buClr>
              <a:buAutoNum type="arabicPeriod"/>
            </a:pPr>
            <a:endParaRPr lang="en-US" sz="1600" dirty="0">
              <a:latin typeface="+mj-lt"/>
              <a:ea typeface="Nokia Pure Text" panose="020B0503020202020204" pitchFamily="34" charset="0"/>
              <a:cs typeface="Nokia Pure Headline Ligh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1600" dirty="0">
                <a:latin typeface="+mj-lt"/>
                <a:ea typeface="Nokia Pure Text" panose="020B0503020202020204" pitchFamily="34" charset="0"/>
                <a:cs typeface="Nokia Pure Headline Light"/>
              </a:rPr>
              <a:t>are three different ways to overload operators: </a:t>
            </a:r>
          </a:p>
          <a:p>
            <a:pPr marL="285750" indent="-285750" algn="just">
              <a:spcBef>
                <a:spcPts val="0"/>
              </a:spcBef>
              <a:buClr>
                <a:srgbClr val="001135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Nokia Pure Text" panose="020B0503020202020204" pitchFamily="34" charset="0"/>
                <a:cs typeface="Nokia Pure Headline Light"/>
              </a:rPr>
              <a:t>the member function way </a:t>
            </a:r>
          </a:p>
          <a:p>
            <a:pPr marL="285750" indent="-285750" algn="just">
              <a:spcBef>
                <a:spcPts val="0"/>
              </a:spcBef>
              <a:buClr>
                <a:srgbClr val="001135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latin typeface="+mj-lt"/>
                <a:ea typeface="Nokia Pure Text" panose="020B0503020202020204" pitchFamily="34" charset="0"/>
                <a:cs typeface="Nokia Pure Headline Light"/>
              </a:rPr>
              <a:t>the friend function way(the most intuitive- direct access to the internal members of the classes you’re operating on)</a:t>
            </a:r>
          </a:p>
          <a:p>
            <a:pPr marL="285750" indent="-285750" algn="just">
              <a:spcBef>
                <a:spcPts val="0"/>
              </a:spcBef>
              <a:buClr>
                <a:srgbClr val="001135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Nokia Pure Text" panose="020B0503020202020204" pitchFamily="34" charset="0"/>
                <a:cs typeface="Nokia Pure Headline Light"/>
              </a:rPr>
              <a:t>and the normal function way(needs to use dedicated public methods to access private members)</a:t>
            </a:r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4044397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dirty="0"/>
              <a:t>Operator overload</a:t>
            </a:r>
          </a:p>
        </p:txBody>
      </p:sp>
    </p:spTree>
    <p:extLst>
      <p:ext uri="{BB962C8B-B14F-4D97-AF65-F5344CB8AC3E}">
        <p14:creationId xmlns:p14="http://schemas.microsoft.com/office/powerpoint/2010/main" val="1425469434"/>
      </p:ext>
    </p:extLst>
  </p:cSld>
  <p:clrMapOvr>
    <a:masterClrMapping/>
  </p:clrMapOvr>
  <p:transition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4044397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dirty="0">
                <a:ea typeface="Nokia Pure Text" panose="020B0503020202020204" pitchFamily="34" charset="0"/>
                <a:cs typeface="Nokia Pure Headline Light"/>
              </a:rPr>
              <a:t>Overload</a:t>
            </a:r>
            <a:r>
              <a:rPr lang="en-US" b="1" dirty="0">
                <a:ea typeface="Nokia Pure Text" panose="020B0503020202020204" pitchFamily="34" charset="0"/>
                <a:cs typeface="Nokia Pure Headline Light"/>
              </a:rPr>
              <a:t> operator&lt;&lt; </a:t>
            </a:r>
            <a:r>
              <a:rPr lang="en-US" dirty="0">
                <a:ea typeface="Nokia Pure Text" panose="020B0503020202020204" pitchFamily="34" charset="0"/>
                <a:cs typeface="Nokia Pure Headline Light"/>
              </a:rPr>
              <a:t>and</a:t>
            </a:r>
            <a:r>
              <a:rPr lang="en-US" b="1" dirty="0">
                <a:ea typeface="Nokia Pure Text" panose="020B0503020202020204" pitchFamily="34" charset="0"/>
                <a:cs typeface="Nokia Pure Headline Light"/>
              </a:rPr>
              <a:t> operator&gt;&gt;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0913" y="580306"/>
            <a:ext cx="4527259" cy="4230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521154"/>
      </p:ext>
    </p:extLst>
  </p:cSld>
  <p:clrMapOvr>
    <a:masterClrMapping/>
  </p:clrMapOvr>
  <p:transition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1" name="Picture 3"/>
          <p:cNvPicPr>
            <a:picLocks noChangeAspect="1"/>
          </p:cNvPicPr>
          <p:nvPr/>
        </p:nvPicPr>
        <p:blipFill>
          <a:blip r:embed="rId2" cstate="screen">
            <a:duotone>
              <a:prstClr val="black"/>
              <a:srgbClr val="0070C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36371" y="2309278"/>
            <a:ext cx="3393014" cy="555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22772887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Nokia PowerPoint Template Arial v25">
  <a:themeElements>
    <a:clrScheme name="Nokia 13.10">
      <a:dk1>
        <a:srgbClr val="124191"/>
      </a:dk1>
      <a:lt1>
        <a:srgbClr val="FFFFFF"/>
      </a:lt1>
      <a:dk2>
        <a:srgbClr val="FFFFFF"/>
      </a:dk2>
      <a:lt2>
        <a:srgbClr val="696C6F"/>
      </a:lt2>
      <a:accent1>
        <a:srgbClr val="A8BBC0"/>
      </a:accent1>
      <a:accent2>
        <a:srgbClr val="124191"/>
      </a:accent2>
      <a:accent3>
        <a:srgbClr val="00C9FF"/>
      </a:accent3>
      <a:accent4>
        <a:srgbClr val="124191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.xml><?xml version="1.0" encoding="utf-8"?>
<a:theme xmlns:a="http://schemas.openxmlformats.org/drawingml/2006/main" name="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3.xml><?xml version="1.0" encoding="utf-8"?>
<a:theme xmlns:a="http://schemas.openxmlformats.org/drawingml/2006/main" name="CORP_PPT_Temp_Pure_V31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D8D9DA"/>
        </a:solidFill>
        <a:ln w="28575" algn="ctr">
          <a:noFill/>
          <a:round/>
          <a:headEnd/>
          <a:tailEnd/>
        </a:ln>
        <a:effectLst/>
      </a:spPr>
      <a:bodyPr wrap="square" lIns="72562" tIns="36281" rIns="72562" bIns="36281"/>
      <a:lstStyle>
        <a:defPPr marL="68027" marR="0" indent="-68027" defTabSz="604684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 typeface="Arial" pitchFamily="34" charset="0"/>
          <a:buChar char="•"/>
          <a:tabLst/>
          <a:defRPr kumimoji="0" sz="1000" b="0" i="0" u="none" strike="noStrike" kern="0" cap="none" spc="0" normalizeH="0" baseline="0" noProof="0" dirty="0" err="1" smtClean="0">
            <a:ln>
              <a:noFill/>
            </a:ln>
            <a:solidFill>
              <a:srgbClr val="124191"/>
            </a:solidFill>
            <a:effectLst/>
            <a:uLnTx/>
            <a:uFillTx/>
            <a:latin typeface="Nokia Pure Text Light"/>
            <a:ea typeface="宋体" pitchFamily="2" charset="-122"/>
          </a:defRPr>
        </a:defPPr>
      </a:lst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 marR="0" algn="l" defTabSz="4572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>
            <a:srgbClr val="001135"/>
          </a:buClr>
          <a:buSzTx/>
          <a:tabLst/>
          <a:defRPr sz="1400" dirty="0" smtClean="0">
            <a:solidFill>
              <a:schemeClr val="tx2"/>
            </a:solidFill>
            <a:latin typeface="+mn-lt"/>
            <a:ea typeface="Nokia Pure Text" panose="020B0503020202020204" pitchFamily="34" charset="0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2.potx" id="{E3BA1B50-282F-46D1-93F7-28AC32631B3D}" vid="{13EB3C99-2858-4D2F-A434-81579CFF4845}"/>
    </a:ext>
  </a:extLst>
</a:theme>
</file>

<file path=ppt/theme/theme4.xml><?xml version="1.0" encoding="utf-8"?>
<a:theme xmlns:a="http://schemas.openxmlformats.org/drawingml/2006/main" name="Final Slide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Nokia_Pure_PPT_CORP_V2.potx" id="{E3BA1B50-282F-46D1-93F7-28AC32631B3D}" vid="{02791CA6-8ABD-4CF1-8231-195341A502DA}"/>
    </a:ext>
  </a:extLst>
</a:theme>
</file>

<file path=ppt/theme/theme5.xml><?xml version="1.0" encoding="utf-8"?>
<a:theme xmlns:a="http://schemas.openxmlformats.org/drawingml/2006/main" name="blank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Nokia_Pure_Macro_Free_v51" id="{C604708E-A674-4B2C-AC98-8A2AEAAB84D5}" vid="{D3526DE6-1B3C-44E8-BC12-0D5F87E28AAB}"/>
    </a:ext>
  </a:extLst>
</a:theme>
</file>

<file path=ppt/theme/theme6.xml><?xml version="1.0" encoding="utf-8"?>
<a:theme xmlns:a="http://schemas.openxmlformats.org/drawingml/2006/main" name="3_PPT_Example_Newtheme_v30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indent="0">
          <a:spcBef>
            <a:spcPts val="0"/>
          </a:spcBef>
          <a:buNone/>
          <a:defRPr sz="1200" dirty="0" smtClean="0">
            <a:solidFill>
              <a:schemeClr val="tx2"/>
            </a:solidFill>
            <a:latin typeface="+mn-lt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Example_Newtheme_v30" id="{DA980A40-078E-48DC-8D04-5D225305665E}" vid="{8ED24D09-FD32-4636-A74B-E0307A050BA7}"/>
    </a:ext>
  </a:extLst>
</a:theme>
</file>

<file path=ppt/theme/theme7.xml><?xml version="1.0" encoding="utf-8"?>
<a:theme xmlns:a="http://schemas.openxmlformats.org/drawingml/2006/main" name="1_Nokia Master Blue Background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2"/>
          </a:solidFill>
        </a:ln>
      </a:spPr>
      <a:bodyPr/>
      <a:lstStyle/>
      <a:style>
        <a:lnRef idx="1">
          <a:schemeClr val="accent3"/>
        </a:lnRef>
        <a:fillRef idx="0">
          <a:schemeClr val="accent3"/>
        </a:fillRef>
        <a:effectRef idx="0">
          <a:schemeClr val="accent3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9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Example_Newtheme_v30" id="{DA980A40-078E-48DC-8D04-5D225305665E}" vid="{DF2304DB-DF66-4FFA-898B-C620F0E204D9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rea xmlns="2867b335-edfc-4c0d-9af5-910efa08fd08" xsi:nil="true"/>
    <Improvments xmlns="2867b335-edfc-4c0d-9af5-910efa08fd08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CA51B2843662498A18687AEFE7846F" ma:contentTypeVersion="2" ma:contentTypeDescription="Create a new document." ma:contentTypeScope="" ma:versionID="940c68cb483d2c4e5cc36e99f4a67b8e">
  <xsd:schema xmlns:xsd="http://www.w3.org/2001/XMLSchema" xmlns:xs="http://www.w3.org/2001/XMLSchema" xmlns:p="http://schemas.microsoft.com/office/2006/metadata/properties" xmlns:ns2="2867b335-edfc-4c0d-9af5-910efa08fd08" targetNamespace="http://schemas.microsoft.com/office/2006/metadata/properties" ma:root="true" ma:fieldsID="a9fe06feb6938d162774987d933016cc" ns2:_="">
    <xsd:import namespace="2867b335-edfc-4c0d-9af5-910efa08fd08"/>
    <xsd:element name="properties">
      <xsd:complexType>
        <xsd:sequence>
          <xsd:element name="documentManagement">
            <xsd:complexType>
              <xsd:all>
                <xsd:element ref="ns2:Improvments" minOccurs="0"/>
                <xsd:element ref="ns2:Are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67b335-edfc-4c0d-9af5-910efa08fd08" elementFormDefault="qualified">
    <xsd:import namespace="http://schemas.microsoft.com/office/2006/documentManagement/types"/>
    <xsd:import namespace="http://schemas.microsoft.com/office/infopath/2007/PartnerControls"/>
    <xsd:element name="Improvments" ma:index="8" nillable="true" ma:displayName="Improvments for next release" ma:internalName="Improvments">
      <xsd:simpleType>
        <xsd:restriction base="dms:Note">
          <xsd:maxLength value="255"/>
        </xsd:restriction>
      </xsd:simpleType>
    </xsd:element>
    <xsd:element name="Area" ma:index="9" nillable="true" ma:displayName="Area" ma:internalName="Area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39ABE08-4ECD-461D-BB48-199068739F2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1ED75C7-9F73-4DE4-A041-0D8B5ED316A0}">
  <ds:schemaRefs>
    <ds:schemaRef ds:uri="http://schemas.microsoft.com/office/2006/documentManagement/types"/>
    <ds:schemaRef ds:uri="http://schemas.microsoft.com/office/2006/metadata/properties"/>
    <ds:schemaRef ds:uri="2867b335-edfc-4c0d-9af5-910efa08fd08"/>
    <ds:schemaRef ds:uri="http://schemas.openxmlformats.org/package/2006/metadata/core-properties"/>
    <ds:schemaRef ds:uri="http://purl.org/dc/terms/"/>
    <ds:schemaRef ds:uri="http://purl.org/dc/dcmitype/"/>
    <ds:schemaRef ds:uri="http://purl.org/dc/elements/1.1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B0A7D88-A4BC-4B7D-B6E8-28C40CC42D8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867b335-edfc-4c0d-9af5-910efa08fd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okia PowerPoint Template Arial v25</Template>
  <TotalTime>0</TotalTime>
  <Words>298</Words>
  <Application>Microsoft Office PowerPoint</Application>
  <PresentationFormat>On-screen Show (16:9)</PresentationFormat>
  <Paragraphs>34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8" baseType="lpstr">
      <vt:lpstr>Arial Unicode MS</vt:lpstr>
      <vt:lpstr>ＭＳ Ｐゴシック</vt:lpstr>
      <vt:lpstr>Arial</vt:lpstr>
      <vt:lpstr>Calibri</vt:lpstr>
      <vt:lpstr>Lucida Grande</vt:lpstr>
      <vt:lpstr>Nokia Pure Headline</vt:lpstr>
      <vt:lpstr>Nokia Pure Headline Light</vt:lpstr>
      <vt:lpstr>Nokia Pure Headline Ultra Light</vt:lpstr>
      <vt:lpstr>Nokia Pure Text</vt:lpstr>
      <vt:lpstr>Nokia Pure Text Light</vt:lpstr>
      <vt:lpstr>Wingdings</vt:lpstr>
      <vt:lpstr>ヒラギノ角ゴ Pro W3</vt:lpstr>
      <vt:lpstr>Nokia PowerPoint Template Arial v25</vt:lpstr>
      <vt:lpstr>Nokia Master Blue Background</vt:lpstr>
      <vt:lpstr>CORP_PPT_Temp_Pure_V31</vt:lpstr>
      <vt:lpstr>Final Slide</vt:lpstr>
      <vt:lpstr>blank</vt:lpstr>
      <vt:lpstr>3_PPT_Example_Newtheme_v30</vt:lpstr>
      <vt:lpstr>1_Nokia Master Blue Background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5-26T09:55:58Z</dcterms:created>
  <dcterms:modified xsi:type="dcterms:W3CDTF">2017-05-11T11:0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ContentTypeId">
    <vt:lpwstr>0x0101009ECA51B2843662498A18687AEFE7846F</vt:lpwstr>
  </property>
  <property fmtid="{D5CDD505-2E9C-101B-9397-08002B2CF9AE}" pid="4" name="_NewReviewCycle">
    <vt:lpwstr/>
  </property>
</Properties>
</file>